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gif" ContentType="image/gif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tags/tag7.xml" ContentType="application/vnd.openxmlformats-officedocument.presentationml.tags+xml"/>
  <Override PartName="/ppt/notesSlides/notesSlide2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8.xml" ContentType="application/vnd.openxmlformats-officedocument.presentationml.tags+xml"/>
  <Override PartName="/ppt/notesSlides/notesSlide3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tags/tag9.xml" ContentType="application/vnd.openxmlformats-officedocument.presentationml.tags+xml"/>
  <Override PartName="/ppt/notesSlides/notesSlide4.xml" ContentType="application/vnd.openxmlformats-officedocument.presentationml.notesSlide+xml"/>
  <Override PartName="/ppt/tags/tag10.xml" ContentType="application/vnd.openxmlformats-officedocument.presentationml.tags+xml"/>
  <Override PartName="/ppt/notesSlides/notesSlide5.xml" ContentType="application/vnd.openxmlformats-officedocument.presentationml.notesSlide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notesSlides/notesSlide6.xml" ContentType="application/vnd.openxmlformats-officedocument.presentationml.notesSlide+xml"/>
  <Override PartName="/ppt/ink/ink1.xml" ContentType="application/inkml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tags/tag11.xml" ContentType="application/vnd.openxmlformats-officedocument.presentationml.tags+xml"/>
  <Override PartName="/ppt/notesSlides/notesSlide12.xml" ContentType="application/vnd.openxmlformats-officedocument.presentationml.notesSlide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tags/tag12.xml" ContentType="application/vnd.openxmlformats-officedocument.presentationml.tags+xml"/>
  <Override PartName="/ppt/notesSlides/notesSlide13.xml" ContentType="application/vnd.openxmlformats-officedocument.presentationml.notesSlide+xml"/>
  <Override PartName="/ppt/diagrams/data6.xml" ContentType="application/vnd.openxmlformats-officedocument.drawingml.diagramData+xml"/>
  <Override PartName="/ppt/diagrams/layout6.xml" ContentType="application/vnd.openxmlformats-officedocument.drawingml.diagramLayout+xml"/>
  <Override PartName="/ppt/diagrams/quickStyle6.xml" ContentType="application/vnd.openxmlformats-officedocument.drawingml.diagramStyle+xml"/>
  <Override PartName="/ppt/diagrams/colors6.xml" ContentType="application/vnd.openxmlformats-officedocument.drawingml.diagramColors+xml"/>
  <Override PartName="/ppt/diagrams/drawing6.xml" ContentType="application/vnd.ms-office.drawingml.diagramDrawing+xml"/>
  <Override PartName="/ppt/tags/tag13.xml" ContentType="application/vnd.openxmlformats-officedocument.presentationml.tags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diagrams/data7.xml" ContentType="application/vnd.openxmlformats-officedocument.drawingml.diagramData+xml"/>
  <Override PartName="/ppt/diagrams/layout7.xml" ContentType="application/vnd.openxmlformats-officedocument.drawingml.diagramLayout+xml"/>
  <Override PartName="/ppt/diagrams/quickStyle7.xml" ContentType="application/vnd.openxmlformats-officedocument.drawingml.diagramStyle+xml"/>
  <Override PartName="/ppt/diagrams/colors7.xml" ContentType="application/vnd.openxmlformats-officedocument.drawingml.diagramColors+xml"/>
  <Override PartName="/ppt/diagrams/drawing7.xml" ContentType="application/vnd.ms-office.drawingml.diagramDrawing+xml"/>
  <Override PartName="/ppt/diagrams/data8.xml" ContentType="application/vnd.openxmlformats-officedocument.drawingml.diagramData+xml"/>
  <Override PartName="/ppt/diagrams/layout8.xml" ContentType="application/vnd.openxmlformats-officedocument.drawingml.diagramLayout+xml"/>
  <Override PartName="/ppt/diagrams/quickStyle8.xml" ContentType="application/vnd.openxmlformats-officedocument.drawingml.diagramStyle+xml"/>
  <Override PartName="/ppt/diagrams/colors8.xml" ContentType="application/vnd.openxmlformats-officedocument.drawingml.diagramColors+xml"/>
  <Override PartName="/ppt/diagrams/drawing8.xml" ContentType="application/vnd.ms-office.drawingml.diagramDrawing+xml"/>
  <Override PartName="/ppt/diagrams/data9.xml" ContentType="application/vnd.openxmlformats-officedocument.drawingml.diagramData+xml"/>
  <Override PartName="/ppt/diagrams/layout9.xml" ContentType="application/vnd.openxmlformats-officedocument.drawingml.diagramLayout+xml"/>
  <Override PartName="/ppt/diagrams/quickStyle9.xml" ContentType="application/vnd.openxmlformats-officedocument.drawingml.diagramStyle+xml"/>
  <Override PartName="/ppt/diagrams/colors9.xml" ContentType="application/vnd.openxmlformats-officedocument.drawingml.diagramColors+xml"/>
  <Override PartName="/ppt/diagrams/drawing9.xml" ContentType="application/vnd.ms-office.drawingml.diagramDrawing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diagrams/data10.xml" ContentType="application/vnd.openxmlformats-officedocument.drawingml.diagramData+xml"/>
  <Override PartName="/ppt/diagrams/layout10.xml" ContentType="application/vnd.openxmlformats-officedocument.drawingml.diagramLayout+xml"/>
  <Override PartName="/ppt/diagrams/quickStyle10.xml" ContentType="application/vnd.openxmlformats-officedocument.drawingml.diagramStyle+xml"/>
  <Override PartName="/ppt/diagrams/colors10.xml" ContentType="application/vnd.openxmlformats-officedocument.drawingml.diagramColors+xml"/>
  <Override PartName="/ppt/diagrams/drawing10.xml" ContentType="application/vnd.ms-office.drawingml.diagramDrawing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diagrams/data11.xml" ContentType="application/vnd.openxmlformats-officedocument.drawingml.diagramData+xml"/>
  <Override PartName="/ppt/diagrams/layout11.xml" ContentType="application/vnd.openxmlformats-officedocument.drawingml.diagramLayout+xml"/>
  <Override PartName="/ppt/diagrams/quickStyle11.xml" ContentType="application/vnd.openxmlformats-officedocument.drawingml.diagramStyle+xml"/>
  <Override PartName="/ppt/diagrams/colors11.xml" ContentType="application/vnd.openxmlformats-officedocument.drawingml.diagramColors+xml"/>
  <Override PartName="/ppt/diagrams/drawing11.xml" ContentType="application/vnd.ms-office.drawingml.diagramDrawing+xml"/>
  <Override PartName="/ppt/notesSlides/notesSlide24.xml" ContentType="application/vnd.openxmlformats-officedocument.presentationml.notesSlide+xml"/>
  <Override PartName="/ppt/diagrams/data12.xml" ContentType="application/vnd.openxmlformats-officedocument.drawingml.diagramData+xml"/>
  <Override PartName="/ppt/diagrams/layout12.xml" ContentType="application/vnd.openxmlformats-officedocument.drawingml.diagramLayout+xml"/>
  <Override PartName="/ppt/diagrams/quickStyle12.xml" ContentType="application/vnd.openxmlformats-officedocument.drawingml.diagramStyle+xml"/>
  <Override PartName="/ppt/diagrams/colors12.xml" ContentType="application/vnd.openxmlformats-officedocument.drawingml.diagramColors+xml"/>
  <Override PartName="/ppt/diagrams/drawing12.xml" ContentType="application/vnd.ms-office.drawingml.diagramDrawing+xml"/>
  <Override PartName="/ppt/diagrams/data13.xml" ContentType="application/vnd.openxmlformats-officedocument.drawingml.diagramData+xml"/>
  <Override PartName="/ppt/diagrams/layout13.xml" ContentType="application/vnd.openxmlformats-officedocument.drawingml.diagramLayout+xml"/>
  <Override PartName="/ppt/diagrams/quickStyle13.xml" ContentType="application/vnd.openxmlformats-officedocument.drawingml.diagramStyle+xml"/>
  <Override PartName="/ppt/diagrams/colors13.xml" ContentType="application/vnd.openxmlformats-officedocument.drawingml.diagramColors+xml"/>
  <Override PartName="/ppt/diagrams/drawing13.xml" ContentType="application/vnd.ms-office.drawingml.diagramDrawing+xml"/>
  <Override PartName="/ppt/notesSlides/notesSlide25.xml" ContentType="application/vnd.openxmlformats-officedocument.presentationml.notesSlide+xml"/>
  <Override PartName="/ppt/diagrams/data14.xml" ContentType="application/vnd.openxmlformats-officedocument.drawingml.diagramData+xml"/>
  <Override PartName="/ppt/diagrams/layout14.xml" ContentType="application/vnd.openxmlformats-officedocument.drawingml.diagramLayout+xml"/>
  <Override PartName="/ppt/diagrams/quickStyle14.xml" ContentType="application/vnd.openxmlformats-officedocument.drawingml.diagramStyle+xml"/>
  <Override PartName="/ppt/diagrams/colors14.xml" ContentType="application/vnd.openxmlformats-officedocument.drawingml.diagramColors+xml"/>
  <Override PartName="/ppt/diagrams/drawing14.xml" ContentType="application/vnd.ms-office.drawingml.diagramDrawing+xml"/>
  <Override PartName="/ppt/notesSlides/notesSlide26.xml" ContentType="application/vnd.openxmlformats-officedocument.presentationml.notesSlide+xml"/>
  <Override PartName="/ppt/diagrams/data15.xml" ContentType="application/vnd.openxmlformats-officedocument.drawingml.diagramData+xml"/>
  <Override PartName="/ppt/diagrams/layout15.xml" ContentType="application/vnd.openxmlformats-officedocument.drawingml.diagramLayout+xml"/>
  <Override PartName="/ppt/diagrams/quickStyle15.xml" ContentType="application/vnd.openxmlformats-officedocument.drawingml.diagramStyle+xml"/>
  <Override PartName="/ppt/diagrams/colors15.xml" ContentType="application/vnd.openxmlformats-officedocument.drawingml.diagramColors+xml"/>
  <Override PartName="/ppt/diagrams/drawing15.xml" ContentType="application/vnd.ms-office.drawingml.diagramDrawing+xml"/>
  <Override PartName="/ppt/notesSlides/notesSlide27.xml" ContentType="application/vnd.openxmlformats-officedocument.presentationml.notesSlide+xml"/>
  <Override PartName="/ppt/diagrams/data16.xml" ContentType="application/vnd.openxmlformats-officedocument.drawingml.diagramData+xml"/>
  <Override PartName="/ppt/diagrams/layout16.xml" ContentType="application/vnd.openxmlformats-officedocument.drawingml.diagramLayout+xml"/>
  <Override PartName="/ppt/diagrams/quickStyle16.xml" ContentType="application/vnd.openxmlformats-officedocument.drawingml.diagramStyle+xml"/>
  <Override PartName="/ppt/diagrams/colors16.xml" ContentType="application/vnd.openxmlformats-officedocument.drawingml.diagramColors+xml"/>
  <Override PartName="/ppt/diagrams/drawing16.xml" ContentType="application/vnd.ms-office.drawingml.diagramDrawing+xml"/>
  <Override PartName="/ppt/notesSlides/notesSlide28.xml" ContentType="application/vnd.openxmlformats-officedocument.presentationml.notesSlide+xml"/>
  <Override PartName="/ppt/diagrams/data17.xml" ContentType="application/vnd.openxmlformats-officedocument.drawingml.diagramData+xml"/>
  <Override PartName="/ppt/diagrams/layout17.xml" ContentType="application/vnd.openxmlformats-officedocument.drawingml.diagramLayout+xml"/>
  <Override PartName="/ppt/diagrams/quickStyle17.xml" ContentType="application/vnd.openxmlformats-officedocument.drawingml.diagramStyle+xml"/>
  <Override PartName="/ppt/diagrams/colors17.xml" ContentType="application/vnd.openxmlformats-officedocument.drawingml.diagramColors+xml"/>
  <Override PartName="/ppt/diagrams/drawing17.xml" ContentType="application/vnd.ms-office.drawingml.diagramDrawing+xml"/>
  <Override PartName="/ppt/notesSlides/notesSlide29.xml" ContentType="application/vnd.openxmlformats-officedocument.presentationml.notesSlide+xml"/>
  <Override PartName="/ppt/diagrams/data18.xml" ContentType="application/vnd.openxmlformats-officedocument.drawingml.diagramData+xml"/>
  <Override PartName="/ppt/diagrams/layout18.xml" ContentType="application/vnd.openxmlformats-officedocument.drawingml.diagramLayout+xml"/>
  <Override PartName="/ppt/diagrams/quickStyle18.xml" ContentType="application/vnd.openxmlformats-officedocument.drawingml.diagramStyle+xml"/>
  <Override PartName="/ppt/diagrams/colors18.xml" ContentType="application/vnd.openxmlformats-officedocument.drawingml.diagramColors+xml"/>
  <Override PartName="/ppt/diagrams/drawing18.xml" ContentType="application/vnd.ms-office.drawingml.diagramDrawing+xml"/>
  <Override PartName="/ppt/notesSlides/notesSlide30.xml" ContentType="application/vnd.openxmlformats-officedocument.presentationml.notesSlide+xml"/>
  <Override PartName="/ppt/diagrams/data19.xml" ContentType="application/vnd.openxmlformats-officedocument.drawingml.diagramData+xml"/>
  <Override PartName="/ppt/diagrams/layout19.xml" ContentType="application/vnd.openxmlformats-officedocument.drawingml.diagramLayout+xml"/>
  <Override PartName="/ppt/diagrams/quickStyle19.xml" ContentType="application/vnd.openxmlformats-officedocument.drawingml.diagramStyle+xml"/>
  <Override PartName="/ppt/diagrams/colors19.xml" ContentType="application/vnd.openxmlformats-officedocument.drawingml.diagramColors+xml"/>
  <Override PartName="/ppt/diagrams/drawing19.xml" ContentType="application/vnd.ms-office.drawingml.diagramDrawing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diagrams/data20.xml" ContentType="application/vnd.openxmlformats-officedocument.drawingml.diagramData+xml"/>
  <Override PartName="/ppt/diagrams/layout20.xml" ContentType="application/vnd.openxmlformats-officedocument.drawingml.diagramLayout+xml"/>
  <Override PartName="/ppt/diagrams/quickStyle20.xml" ContentType="application/vnd.openxmlformats-officedocument.drawingml.diagramStyle+xml"/>
  <Override PartName="/ppt/diagrams/colors20.xml" ContentType="application/vnd.openxmlformats-officedocument.drawingml.diagramColors+xml"/>
  <Override PartName="/ppt/diagrams/drawing20.xml" ContentType="application/vnd.ms-office.drawingml.diagramDrawing+xml"/>
  <Override PartName="/ppt/notesSlides/notesSlide34.xml" ContentType="application/vnd.openxmlformats-officedocument.presentationml.notesSlide+xml"/>
  <Override PartName="/ppt/diagrams/data21.xml" ContentType="application/vnd.openxmlformats-officedocument.drawingml.diagramData+xml"/>
  <Override PartName="/ppt/diagrams/layout21.xml" ContentType="application/vnd.openxmlformats-officedocument.drawingml.diagramLayout+xml"/>
  <Override PartName="/ppt/diagrams/quickStyle21.xml" ContentType="application/vnd.openxmlformats-officedocument.drawingml.diagramStyle+xml"/>
  <Override PartName="/ppt/diagrams/colors21.xml" ContentType="application/vnd.openxmlformats-officedocument.drawingml.diagramColors+xml"/>
  <Override PartName="/ppt/diagrams/drawing21.xml" ContentType="application/vnd.ms-office.drawingml.diagramDrawing+xml"/>
  <Override PartName="/ppt/notesSlides/notesSlide35.xml" ContentType="application/vnd.openxmlformats-officedocument.presentationml.notesSlide+xml"/>
  <Override PartName="/ppt/diagrams/data22.xml" ContentType="application/vnd.openxmlformats-officedocument.drawingml.diagramData+xml"/>
  <Override PartName="/ppt/diagrams/layout22.xml" ContentType="application/vnd.openxmlformats-officedocument.drawingml.diagramLayout+xml"/>
  <Override PartName="/ppt/diagrams/quickStyle22.xml" ContentType="application/vnd.openxmlformats-officedocument.drawingml.diagramStyle+xml"/>
  <Override PartName="/ppt/diagrams/colors22.xml" ContentType="application/vnd.openxmlformats-officedocument.drawingml.diagramColors+xml"/>
  <Override PartName="/ppt/diagrams/drawing22.xml" ContentType="application/vnd.ms-office.drawingml.diagramDrawing+xml"/>
  <Override PartName="/ppt/notesSlides/notesSlide36.xml" ContentType="application/vnd.openxmlformats-officedocument.presentationml.notesSlide+xml"/>
  <Override PartName="/ppt/diagrams/data23.xml" ContentType="application/vnd.openxmlformats-officedocument.drawingml.diagramData+xml"/>
  <Override PartName="/ppt/diagrams/layout23.xml" ContentType="application/vnd.openxmlformats-officedocument.drawingml.diagramLayout+xml"/>
  <Override PartName="/ppt/diagrams/quickStyle23.xml" ContentType="application/vnd.openxmlformats-officedocument.drawingml.diagramStyle+xml"/>
  <Override PartName="/ppt/diagrams/colors23.xml" ContentType="application/vnd.openxmlformats-officedocument.drawingml.diagramColors+xml"/>
  <Override PartName="/ppt/diagrams/drawing23.xml" ContentType="application/vnd.ms-office.drawingml.diagramDrawing+xml"/>
  <Override PartName="/ppt/notesSlides/notesSlide37.xml" ContentType="application/vnd.openxmlformats-officedocument.presentationml.notesSlide+xml"/>
  <Override PartName="/ppt/diagrams/data24.xml" ContentType="application/vnd.openxmlformats-officedocument.drawingml.diagramData+xml"/>
  <Override PartName="/ppt/diagrams/layout24.xml" ContentType="application/vnd.openxmlformats-officedocument.drawingml.diagramLayout+xml"/>
  <Override PartName="/ppt/diagrams/quickStyle24.xml" ContentType="application/vnd.openxmlformats-officedocument.drawingml.diagramStyle+xml"/>
  <Override PartName="/ppt/diagrams/colors24.xml" ContentType="application/vnd.openxmlformats-officedocument.drawingml.diagramColors+xml"/>
  <Override PartName="/ppt/diagrams/drawing24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8" r:id="rId4"/>
    <p:sldMasterId id="2147483684" r:id="rId5"/>
  </p:sldMasterIdLst>
  <p:notesMasterIdLst>
    <p:notesMasterId r:id="rId46"/>
  </p:notesMasterIdLst>
  <p:handoutMasterIdLst>
    <p:handoutMasterId r:id="rId47"/>
  </p:handoutMasterIdLst>
  <p:sldIdLst>
    <p:sldId id="256" r:id="rId6"/>
    <p:sldId id="257" r:id="rId7"/>
    <p:sldId id="259" r:id="rId8"/>
    <p:sldId id="494" r:id="rId9"/>
    <p:sldId id="495" r:id="rId10"/>
    <p:sldId id="496" r:id="rId11"/>
    <p:sldId id="486" r:id="rId12"/>
    <p:sldId id="498" r:id="rId13"/>
    <p:sldId id="484" r:id="rId14"/>
    <p:sldId id="485" r:id="rId15"/>
    <p:sldId id="419" r:id="rId16"/>
    <p:sldId id="497" r:id="rId17"/>
    <p:sldId id="492" r:id="rId18"/>
    <p:sldId id="428" r:id="rId19"/>
    <p:sldId id="431" r:id="rId20"/>
    <p:sldId id="438" r:id="rId21"/>
    <p:sldId id="422" r:id="rId22"/>
    <p:sldId id="436" r:id="rId23"/>
    <p:sldId id="493" r:id="rId24"/>
    <p:sldId id="426" r:id="rId25"/>
    <p:sldId id="390" r:id="rId26"/>
    <p:sldId id="423" r:id="rId27"/>
    <p:sldId id="499" r:id="rId28"/>
    <p:sldId id="500" r:id="rId29"/>
    <p:sldId id="503" r:id="rId30"/>
    <p:sldId id="519" r:id="rId31"/>
    <p:sldId id="502" r:id="rId32"/>
    <p:sldId id="521" r:id="rId33"/>
    <p:sldId id="507" r:id="rId34"/>
    <p:sldId id="520" r:id="rId35"/>
    <p:sldId id="501" r:id="rId36"/>
    <p:sldId id="509" r:id="rId37"/>
    <p:sldId id="510" r:id="rId38"/>
    <p:sldId id="511" r:id="rId39"/>
    <p:sldId id="513" r:id="rId40"/>
    <p:sldId id="514" r:id="rId41"/>
    <p:sldId id="515" r:id="rId42"/>
    <p:sldId id="516" r:id="rId43"/>
    <p:sldId id="517" r:id="rId44"/>
    <p:sldId id="518" r:id="rId45"/>
  </p:sldIdLst>
  <p:sldSz cx="12192000" cy="6858000"/>
  <p:notesSz cx="6858000" cy="9144000"/>
  <p:defaultTextStyle>
    <a:defPPr>
      <a:defRPr lang="ko-KR"/>
    </a:defPPr>
    <a:lvl1pPr marL="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59">
          <p15:clr>
            <a:srgbClr val="A4A3A4"/>
          </p15:clr>
        </p15:guide>
        <p15:guide id="2" pos="3839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drkimmgt" initials="d" lastIdx="1" clrIdx="0">
    <p:extLst>
      <p:ext uri="{19B8F6BF-5375-455C-9EA6-DF929625EA0E}">
        <p15:presenceInfo xmlns:p15="http://schemas.microsoft.com/office/powerpoint/2012/main" userId="drkimmgt" providerId="None"/>
      </p:ext>
    </p:extLst>
  </p:cmAuthor>
  <p:cmAuthor id="2" name="김익성" initials="김" lastIdx="3" clrIdx="1">
    <p:extLst>
      <p:ext uri="{19B8F6BF-5375-455C-9EA6-DF929625EA0E}">
        <p15:presenceInfo xmlns:p15="http://schemas.microsoft.com/office/powerpoint/2012/main" userId="S::ISKIM7@office.dongduk.ac.kr::3bdc8e47-e9f6-4425-9b75-2484026d95b6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66FF99"/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보통 스타일 2 - 강조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DF18680-E054-41AD-8BC1-D1AEF772440D}" styleName="보통 스타일 2 - 강조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7571" autoAdjust="0"/>
    <p:restoredTop sz="93366" autoAdjust="0"/>
  </p:normalViewPr>
  <p:slideViewPr>
    <p:cSldViewPr snapToGrid="0">
      <p:cViewPr varScale="1">
        <p:scale>
          <a:sx n="87" d="100"/>
          <a:sy n="87" d="100"/>
        </p:scale>
        <p:origin x="696" y="48"/>
      </p:cViewPr>
      <p:guideLst>
        <p:guide orient="horz" pos="2159"/>
        <p:guide pos="3839"/>
      </p:guideLst>
    </p:cSldViewPr>
  </p:slideViewPr>
  <p:notesTextViewPr>
    <p:cViewPr>
      <p:scale>
        <a:sx n="100" d="100"/>
        <a:sy n="100" d="100"/>
      </p:scale>
      <p:origin x="0" y="0"/>
    </p:cViewPr>
  </p:notesTextViewPr>
  <p:notesViewPr>
    <p:cSldViewPr snapToGrid="0">
      <p:cViewPr varScale="1">
        <p:scale>
          <a:sx n="37" d="100"/>
          <a:sy n="37" d="100"/>
        </p:scale>
        <p:origin x="2445" y="3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slide" Target="slides/slide21.xml"/><Relationship Id="rId39" Type="http://schemas.openxmlformats.org/officeDocument/2006/relationships/slide" Target="slides/slide34.xml"/><Relationship Id="rId3" Type="http://schemas.openxmlformats.org/officeDocument/2006/relationships/customXml" Target="../customXml/item3.xml"/><Relationship Id="rId21" Type="http://schemas.openxmlformats.org/officeDocument/2006/relationships/slide" Target="slides/slide16.xml"/><Relationship Id="rId34" Type="http://schemas.openxmlformats.org/officeDocument/2006/relationships/slide" Target="slides/slide29.xml"/><Relationship Id="rId42" Type="http://schemas.openxmlformats.org/officeDocument/2006/relationships/slide" Target="slides/slide37.xml"/><Relationship Id="rId47" Type="http://schemas.openxmlformats.org/officeDocument/2006/relationships/handoutMaster" Target="handoutMasters/handoutMaster1.xml"/><Relationship Id="rId50" Type="http://schemas.openxmlformats.org/officeDocument/2006/relationships/viewProps" Target="viewProps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slide" Target="slides/slide28.xml"/><Relationship Id="rId38" Type="http://schemas.openxmlformats.org/officeDocument/2006/relationships/slide" Target="slides/slide33.xml"/><Relationship Id="rId46" Type="http://schemas.openxmlformats.org/officeDocument/2006/relationships/notesMaster" Target="notesMasters/notes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slide" Target="slides/slide24.xml"/><Relationship Id="rId41" Type="http://schemas.openxmlformats.org/officeDocument/2006/relationships/slide" Target="slides/slide36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slide" Target="slides/slide27.xml"/><Relationship Id="rId37" Type="http://schemas.openxmlformats.org/officeDocument/2006/relationships/slide" Target="slides/slide32.xml"/><Relationship Id="rId40" Type="http://schemas.openxmlformats.org/officeDocument/2006/relationships/slide" Target="slides/slide35.xml"/><Relationship Id="rId45" Type="http://schemas.openxmlformats.org/officeDocument/2006/relationships/slide" Target="slides/slide40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slide" Target="slides/slide23.xml"/><Relationship Id="rId36" Type="http://schemas.openxmlformats.org/officeDocument/2006/relationships/slide" Target="slides/slide31.xml"/><Relationship Id="rId49" Type="http://schemas.openxmlformats.org/officeDocument/2006/relationships/presProps" Target="presProps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slide" Target="slides/slide26.xml"/><Relationship Id="rId44" Type="http://schemas.openxmlformats.org/officeDocument/2006/relationships/slide" Target="slides/slide39.xml"/><Relationship Id="rId52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30" Type="http://schemas.openxmlformats.org/officeDocument/2006/relationships/slide" Target="slides/slide25.xml"/><Relationship Id="rId35" Type="http://schemas.openxmlformats.org/officeDocument/2006/relationships/slide" Target="slides/slide30.xml"/><Relationship Id="rId43" Type="http://schemas.openxmlformats.org/officeDocument/2006/relationships/slide" Target="slides/slide38.xml"/><Relationship Id="rId48" Type="http://schemas.openxmlformats.org/officeDocument/2006/relationships/commentAuthors" Target="commentAuthors.xml"/><Relationship Id="rId8" Type="http://schemas.openxmlformats.org/officeDocument/2006/relationships/slide" Target="slides/slide3.xml"/><Relationship Id="rId51" Type="http://schemas.openxmlformats.org/officeDocument/2006/relationships/theme" Target="theme/theme1.xml"/></Relationships>
</file>

<file path=ppt/diagrams/_rels/data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hyperlink" Target="http://terms.naver.com/entry.nhn?docId=3478265&amp;cid=58439&amp;categoryId=58439" TargetMode="External"/><Relationship Id="rId1" Type="http://schemas.openxmlformats.org/officeDocument/2006/relationships/image" Target="../media/image8.png"/></Relationships>
</file>

<file path=ppt/diagrams/_rels/drawing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hyperlink" Target="http://terms.naver.com/entry.nhn?docId=3478265&amp;cid=58439&amp;categoryId=58439" TargetMode="External"/><Relationship Id="rId1" Type="http://schemas.openxmlformats.org/officeDocument/2006/relationships/image" Target="../media/image8.pn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5">
  <dgm:title val=""/>
  <dgm:desc val=""/>
  <dgm:catLst>
    <dgm:cat type="colorful" pri="105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/>
      <a:schemeClr val="accent6"/>
    </dgm:fillClrLst>
    <dgm:linClrLst>
      <a:schemeClr val="accent5"/>
      <a:schemeClr val="accent6"/>
    </dgm:linClrLst>
    <dgm:effectClrLst/>
    <dgm:txLinClrLst/>
    <dgm:txFillClrLst/>
    <dgm:txEffectClrLst/>
  </dgm:styleLbl>
  <dgm:styleLbl name="ln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0.xml><?xml version="1.0" encoding="utf-8"?>
<dgm:colorsDef xmlns:dgm="http://schemas.openxmlformats.org/drawingml/2006/diagram" xmlns:a="http://schemas.openxmlformats.org/drawingml/2006/main" uniqueId="urn:microsoft.com/office/officeart/2005/8/colors/accent0_3">
  <dgm:title val=""/>
  <dgm:desc val=""/>
  <dgm:catLst>
    <dgm:cat type="mainScheme" pri="10300"/>
  </dgm:catLst>
  <dgm:styleLbl name="node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lignNode1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ln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vennNode1">
    <dgm:fillClrLst meth="repeat">
      <a:schemeClr val="dk2">
        <a:alpha val="50000"/>
      </a:schemeClr>
    </dgm:fillClrLst>
    <dgm:linClrLst meth="repeat">
      <a:schemeClr val="lt2"/>
    </dgm:linClrLst>
    <dgm:effectClrLst/>
    <dgm:txLinClrLst/>
    <dgm:txFillClrLst/>
    <dgm:txEffectClrLst/>
  </dgm:styleLbl>
  <dgm:styleLbl name="node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fgImgPlace1">
    <dgm:fillClrLst meth="repeat">
      <a:schemeClr val="dk2">
        <a:tint val="50000"/>
      </a:schemeClr>
    </dgm:fillClrLst>
    <dgm:linClrLst meth="repeat">
      <a:schemeClr val="lt2"/>
    </dgm:linClrLst>
    <dgm:effectClrLst/>
    <dgm:txLinClrLst/>
    <dgm:txFillClrLst meth="repeat">
      <a:schemeClr val="lt2"/>
    </dgm:txFillClrLst>
    <dgm:txEffectClrLst/>
  </dgm:styleLbl>
  <dgm:styleLbl name="align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bg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callout">
    <dgm:fillClrLst meth="repeat">
      <a:schemeClr val="dk2"/>
    </dgm:fillClrLst>
    <dgm:linClrLst meth="repeat">
      <a:schemeClr val="dk2">
        <a:tint val="50000"/>
      </a:schemeClr>
    </dgm:linClrLst>
    <dgm:effectClrLst/>
    <dgm:txLinClrLst/>
    <dgm:txFillClrLst meth="repeat">
      <a:schemeClr val="lt2"/>
    </dgm:txFillClrLst>
    <dgm:txEffectClrLst/>
  </dgm:styleLbl>
  <dgm:styleLbl name="asst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lt2"/>
    </dgm:txFillClrLst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2">
        <a:alpha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2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2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1.xml><?xml version="1.0" encoding="utf-8"?>
<dgm:colorsDef xmlns:dgm="http://schemas.openxmlformats.org/drawingml/2006/diagram" xmlns:a="http://schemas.openxmlformats.org/drawingml/2006/main" uniqueId="urn:microsoft.com/office/officeart/2005/8/colors/accent1_3">
  <dgm:title val=""/>
  <dgm:desc val=""/>
  <dgm:catLst>
    <dgm:cat type="accent1" pri="11300"/>
  </dgm:catLst>
  <dgm:styleLbl name="node0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1">
        <a:shade val="80000"/>
      </a:schemeClr>
      <a:schemeClr val="accent1">
        <a:tint val="7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/>
    <dgm:txEffectClrLst/>
  </dgm:styleLbl>
  <dgm:styleLbl name="node1">
    <dgm:fillClrLst>
      <a:schemeClr val="accent1">
        <a:shade val="80000"/>
      </a:schemeClr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lnNode1">
    <dgm:fillClrLst>
      <a:schemeClr val="accent1">
        <a:shade val="80000"/>
      </a:schemeClr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1">
        <a:shade val="80000"/>
        <a:alpha val="50000"/>
      </a:schemeClr>
      <a:schemeClr val="accent1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1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/>
    <dgm:txEffectClrLst/>
  </dgm:styleLbl>
  <dgm:styleLbl name="fgSibTrans2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1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>
        <a:shade val="8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>
        <a:tint val="99000"/>
      </a:schemeClr>
    </dgm:fillClrLst>
    <dgm:linClrLst meth="repeat">
      <a:schemeClr val="accent1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>
        <a:tint val="80000"/>
      </a:schemeClr>
    </dgm:fillClrLst>
    <dgm:linClrLst meth="repeat">
      <a:schemeClr val="accent1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2.xml><?xml version="1.0" encoding="utf-8"?>
<dgm:colorsDef xmlns:dgm="http://schemas.openxmlformats.org/drawingml/2006/diagram" xmlns:a="http://schemas.openxmlformats.org/drawingml/2006/main" uniqueId="urn:microsoft.com/office/officeart/2005/8/colors/accent1_3">
  <dgm:title val=""/>
  <dgm:desc val=""/>
  <dgm:catLst>
    <dgm:cat type="accent1" pri="11300"/>
  </dgm:catLst>
  <dgm:styleLbl name="node0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1">
        <a:shade val="80000"/>
      </a:schemeClr>
      <a:schemeClr val="accent1">
        <a:tint val="7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/>
    <dgm:txEffectClrLst/>
  </dgm:styleLbl>
  <dgm:styleLbl name="node1">
    <dgm:fillClrLst>
      <a:schemeClr val="accent1">
        <a:shade val="80000"/>
      </a:schemeClr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lnNode1">
    <dgm:fillClrLst>
      <a:schemeClr val="accent1">
        <a:shade val="80000"/>
      </a:schemeClr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1">
        <a:shade val="80000"/>
        <a:alpha val="50000"/>
      </a:schemeClr>
      <a:schemeClr val="accent1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1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/>
    <dgm:txEffectClrLst/>
  </dgm:styleLbl>
  <dgm:styleLbl name="fgSibTrans2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1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>
        <a:shade val="8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>
        <a:tint val="99000"/>
      </a:schemeClr>
    </dgm:fillClrLst>
    <dgm:linClrLst meth="repeat">
      <a:schemeClr val="accent1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>
        <a:tint val="80000"/>
      </a:schemeClr>
    </dgm:fillClrLst>
    <dgm:linClrLst meth="repeat">
      <a:schemeClr val="accent1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3.xml><?xml version="1.0" encoding="utf-8"?>
<dgm:colorsDef xmlns:dgm="http://schemas.openxmlformats.org/drawingml/2006/diagram" xmlns:a="http://schemas.openxmlformats.org/drawingml/2006/main" uniqueId="urn:microsoft.com/office/officeart/2005/8/colors/accent1_4">
  <dgm:title val=""/>
  <dgm:desc val=""/>
  <dgm:catLst>
    <dgm:cat type="accent1" pri="11400"/>
  </dgm:catLst>
  <dgm:styleLbl name="node0">
    <dgm:fillClrLst meth="cycle">
      <a:schemeClr val="accent1">
        <a:shade val="6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cycle">
      <a:schemeClr val="accent1">
        <a:shade val="50000"/>
      </a:schemeClr>
      <a:schemeClr val="accent1">
        <a:tint val="55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cycle">
      <a:schemeClr val="accent1">
        <a:shade val="50000"/>
      </a:schemeClr>
      <a:schemeClr val="accent1">
        <a:tint val="55000"/>
      </a:schemeClr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/>
    <dgm:txEffectClrLst/>
  </dgm:styleLbl>
  <dgm:styleLbl name="lnNode1">
    <dgm:fillClrLst meth="cycle">
      <a:schemeClr val="accent1">
        <a:shade val="50000"/>
      </a:schemeClr>
      <a:schemeClr val="accent1">
        <a:tint val="55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cycle">
      <a:schemeClr val="accent1">
        <a:shade val="80000"/>
        <a:alpha val="50000"/>
      </a:schemeClr>
      <a:schemeClr val="accent1">
        <a:tint val="5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1">
        <a:tint val="50000"/>
      </a:schemeClr>
      <a:schemeClr val="accent1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1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1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cycle">
      <a:schemeClr val="accent1">
        <a:shade val="90000"/>
      </a:schemeClr>
      <a:schemeClr val="accent1">
        <a:tint val="50000"/>
      </a:schemeClr>
    </dgm:fillClrLst>
    <dgm:linClrLst meth="cycle"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fgSibTrans2D1">
    <dgm:fillClrLst meth="cycle">
      <a:schemeClr val="accent1">
        <a:shade val="90000"/>
      </a:schemeClr>
      <a:schemeClr val="accent1">
        <a:tint val="50000"/>
      </a:schemeClr>
    </dgm:fillClrLst>
    <dgm:linClrLst meth="cycle"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bgSibTrans2D1">
    <dgm:fillClrLst meth="cycle">
      <a:schemeClr val="accent1">
        <a:shade val="90000"/>
      </a:schemeClr>
      <a:schemeClr val="accent1">
        <a:tint val="50000"/>
      </a:schemeClr>
    </dgm:fillClrLst>
    <dgm:linClrLst meth="cycle"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sibTrans1D1">
    <dgm:fillClrLst meth="cycle">
      <a:schemeClr val="accent1">
        <a:shade val="90000"/>
      </a:schemeClr>
      <a:schemeClr val="accent1">
        <a:tint val="50000"/>
      </a:schemeClr>
    </dgm:fillClrLst>
    <dgm:linClrLst meth="cycle">
      <a:schemeClr val="accent1">
        <a:shade val="90000"/>
      </a:schemeClr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1">
        <a:tint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1">
        <a:shade val="8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55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55000"/>
      </a:schemeClr>
    </dgm:fillClrLst>
    <dgm:linClrLst meth="repeat">
      <a:schemeClr val="accent1">
        <a:alpha val="90000"/>
        <a:tint val="55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55000"/>
      </a:schemeClr>
    </dgm:fillClrLst>
    <dgm:linClrLst meth="repeat">
      <a:schemeClr val="accent1">
        <a:alpha val="90000"/>
        <a:tint val="55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55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55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55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55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4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5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6.xml><?xml version="1.0" encoding="utf-8"?>
<dgm:colorsDef xmlns:dgm="http://schemas.openxmlformats.org/drawingml/2006/diagram" xmlns:a="http://schemas.openxmlformats.org/drawingml/2006/main" uniqueId="urn:microsoft.com/office/officeart/2005/8/colors/accent1_4">
  <dgm:title val=""/>
  <dgm:desc val=""/>
  <dgm:catLst>
    <dgm:cat type="accent1" pri="11400"/>
  </dgm:catLst>
  <dgm:styleLbl name="node0">
    <dgm:fillClrLst meth="cycle">
      <a:schemeClr val="accent1">
        <a:shade val="6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cycle">
      <a:schemeClr val="accent1">
        <a:shade val="50000"/>
      </a:schemeClr>
      <a:schemeClr val="accent1">
        <a:tint val="55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cycle">
      <a:schemeClr val="accent1">
        <a:shade val="50000"/>
      </a:schemeClr>
      <a:schemeClr val="accent1">
        <a:tint val="55000"/>
      </a:schemeClr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/>
    <dgm:txEffectClrLst/>
  </dgm:styleLbl>
  <dgm:styleLbl name="lnNode1">
    <dgm:fillClrLst meth="cycle">
      <a:schemeClr val="accent1">
        <a:shade val="50000"/>
      </a:schemeClr>
      <a:schemeClr val="accent1">
        <a:tint val="55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cycle">
      <a:schemeClr val="accent1">
        <a:shade val="80000"/>
        <a:alpha val="50000"/>
      </a:schemeClr>
      <a:schemeClr val="accent1">
        <a:tint val="5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1">
        <a:tint val="50000"/>
      </a:schemeClr>
      <a:schemeClr val="accent1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1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1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cycle">
      <a:schemeClr val="accent1">
        <a:shade val="90000"/>
      </a:schemeClr>
      <a:schemeClr val="accent1">
        <a:tint val="50000"/>
      </a:schemeClr>
    </dgm:fillClrLst>
    <dgm:linClrLst meth="cycle"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fgSibTrans2D1">
    <dgm:fillClrLst meth="cycle">
      <a:schemeClr val="accent1">
        <a:shade val="90000"/>
      </a:schemeClr>
      <a:schemeClr val="accent1">
        <a:tint val="50000"/>
      </a:schemeClr>
    </dgm:fillClrLst>
    <dgm:linClrLst meth="cycle"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bgSibTrans2D1">
    <dgm:fillClrLst meth="cycle">
      <a:schemeClr val="accent1">
        <a:shade val="90000"/>
      </a:schemeClr>
      <a:schemeClr val="accent1">
        <a:tint val="50000"/>
      </a:schemeClr>
    </dgm:fillClrLst>
    <dgm:linClrLst meth="cycle"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sibTrans1D1">
    <dgm:fillClrLst meth="cycle">
      <a:schemeClr val="accent1">
        <a:shade val="90000"/>
      </a:schemeClr>
      <a:schemeClr val="accent1">
        <a:tint val="50000"/>
      </a:schemeClr>
    </dgm:fillClrLst>
    <dgm:linClrLst meth="cycle">
      <a:schemeClr val="accent1">
        <a:shade val="90000"/>
      </a:schemeClr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1">
        <a:tint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1">
        <a:shade val="8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55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55000"/>
      </a:schemeClr>
    </dgm:fillClrLst>
    <dgm:linClrLst meth="repeat">
      <a:schemeClr val="accent1">
        <a:alpha val="90000"/>
        <a:tint val="55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55000"/>
      </a:schemeClr>
    </dgm:fillClrLst>
    <dgm:linClrLst meth="repeat">
      <a:schemeClr val="accent1">
        <a:alpha val="90000"/>
        <a:tint val="55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55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55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55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55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7.xml><?xml version="1.0" encoding="utf-8"?>
<dgm:colorsDef xmlns:dgm="http://schemas.openxmlformats.org/drawingml/2006/diagram" xmlns:a="http://schemas.openxmlformats.org/drawingml/2006/main" uniqueId="urn:microsoft.com/office/officeart/2005/8/colors/accent1_4">
  <dgm:title val=""/>
  <dgm:desc val=""/>
  <dgm:catLst>
    <dgm:cat type="accent1" pri="11400"/>
  </dgm:catLst>
  <dgm:styleLbl name="node0">
    <dgm:fillClrLst meth="cycle">
      <a:schemeClr val="accent1">
        <a:shade val="6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cycle">
      <a:schemeClr val="accent1">
        <a:shade val="50000"/>
      </a:schemeClr>
      <a:schemeClr val="accent1">
        <a:tint val="55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cycle">
      <a:schemeClr val="accent1">
        <a:shade val="50000"/>
      </a:schemeClr>
      <a:schemeClr val="accent1">
        <a:tint val="55000"/>
      </a:schemeClr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/>
    <dgm:txEffectClrLst/>
  </dgm:styleLbl>
  <dgm:styleLbl name="lnNode1">
    <dgm:fillClrLst meth="cycle">
      <a:schemeClr val="accent1">
        <a:shade val="50000"/>
      </a:schemeClr>
      <a:schemeClr val="accent1">
        <a:tint val="55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cycle">
      <a:schemeClr val="accent1">
        <a:shade val="80000"/>
        <a:alpha val="50000"/>
      </a:schemeClr>
      <a:schemeClr val="accent1">
        <a:tint val="5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1">
        <a:tint val="50000"/>
      </a:schemeClr>
      <a:schemeClr val="accent1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1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1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cycle">
      <a:schemeClr val="accent1">
        <a:shade val="90000"/>
      </a:schemeClr>
      <a:schemeClr val="accent1">
        <a:tint val="50000"/>
      </a:schemeClr>
    </dgm:fillClrLst>
    <dgm:linClrLst meth="cycle"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fgSibTrans2D1">
    <dgm:fillClrLst meth="cycle">
      <a:schemeClr val="accent1">
        <a:shade val="90000"/>
      </a:schemeClr>
      <a:schemeClr val="accent1">
        <a:tint val="50000"/>
      </a:schemeClr>
    </dgm:fillClrLst>
    <dgm:linClrLst meth="cycle"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bgSibTrans2D1">
    <dgm:fillClrLst meth="cycle">
      <a:schemeClr val="accent1">
        <a:shade val="90000"/>
      </a:schemeClr>
      <a:schemeClr val="accent1">
        <a:tint val="50000"/>
      </a:schemeClr>
    </dgm:fillClrLst>
    <dgm:linClrLst meth="cycle"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sibTrans1D1">
    <dgm:fillClrLst meth="cycle">
      <a:schemeClr val="accent1">
        <a:shade val="90000"/>
      </a:schemeClr>
      <a:schemeClr val="accent1">
        <a:tint val="50000"/>
      </a:schemeClr>
    </dgm:fillClrLst>
    <dgm:linClrLst meth="cycle">
      <a:schemeClr val="accent1">
        <a:shade val="90000"/>
      </a:schemeClr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1">
        <a:tint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1">
        <a:shade val="8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55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55000"/>
      </a:schemeClr>
    </dgm:fillClrLst>
    <dgm:linClrLst meth="repeat">
      <a:schemeClr val="accent1">
        <a:alpha val="90000"/>
        <a:tint val="55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55000"/>
      </a:schemeClr>
    </dgm:fillClrLst>
    <dgm:linClrLst meth="repeat">
      <a:schemeClr val="accent1">
        <a:alpha val="90000"/>
        <a:tint val="55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55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55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55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55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8.xml><?xml version="1.0" encoding="utf-8"?>
<dgm:colorsDef xmlns:dgm="http://schemas.openxmlformats.org/drawingml/2006/diagram" xmlns:a="http://schemas.openxmlformats.org/drawingml/2006/main" uniqueId="urn:microsoft.com/office/officeart/2005/8/colors/colorful3">
  <dgm:title val=""/>
  <dgm:desc val=""/>
  <dgm:catLst>
    <dgm:cat type="colorful" pri="103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3"/>
      <a:schemeClr val="accent4"/>
    </dgm:fillClrLst>
    <dgm:linClrLst>
      <a:schemeClr val="accent3"/>
      <a:schemeClr val="accent4"/>
    </dgm:linClrLst>
    <dgm:effectClrLst/>
    <dgm:txLinClrLst/>
    <dgm:txFillClrLst/>
    <dgm:txEffectClrLst/>
  </dgm:styleLbl>
  <dgm:styleLbl name="ln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3">
        <a:alpha val="50000"/>
      </a:schemeClr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3">
        <a:tint val="50000"/>
      </a:schemeClr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3"/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9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colorful3">
  <dgm:title val=""/>
  <dgm:desc val=""/>
  <dgm:catLst>
    <dgm:cat type="colorful" pri="103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3"/>
      <a:schemeClr val="accent4"/>
    </dgm:fillClrLst>
    <dgm:linClrLst>
      <a:schemeClr val="accent3"/>
      <a:schemeClr val="accent4"/>
    </dgm:linClrLst>
    <dgm:effectClrLst/>
    <dgm:txLinClrLst/>
    <dgm:txFillClrLst/>
    <dgm:txEffectClrLst/>
  </dgm:styleLbl>
  <dgm:styleLbl name="ln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3">
        <a:alpha val="50000"/>
      </a:schemeClr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3">
        <a:tint val="50000"/>
      </a:schemeClr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3"/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0.xml><?xml version="1.0" encoding="utf-8"?>
<dgm:colorsDef xmlns:dgm="http://schemas.openxmlformats.org/drawingml/2006/diagram" xmlns:a="http://schemas.openxmlformats.org/drawingml/2006/main" uniqueId="urn:microsoft.com/office/officeart/2005/8/colors/colorful2">
  <dgm:title val=""/>
  <dgm:desc val=""/>
  <dgm:catLst>
    <dgm:cat type="colorful" pri="10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/>
      <a:schemeClr val="accent3"/>
    </dgm:fillClrLst>
    <dgm:linClrLst>
      <a:schemeClr val="accent2"/>
      <a:schemeClr val="accent3"/>
    </dgm:linClrLst>
    <dgm:effectClrLst/>
    <dgm:txLinClrLst/>
    <dgm:txFillClrLst/>
    <dgm:txEffectClrLst/>
  </dgm:styleLbl>
  <dgm:styleLbl name="ln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alpha val="50000"/>
      </a:schemeClr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2"/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5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2.xml><?xml version="1.0" encoding="utf-8"?>
<dgm:colorsDef xmlns:dgm="http://schemas.openxmlformats.org/drawingml/2006/diagram" xmlns:a="http://schemas.openxmlformats.org/drawingml/2006/main" uniqueId="urn:microsoft.com/office/officeart/2005/8/colors/accent1_4">
  <dgm:title val=""/>
  <dgm:desc val=""/>
  <dgm:catLst>
    <dgm:cat type="accent1" pri="11400"/>
  </dgm:catLst>
  <dgm:styleLbl name="node0">
    <dgm:fillClrLst meth="cycle">
      <a:schemeClr val="accent1">
        <a:shade val="6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cycle">
      <a:schemeClr val="accent1">
        <a:shade val="50000"/>
      </a:schemeClr>
      <a:schemeClr val="accent1">
        <a:tint val="55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cycle">
      <a:schemeClr val="accent1">
        <a:shade val="50000"/>
      </a:schemeClr>
      <a:schemeClr val="accent1">
        <a:tint val="55000"/>
      </a:schemeClr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/>
    <dgm:txEffectClrLst/>
  </dgm:styleLbl>
  <dgm:styleLbl name="lnNode1">
    <dgm:fillClrLst meth="cycle">
      <a:schemeClr val="accent1">
        <a:shade val="50000"/>
      </a:schemeClr>
      <a:schemeClr val="accent1">
        <a:tint val="55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cycle">
      <a:schemeClr val="accent1">
        <a:shade val="80000"/>
        <a:alpha val="50000"/>
      </a:schemeClr>
      <a:schemeClr val="accent1">
        <a:tint val="5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1">
        <a:tint val="50000"/>
      </a:schemeClr>
      <a:schemeClr val="accent1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1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1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cycle">
      <a:schemeClr val="accent1">
        <a:shade val="90000"/>
      </a:schemeClr>
      <a:schemeClr val="accent1">
        <a:tint val="50000"/>
      </a:schemeClr>
    </dgm:fillClrLst>
    <dgm:linClrLst meth="cycle"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fgSibTrans2D1">
    <dgm:fillClrLst meth="cycle">
      <a:schemeClr val="accent1">
        <a:shade val="90000"/>
      </a:schemeClr>
      <a:schemeClr val="accent1">
        <a:tint val="50000"/>
      </a:schemeClr>
    </dgm:fillClrLst>
    <dgm:linClrLst meth="cycle"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bgSibTrans2D1">
    <dgm:fillClrLst meth="cycle">
      <a:schemeClr val="accent1">
        <a:shade val="90000"/>
      </a:schemeClr>
      <a:schemeClr val="accent1">
        <a:tint val="50000"/>
      </a:schemeClr>
    </dgm:fillClrLst>
    <dgm:linClrLst meth="cycle"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sibTrans1D1">
    <dgm:fillClrLst meth="cycle">
      <a:schemeClr val="accent1">
        <a:shade val="90000"/>
      </a:schemeClr>
      <a:schemeClr val="accent1">
        <a:tint val="50000"/>
      </a:schemeClr>
    </dgm:fillClrLst>
    <dgm:linClrLst meth="cycle">
      <a:schemeClr val="accent1">
        <a:shade val="90000"/>
      </a:schemeClr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1">
        <a:tint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1">
        <a:shade val="8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55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55000"/>
      </a:schemeClr>
    </dgm:fillClrLst>
    <dgm:linClrLst meth="repeat">
      <a:schemeClr val="accent1">
        <a:alpha val="90000"/>
        <a:tint val="55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55000"/>
      </a:schemeClr>
    </dgm:fillClrLst>
    <dgm:linClrLst meth="repeat">
      <a:schemeClr val="accent1">
        <a:alpha val="90000"/>
        <a:tint val="55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55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55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55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55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3.xml><?xml version="1.0" encoding="utf-8"?>
<dgm:colorsDef xmlns:dgm="http://schemas.openxmlformats.org/drawingml/2006/diagram" xmlns:a="http://schemas.openxmlformats.org/drawingml/2006/main" uniqueId="urn:microsoft.com/office/officeart/2005/8/colors/accent1_4">
  <dgm:title val=""/>
  <dgm:desc val=""/>
  <dgm:catLst>
    <dgm:cat type="accent1" pri="11400"/>
  </dgm:catLst>
  <dgm:styleLbl name="node0">
    <dgm:fillClrLst meth="cycle">
      <a:schemeClr val="accent1">
        <a:shade val="6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cycle">
      <a:schemeClr val="accent1">
        <a:shade val="50000"/>
      </a:schemeClr>
      <a:schemeClr val="accent1">
        <a:tint val="55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cycle">
      <a:schemeClr val="accent1">
        <a:shade val="50000"/>
      </a:schemeClr>
      <a:schemeClr val="accent1">
        <a:tint val="55000"/>
      </a:schemeClr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/>
    <dgm:txEffectClrLst/>
  </dgm:styleLbl>
  <dgm:styleLbl name="lnNode1">
    <dgm:fillClrLst meth="cycle">
      <a:schemeClr val="accent1">
        <a:shade val="50000"/>
      </a:schemeClr>
      <a:schemeClr val="accent1">
        <a:tint val="55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cycle">
      <a:schemeClr val="accent1">
        <a:shade val="80000"/>
        <a:alpha val="50000"/>
      </a:schemeClr>
      <a:schemeClr val="accent1">
        <a:tint val="5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1">
        <a:tint val="50000"/>
      </a:schemeClr>
      <a:schemeClr val="accent1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1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1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cycle">
      <a:schemeClr val="accent1">
        <a:shade val="90000"/>
      </a:schemeClr>
      <a:schemeClr val="accent1">
        <a:tint val="50000"/>
      </a:schemeClr>
    </dgm:fillClrLst>
    <dgm:linClrLst meth="cycle"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fgSibTrans2D1">
    <dgm:fillClrLst meth="cycle">
      <a:schemeClr val="accent1">
        <a:shade val="90000"/>
      </a:schemeClr>
      <a:schemeClr val="accent1">
        <a:tint val="50000"/>
      </a:schemeClr>
    </dgm:fillClrLst>
    <dgm:linClrLst meth="cycle"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bgSibTrans2D1">
    <dgm:fillClrLst meth="cycle">
      <a:schemeClr val="accent1">
        <a:shade val="90000"/>
      </a:schemeClr>
      <a:schemeClr val="accent1">
        <a:tint val="50000"/>
      </a:schemeClr>
    </dgm:fillClrLst>
    <dgm:linClrLst meth="cycle"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sibTrans1D1">
    <dgm:fillClrLst meth="cycle">
      <a:schemeClr val="accent1">
        <a:shade val="90000"/>
      </a:schemeClr>
      <a:schemeClr val="accent1">
        <a:tint val="50000"/>
      </a:schemeClr>
    </dgm:fillClrLst>
    <dgm:linClrLst meth="cycle">
      <a:schemeClr val="accent1">
        <a:shade val="90000"/>
      </a:schemeClr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1">
        <a:tint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1">
        <a:shade val="8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55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55000"/>
      </a:schemeClr>
    </dgm:fillClrLst>
    <dgm:linClrLst meth="repeat">
      <a:schemeClr val="accent1">
        <a:alpha val="90000"/>
        <a:tint val="55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55000"/>
      </a:schemeClr>
    </dgm:fillClrLst>
    <dgm:linClrLst meth="repeat">
      <a:schemeClr val="accent1">
        <a:alpha val="90000"/>
        <a:tint val="55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55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55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55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55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4.xml><?xml version="1.0" encoding="utf-8"?>
<dgm:colorsDef xmlns:dgm="http://schemas.openxmlformats.org/drawingml/2006/diagram" xmlns:a="http://schemas.openxmlformats.org/drawingml/2006/main" uniqueId="urn:microsoft.com/office/officeart/2005/8/colors/colorful3">
  <dgm:title val=""/>
  <dgm:desc val=""/>
  <dgm:catLst>
    <dgm:cat type="colorful" pri="103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3"/>
      <a:schemeClr val="accent4"/>
    </dgm:fillClrLst>
    <dgm:linClrLst>
      <a:schemeClr val="accent3"/>
      <a:schemeClr val="accent4"/>
    </dgm:linClrLst>
    <dgm:effectClrLst/>
    <dgm:txLinClrLst/>
    <dgm:txFillClrLst/>
    <dgm:txEffectClrLst/>
  </dgm:styleLbl>
  <dgm:styleLbl name="ln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3">
        <a:alpha val="50000"/>
      </a:schemeClr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3">
        <a:tint val="50000"/>
      </a:schemeClr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3"/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3">
  <dgm:title val=""/>
  <dgm:desc val=""/>
  <dgm:catLst>
    <dgm:cat type="accent1" pri="11300"/>
  </dgm:catLst>
  <dgm:styleLbl name="node0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1">
        <a:shade val="80000"/>
      </a:schemeClr>
      <a:schemeClr val="accent1">
        <a:tint val="7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/>
    <dgm:txEffectClrLst/>
  </dgm:styleLbl>
  <dgm:styleLbl name="node1">
    <dgm:fillClrLst>
      <a:schemeClr val="accent1">
        <a:shade val="80000"/>
      </a:schemeClr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lnNode1">
    <dgm:fillClrLst>
      <a:schemeClr val="accent1">
        <a:shade val="80000"/>
      </a:schemeClr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1">
        <a:shade val="80000"/>
        <a:alpha val="50000"/>
      </a:schemeClr>
      <a:schemeClr val="accent1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1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/>
    <dgm:txEffectClrLst/>
  </dgm:styleLbl>
  <dgm:styleLbl name="fgSibTrans2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1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>
        <a:shade val="8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>
        <a:tint val="99000"/>
      </a:schemeClr>
    </dgm:fillClrLst>
    <dgm:linClrLst meth="repeat">
      <a:schemeClr val="accent1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>
        <a:tint val="80000"/>
      </a:schemeClr>
    </dgm:fillClrLst>
    <dgm:linClrLst meth="repeat">
      <a:schemeClr val="accent1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4_1">
  <dgm:title val=""/>
  <dgm:desc val=""/>
  <dgm:catLst>
    <dgm:cat type="accent4" pri="11100"/>
  </dgm:catLst>
  <dgm:styleLbl name="node0">
    <dgm:fillClrLst meth="repeat">
      <a:schemeClr val="lt1"/>
    </dgm:fillClrLst>
    <dgm:linClrLst meth="repeat">
      <a:schemeClr val="accent4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4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4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4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4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4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4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4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4">
        <a:tint val="40000"/>
      </a:schemeClr>
    </dgm:fillClrLst>
    <dgm:linClrLst meth="repeat">
      <a:schemeClr val="accent4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4">
        <a:tint val="40000"/>
      </a:schemeClr>
    </dgm:fillClrLst>
    <dgm:linClrLst meth="repeat">
      <a:schemeClr val="accent4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4">
        <a:tint val="40000"/>
      </a:schemeClr>
    </dgm:fillClrLst>
    <dgm:linClrLst meth="repeat">
      <a:schemeClr val="accent4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4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4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4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4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4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4"/>
    </dgm:fillClrLst>
    <dgm:linClrLst meth="repeat">
      <a:schemeClr val="accent4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accent4"/>
    </dgm:linClrLst>
    <dgm:effectClrLst/>
    <dgm:txLinClrLst/>
    <dgm:txFillClrLst/>
    <dgm:txEffectClrLst/>
  </dgm:styleLbl>
  <dgm:styleLbl name="parChTrans2D4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4">
        <a:alpha val="90000"/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4">
        <a:alpha val="90000"/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4">
        <a:alpha val="90000"/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4">
        <a:alpha val="40000"/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4">
        <a:alpha val="90000"/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4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4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4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4">
        <a:alpha val="90000"/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4">
        <a:alpha val="90000"/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4">
        <a:alpha val="90000"/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4">
        <a:alpha val="90000"/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8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colorful2">
  <dgm:title val=""/>
  <dgm:desc val=""/>
  <dgm:catLst>
    <dgm:cat type="colorful" pri="10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/>
      <a:schemeClr val="accent3"/>
    </dgm:fillClrLst>
    <dgm:linClrLst>
      <a:schemeClr val="accent2"/>
      <a:schemeClr val="accent3"/>
    </dgm:linClrLst>
    <dgm:effectClrLst/>
    <dgm:txLinClrLst/>
    <dgm:txFillClrLst/>
    <dgm:txEffectClrLst/>
  </dgm:styleLbl>
  <dgm:styleLbl name="ln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alpha val="50000"/>
      </a:schemeClr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2"/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5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colorful2">
  <dgm:title val=""/>
  <dgm:desc val=""/>
  <dgm:catLst>
    <dgm:cat type="colorful" pri="10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/>
      <a:schemeClr val="accent3"/>
    </dgm:fillClrLst>
    <dgm:linClrLst>
      <a:schemeClr val="accent2"/>
      <a:schemeClr val="accent3"/>
    </dgm:linClrLst>
    <dgm:effectClrLst/>
    <dgm:txLinClrLst/>
    <dgm:txFillClrLst/>
    <dgm:txEffectClrLst/>
  </dgm:styleLbl>
  <dgm:styleLbl name="ln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alpha val="50000"/>
      </a:schemeClr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2"/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5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7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8.xml><?xml version="1.0" encoding="utf-8"?>
<dgm:colorsDef xmlns:dgm="http://schemas.openxmlformats.org/drawingml/2006/diagram" xmlns:a="http://schemas.openxmlformats.org/drawingml/2006/main" uniqueId="urn:microsoft.com/office/officeart/2005/8/colors/accent1_4">
  <dgm:title val=""/>
  <dgm:desc val=""/>
  <dgm:catLst>
    <dgm:cat type="accent1" pri="11400"/>
  </dgm:catLst>
  <dgm:styleLbl name="node0">
    <dgm:fillClrLst meth="cycle">
      <a:schemeClr val="accent1">
        <a:shade val="6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cycle">
      <a:schemeClr val="accent1">
        <a:shade val="50000"/>
      </a:schemeClr>
      <a:schemeClr val="accent1">
        <a:tint val="55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cycle">
      <a:schemeClr val="accent1">
        <a:shade val="50000"/>
      </a:schemeClr>
      <a:schemeClr val="accent1">
        <a:tint val="55000"/>
      </a:schemeClr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/>
    <dgm:txEffectClrLst/>
  </dgm:styleLbl>
  <dgm:styleLbl name="lnNode1">
    <dgm:fillClrLst meth="cycle">
      <a:schemeClr val="accent1">
        <a:shade val="50000"/>
      </a:schemeClr>
      <a:schemeClr val="accent1">
        <a:tint val="55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cycle">
      <a:schemeClr val="accent1">
        <a:shade val="80000"/>
        <a:alpha val="50000"/>
      </a:schemeClr>
      <a:schemeClr val="accent1">
        <a:tint val="5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1">
        <a:tint val="50000"/>
      </a:schemeClr>
      <a:schemeClr val="accent1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1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1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cycle">
      <a:schemeClr val="accent1">
        <a:shade val="90000"/>
      </a:schemeClr>
      <a:schemeClr val="accent1">
        <a:tint val="50000"/>
      </a:schemeClr>
    </dgm:fillClrLst>
    <dgm:linClrLst meth="cycle"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fgSibTrans2D1">
    <dgm:fillClrLst meth="cycle">
      <a:schemeClr val="accent1">
        <a:shade val="90000"/>
      </a:schemeClr>
      <a:schemeClr val="accent1">
        <a:tint val="50000"/>
      </a:schemeClr>
    </dgm:fillClrLst>
    <dgm:linClrLst meth="cycle"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bgSibTrans2D1">
    <dgm:fillClrLst meth="cycle">
      <a:schemeClr val="accent1">
        <a:shade val="90000"/>
      </a:schemeClr>
      <a:schemeClr val="accent1">
        <a:tint val="50000"/>
      </a:schemeClr>
    </dgm:fillClrLst>
    <dgm:linClrLst meth="cycle"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sibTrans1D1">
    <dgm:fillClrLst meth="cycle">
      <a:schemeClr val="accent1">
        <a:shade val="90000"/>
      </a:schemeClr>
      <a:schemeClr val="accent1">
        <a:tint val="50000"/>
      </a:schemeClr>
    </dgm:fillClrLst>
    <dgm:linClrLst meth="cycle">
      <a:schemeClr val="accent1">
        <a:shade val="90000"/>
      </a:schemeClr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1">
        <a:tint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1">
        <a:shade val="8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55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55000"/>
      </a:schemeClr>
    </dgm:fillClrLst>
    <dgm:linClrLst meth="repeat">
      <a:schemeClr val="accent1">
        <a:alpha val="90000"/>
        <a:tint val="55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55000"/>
      </a:schemeClr>
    </dgm:fillClrLst>
    <dgm:linClrLst meth="repeat">
      <a:schemeClr val="accent1">
        <a:alpha val="90000"/>
        <a:tint val="55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55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55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55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55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9.xml><?xml version="1.0" encoding="utf-8"?>
<dgm:colorsDef xmlns:dgm="http://schemas.openxmlformats.org/drawingml/2006/diagram" xmlns:a="http://schemas.openxmlformats.org/drawingml/2006/main" uniqueId="urn:microsoft.com/office/officeart/2005/8/colors/colorful3">
  <dgm:title val=""/>
  <dgm:desc val=""/>
  <dgm:catLst>
    <dgm:cat type="colorful" pri="103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3"/>
      <a:schemeClr val="accent4"/>
    </dgm:fillClrLst>
    <dgm:linClrLst>
      <a:schemeClr val="accent3"/>
      <a:schemeClr val="accent4"/>
    </dgm:linClrLst>
    <dgm:effectClrLst/>
    <dgm:txLinClrLst/>
    <dgm:txFillClrLst/>
    <dgm:txEffectClrLst/>
  </dgm:styleLbl>
  <dgm:styleLbl name="ln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3">
        <a:alpha val="50000"/>
      </a:schemeClr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3">
        <a:tint val="50000"/>
      </a:schemeClr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3"/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F5CC5B48-4E86-482F-B356-3B3BE0EE77E8}" type="doc">
      <dgm:prSet loTypeId="urn:microsoft.com/office/officeart/2005/8/layout/list1" loCatId="list" qsTypeId="urn:microsoft.com/office/officeart/2005/8/quickstyle/simple1" qsCatId="simple" csTypeId="urn:microsoft.com/office/officeart/2005/8/colors/colorful5" csCatId="colorful" phldr="1"/>
      <dgm:spPr/>
      <dgm:t>
        <a:bodyPr/>
        <a:lstStyle/>
        <a:p>
          <a:pPr latinLnBrk="1"/>
          <a:endParaRPr lang="ko-KR" altLang="en-US"/>
        </a:p>
      </dgm:t>
    </dgm:pt>
    <dgm:pt modelId="{F1C6888F-2306-41B8-8614-9D32874BCA6E}">
      <dgm:prSet phldrT="[텍스트]"/>
      <dgm:spPr/>
      <dgm:t>
        <a:bodyPr/>
        <a:lstStyle/>
        <a:p>
          <a:pPr latinLnBrk="1"/>
          <a:r>
            <a:rPr lang="ko-KR" altLang="en-US" dirty="0"/>
            <a:t>시장</a:t>
          </a:r>
          <a:r>
            <a:rPr lang="en-US" altLang="ko-KR" dirty="0"/>
            <a:t>/</a:t>
          </a:r>
          <a:r>
            <a:rPr lang="ko-KR" altLang="en-US" dirty="0"/>
            <a:t>사회 변화 요인 인지</a:t>
          </a:r>
        </a:p>
      </dgm:t>
    </dgm:pt>
    <dgm:pt modelId="{64F38BD8-E85B-4DDB-8355-D47CDE45BCD0}" type="parTrans" cxnId="{C94697F9-0A39-4BB2-8877-863AE6D965CE}">
      <dgm:prSet/>
      <dgm:spPr/>
      <dgm:t>
        <a:bodyPr/>
        <a:lstStyle/>
        <a:p>
          <a:pPr latinLnBrk="1"/>
          <a:endParaRPr lang="ko-KR" altLang="en-US"/>
        </a:p>
      </dgm:t>
    </dgm:pt>
    <dgm:pt modelId="{9A8370E8-09E4-4299-B62E-A70DE303A306}" type="sibTrans" cxnId="{C94697F9-0A39-4BB2-8877-863AE6D965CE}">
      <dgm:prSet/>
      <dgm:spPr/>
      <dgm:t>
        <a:bodyPr/>
        <a:lstStyle/>
        <a:p>
          <a:pPr latinLnBrk="1"/>
          <a:endParaRPr lang="ko-KR" altLang="en-US"/>
        </a:p>
      </dgm:t>
    </dgm:pt>
    <dgm:pt modelId="{5E0C26CB-2967-4369-901C-C2BC1F755753}">
      <dgm:prSet phldrT="[텍스트]"/>
      <dgm:spPr/>
      <dgm:t>
        <a:bodyPr/>
        <a:lstStyle/>
        <a:p>
          <a:pPr latinLnBrk="1"/>
          <a:r>
            <a:rPr lang="en-US" altLang="ko-KR" dirty="0"/>
            <a:t> 2023 </a:t>
          </a:r>
          <a:r>
            <a:rPr lang="ko-KR" altLang="en-US" dirty="0"/>
            <a:t>유통</a:t>
          </a:r>
          <a:r>
            <a:rPr lang="en-US" altLang="ko-KR" dirty="0"/>
            <a:t>/</a:t>
          </a:r>
          <a:r>
            <a:rPr lang="ko-KR" altLang="en-US" dirty="0"/>
            <a:t>소비 </a:t>
          </a:r>
        </a:p>
      </dgm:t>
    </dgm:pt>
    <dgm:pt modelId="{EE633AED-00C6-4A03-BA79-64358401C919}" type="parTrans" cxnId="{9C21F0BE-C9EC-41BC-985B-B07AA30E1742}">
      <dgm:prSet/>
      <dgm:spPr/>
      <dgm:t>
        <a:bodyPr/>
        <a:lstStyle/>
        <a:p>
          <a:pPr latinLnBrk="1"/>
          <a:endParaRPr lang="ko-KR" altLang="en-US"/>
        </a:p>
      </dgm:t>
    </dgm:pt>
    <dgm:pt modelId="{195D3924-8DE0-4D30-AAB6-60C3BF8C1D23}" type="sibTrans" cxnId="{9C21F0BE-C9EC-41BC-985B-B07AA30E1742}">
      <dgm:prSet/>
      <dgm:spPr/>
      <dgm:t>
        <a:bodyPr/>
        <a:lstStyle/>
        <a:p>
          <a:pPr latinLnBrk="1"/>
          <a:endParaRPr lang="ko-KR" altLang="en-US"/>
        </a:p>
      </dgm:t>
    </dgm:pt>
    <dgm:pt modelId="{16C1A753-BA0D-469E-AA55-222F2236B51B}">
      <dgm:prSet phldrT="[텍스트]"/>
      <dgm:spPr/>
      <dgm:t>
        <a:bodyPr/>
        <a:lstStyle/>
        <a:p>
          <a:pPr latinLnBrk="1"/>
          <a:r>
            <a:rPr lang="ko-KR" altLang="en-US" dirty="0"/>
            <a:t>유통산업 대책</a:t>
          </a:r>
          <a:r>
            <a:rPr lang="en-US" altLang="ko-KR" dirty="0"/>
            <a:t>/</a:t>
          </a:r>
          <a:r>
            <a:rPr lang="ko-KR" altLang="en-US" dirty="0"/>
            <a:t> 시사점</a:t>
          </a:r>
        </a:p>
      </dgm:t>
    </dgm:pt>
    <dgm:pt modelId="{9D920776-7359-488D-9E20-A06C293C47C8}" type="parTrans" cxnId="{D806B5B1-F37F-404F-BC2A-D58FC752159C}">
      <dgm:prSet/>
      <dgm:spPr/>
      <dgm:t>
        <a:bodyPr/>
        <a:lstStyle/>
        <a:p>
          <a:pPr latinLnBrk="1"/>
          <a:endParaRPr lang="ko-KR" altLang="en-US"/>
        </a:p>
      </dgm:t>
    </dgm:pt>
    <dgm:pt modelId="{C4F3CA1D-8AA1-4668-BB3C-479BF4347084}" type="sibTrans" cxnId="{D806B5B1-F37F-404F-BC2A-D58FC752159C}">
      <dgm:prSet/>
      <dgm:spPr/>
      <dgm:t>
        <a:bodyPr/>
        <a:lstStyle/>
        <a:p>
          <a:pPr latinLnBrk="1"/>
          <a:endParaRPr lang="ko-KR" altLang="en-US"/>
        </a:p>
      </dgm:t>
    </dgm:pt>
    <dgm:pt modelId="{333A7195-A11B-448F-9358-C2A2BF54EB71}" type="pres">
      <dgm:prSet presAssocID="{F5CC5B48-4E86-482F-B356-3B3BE0EE77E8}" presName="linear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pPr latinLnBrk="1"/>
          <a:endParaRPr lang="ko-KR" altLang="en-US"/>
        </a:p>
      </dgm:t>
    </dgm:pt>
    <dgm:pt modelId="{282B4043-52A1-402F-A227-91C43DCDFAAB}" type="pres">
      <dgm:prSet presAssocID="{F1C6888F-2306-41B8-8614-9D32874BCA6E}" presName="parentLin" presStyleCnt="0"/>
      <dgm:spPr/>
    </dgm:pt>
    <dgm:pt modelId="{EB5BEB0E-602C-4A36-B358-03D67F44F621}" type="pres">
      <dgm:prSet presAssocID="{F1C6888F-2306-41B8-8614-9D32874BCA6E}" presName="parentLeftMargin" presStyleLbl="node1" presStyleIdx="0" presStyleCnt="3"/>
      <dgm:spPr/>
      <dgm:t>
        <a:bodyPr/>
        <a:lstStyle/>
        <a:p>
          <a:pPr latinLnBrk="1"/>
          <a:endParaRPr lang="ko-KR" altLang="en-US"/>
        </a:p>
      </dgm:t>
    </dgm:pt>
    <dgm:pt modelId="{F621E401-7AF4-42A8-8215-F978AECCB866}" type="pres">
      <dgm:prSet presAssocID="{F1C6888F-2306-41B8-8614-9D32874BCA6E}" presName="parentText" presStyleLbl="node1" presStyleIdx="0" presStyleCnt="3" custScaleX="92977">
        <dgm:presLayoutVars>
          <dgm:chMax val="0"/>
          <dgm:bulletEnabled val="1"/>
        </dgm:presLayoutVars>
      </dgm:prSet>
      <dgm:spPr/>
      <dgm:t>
        <a:bodyPr/>
        <a:lstStyle/>
        <a:p>
          <a:pPr latinLnBrk="1"/>
          <a:endParaRPr lang="ko-KR" altLang="en-US"/>
        </a:p>
      </dgm:t>
    </dgm:pt>
    <dgm:pt modelId="{181D15AC-C02E-4D1E-A41D-564C5E50C461}" type="pres">
      <dgm:prSet presAssocID="{F1C6888F-2306-41B8-8614-9D32874BCA6E}" presName="negativeSpace" presStyleCnt="0"/>
      <dgm:spPr/>
    </dgm:pt>
    <dgm:pt modelId="{8C7B4A32-381B-46C4-B88E-1FB01DA03160}" type="pres">
      <dgm:prSet presAssocID="{F1C6888F-2306-41B8-8614-9D32874BCA6E}" presName="childText" presStyleLbl="conFgAcc1" presStyleIdx="0" presStyleCnt="3">
        <dgm:presLayoutVars>
          <dgm:bulletEnabled val="1"/>
        </dgm:presLayoutVars>
      </dgm:prSet>
      <dgm:spPr/>
    </dgm:pt>
    <dgm:pt modelId="{A92BBF39-1817-4A3B-B906-D569B7BDB421}" type="pres">
      <dgm:prSet presAssocID="{9A8370E8-09E4-4299-B62E-A70DE303A306}" presName="spaceBetweenRectangles" presStyleCnt="0"/>
      <dgm:spPr/>
    </dgm:pt>
    <dgm:pt modelId="{6C2F2CF4-3619-400E-8F5A-A0E83399F10B}" type="pres">
      <dgm:prSet presAssocID="{5E0C26CB-2967-4369-901C-C2BC1F755753}" presName="parentLin" presStyleCnt="0"/>
      <dgm:spPr/>
    </dgm:pt>
    <dgm:pt modelId="{C605EC15-8B2D-4EEC-A90E-F40F8E0D6BDA}" type="pres">
      <dgm:prSet presAssocID="{5E0C26CB-2967-4369-901C-C2BC1F755753}" presName="parentLeftMargin" presStyleLbl="node1" presStyleIdx="0" presStyleCnt="3"/>
      <dgm:spPr/>
      <dgm:t>
        <a:bodyPr/>
        <a:lstStyle/>
        <a:p>
          <a:pPr latinLnBrk="1"/>
          <a:endParaRPr lang="ko-KR" altLang="en-US"/>
        </a:p>
      </dgm:t>
    </dgm:pt>
    <dgm:pt modelId="{534C3BF1-86C1-438C-86E4-9C269551C2FD}" type="pres">
      <dgm:prSet presAssocID="{5E0C26CB-2967-4369-901C-C2BC1F755753}" presName="parentText" presStyleLbl="node1" presStyleIdx="1" presStyleCnt="3" custLinFactNeighborX="-8269" custLinFactNeighborY="-1548">
        <dgm:presLayoutVars>
          <dgm:chMax val="0"/>
          <dgm:bulletEnabled val="1"/>
        </dgm:presLayoutVars>
      </dgm:prSet>
      <dgm:spPr/>
      <dgm:t>
        <a:bodyPr/>
        <a:lstStyle/>
        <a:p>
          <a:pPr latinLnBrk="1"/>
          <a:endParaRPr lang="ko-KR" altLang="en-US"/>
        </a:p>
      </dgm:t>
    </dgm:pt>
    <dgm:pt modelId="{FC3B1981-9AE9-46CE-A9DD-B6753381D88B}" type="pres">
      <dgm:prSet presAssocID="{5E0C26CB-2967-4369-901C-C2BC1F755753}" presName="negativeSpace" presStyleCnt="0"/>
      <dgm:spPr/>
    </dgm:pt>
    <dgm:pt modelId="{7050FBDB-11F8-431F-94EF-22CE2D8593A7}" type="pres">
      <dgm:prSet presAssocID="{5E0C26CB-2967-4369-901C-C2BC1F755753}" presName="childText" presStyleLbl="conFgAcc1" presStyleIdx="1" presStyleCnt="3">
        <dgm:presLayoutVars>
          <dgm:bulletEnabled val="1"/>
        </dgm:presLayoutVars>
      </dgm:prSet>
      <dgm:spPr/>
    </dgm:pt>
    <dgm:pt modelId="{6D9A41FE-A3F1-497E-9A12-8723E506C9CF}" type="pres">
      <dgm:prSet presAssocID="{195D3924-8DE0-4D30-AAB6-60C3BF8C1D23}" presName="spaceBetweenRectangles" presStyleCnt="0"/>
      <dgm:spPr/>
    </dgm:pt>
    <dgm:pt modelId="{8B4FDF3A-07CE-42FB-91CA-A6170B5D5D36}" type="pres">
      <dgm:prSet presAssocID="{16C1A753-BA0D-469E-AA55-222F2236B51B}" presName="parentLin" presStyleCnt="0"/>
      <dgm:spPr/>
    </dgm:pt>
    <dgm:pt modelId="{F3C73646-4353-464B-AE94-E66DA629686D}" type="pres">
      <dgm:prSet presAssocID="{16C1A753-BA0D-469E-AA55-222F2236B51B}" presName="parentLeftMargin" presStyleLbl="node1" presStyleIdx="1" presStyleCnt="3"/>
      <dgm:spPr/>
      <dgm:t>
        <a:bodyPr/>
        <a:lstStyle/>
        <a:p>
          <a:pPr latinLnBrk="1"/>
          <a:endParaRPr lang="ko-KR" altLang="en-US"/>
        </a:p>
      </dgm:t>
    </dgm:pt>
    <dgm:pt modelId="{C3D705B4-9471-448A-935F-0491FED06EDD}" type="pres">
      <dgm:prSet presAssocID="{16C1A753-BA0D-469E-AA55-222F2236B51B}" presName="parentText" presStyleLbl="node1" presStyleIdx="2" presStyleCnt="3">
        <dgm:presLayoutVars>
          <dgm:chMax val="0"/>
          <dgm:bulletEnabled val="1"/>
        </dgm:presLayoutVars>
      </dgm:prSet>
      <dgm:spPr/>
      <dgm:t>
        <a:bodyPr/>
        <a:lstStyle/>
        <a:p>
          <a:pPr latinLnBrk="1"/>
          <a:endParaRPr lang="ko-KR" altLang="en-US"/>
        </a:p>
      </dgm:t>
    </dgm:pt>
    <dgm:pt modelId="{76752B22-4F30-41F8-BE27-DE9DED8D52EB}" type="pres">
      <dgm:prSet presAssocID="{16C1A753-BA0D-469E-AA55-222F2236B51B}" presName="negativeSpace" presStyleCnt="0"/>
      <dgm:spPr/>
    </dgm:pt>
    <dgm:pt modelId="{C1BB5DD9-5C7B-4E49-8896-203ABF1EDE82}" type="pres">
      <dgm:prSet presAssocID="{16C1A753-BA0D-469E-AA55-222F2236B51B}" presName="childText" presStyleLbl="conFgAcc1" presStyleIdx="2" presStyleCnt="3">
        <dgm:presLayoutVars>
          <dgm:bulletEnabled val="1"/>
        </dgm:presLayoutVars>
      </dgm:prSet>
      <dgm:spPr/>
    </dgm:pt>
  </dgm:ptLst>
  <dgm:cxnLst>
    <dgm:cxn modelId="{D806B5B1-F37F-404F-BC2A-D58FC752159C}" srcId="{F5CC5B48-4E86-482F-B356-3B3BE0EE77E8}" destId="{16C1A753-BA0D-469E-AA55-222F2236B51B}" srcOrd="2" destOrd="0" parTransId="{9D920776-7359-488D-9E20-A06C293C47C8}" sibTransId="{C4F3CA1D-8AA1-4668-BB3C-479BF4347084}"/>
    <dgm:cxn modelId="{27263278-B3FA-4444-ADEF-C3212310981D}" type="presOf" srcId="{5E0C26CB-2967-4369-901C-C2BC1F755753}" destId="{C605EC15-8B2D-4EEC-A90E-F40F8E0D6BDA}" srcOrd="0" destOrd="0" presId="urn:microsoft.com/office/officeart/2005/8/layout/list1"/>
    <dgm:cxn modelId="{8C8EBAF0-AA15-48EB-98DF-98B85617290E}" type="presOf" srcId="{F1C6888F-2306-41B8-8614-9D32874BCA6E}" destId="{F621E401-7AF4-42A8-8215-F978AECCB866}" srcOrd="1" destOrd="0" presId="urn:microsoft.com/office/officeart/2005/8/layout/list1"/>
    <dgm:cxn modelId="{9C21F0BE-C9EC-41BC-985B-B07AA30E1742}" srcId="{F5CC5B48-4E86-482F-B356-3B3BE0EE77E8}" destId="{5E0C26CB-2967-4369-901C-C2BC1F755753}" srcOrd="1" destOrd="0" parTransId="{EE633AED-00C6-4A03-BA79-64358401C919}" sibTransId="{195D3924-8DE0-4D30-AAB6-60C3BF8C1D23}"/>
    <dgm:cxn modelId="{9EDC73FA-BA78-4605-82C1-C09F68ADBFC8}" type="presOf" srcId="{F1C6888F-2306-41B8-8614-9D32874BCA6E}" destId="{EB5BEB0E-602C-4A36-B358-03D67F44F621}" srcOrd="0" destOrd="0" presId="urn:microsoft.com/office/officeart/2005/8/layout/list1"/>
    <dgm:cxn modelId="{C94697F9-0A39-4BB2-8877-863AE6D965CE}" srcId="{F5CC5B48-4E86-482F-B356-3B3BE0EE77E8}" destId="{F1C6888F-2306-41B8-8614-9D32874BCA6E}" srcOrd="0" destOrd="0" parTransId="{64F38BD8-E85B-4DDB-8355-D47CDE45BCD0}" sibTransId="{9A8370E8-09E4-4299-B62E-A70DE303A306}"/>
    <dgm:cxn modelId="{90B9D39B-E52B-40EE-8528-489FA04EC058}" type="presOf" srcId="{16C1A753-BA0D-469E-AA55-222F2236B51B}" destId="{F3C73646-4353-464B-AE94-E66DA629686D}" srcOrd="0" destOrd="0" presId="urn:microsoft.com/office/officeart/2005/8/layout/list1"/>
    <dgm:cxn modelId="{E52F33EB-BEB6-4287-A6DE-E02484476C5F}" type="presOf" srcId="{16C1A753-BA0D-469E-AA55-222F2236B51B}" destId="{C3D705B4-9471-448A-935F-0491FED06EDD}" srcOrd="1" destOrd="0" presId="urn:microsoft.com/office/officeart/2005/8/layout/list1"/>
    <dgm:cxn modelId="{49670E1F-D559-4E38-A748-B6256B7E5347}" type="presOf" srcId="{F5CC5B48-4E86-482F-B356-3B3BE0EE77E8}" destId="{333A7195-A11B-448F-9358-C2A2BF54EB71}" srcOrd="0" destOrd="0" presId="urn:microsoft.com/office/officeart/2005/8/layout/list1"/>
    <dgm:cxn modelId="{4CBD105E-BB25-4A67-AF26-CD1B20798AEE}" type="presOf" srcId="{5E0C26CB-2967-4369-901C-C2BC1F755753}" destId="{534C3BF1-86C1-438C-86E4-9C269551C2FD}" srcOrd="1" destOrd="0" presId="urn:microsoft.com/office/officeart/2005/8/layout/list1"/>
    <dgm:cxn modelId="{C3D2C1CF-71E6-4798-AEB9-5B31F285D6D2}" type="presParOf" srcId="{333A7195-A11B-448F-9358-C2A2BF54EB71}" destId="{282B4043-52A1-402F-A227-91C43DCDFAAB}" srcOrd="0" destOrd="0" presId="urn:microsoft.com/office/officeart/2005/8/layout/list1"/>
    <dgm:cxn modelId="{CC2EEDBE-5957-4670-A9F1-9C57E64DBC16}" type="presParOf" srcId="{282B4043-52A1-402F-A227-91C43DCDFAAB}" destId="{EB5BEB0E-602C-4A36-B358-03D67F44F621}" srcOrd="0" destOrd="0" presId="urn:microsoft.com/office/officeart/2005/8/layout/list1"/>
    <dgm:cxn modelId="{BBCD46B1-1AF4-41D5-8AF4-7B3CA0C1BD15}" type="presParOf" srcId="{282B4043-52A1-402F-A227-91C43DCDFAAB}" destId="{F621E401-7AF4-42A8-8215-F978AECCB866}" srcOrd="1" destOrd="0" presId="urn:microsoft.com/office/officeart/2005/8/layout/list1"/>
    <dgm:cxn modelId="{FE5937BE-A6A5-4ED1-87E2-ABF09E1A3CE2}" type="presParOf" srcId="{333A7195-A11B-448F-9358-C2A2BF54EB71}" destId="{181D15AC-C02E-4D1E-A41D-564C5E50C461}" srcOrd="1" destOrd="0" presId="urn:microsoft.com/office/officeart/2005/8/layout/list1"/>
    <dgm:cxn modelId="{851E3EDF-C37B-4456-BDFE-7D6E28340E67}" type="presParOf" srcId="{333A7195-A11B-448F-9358-C2A2BF54EB71}" destId="{8C7B4A32-381B-46C4-B88E-1FB01DA03160}" srcOrd="2" destOrd="0" presId="urn:microsoft.com/office/officeart/2005/8/layout/list1"/>
    <dgm:cxn modelId="{E5CAF9F4-560C-4CF4-B7AF-B0316A740F2C}" type="presParOf" srcId="{333A7195-A11B-448F-9358-C2A2BF54EB71}" destId="{A92BBF39-1817-4A3B-B906-D569B7BDB421}" srcOrd="3" destOrd="0" presId="urn:microsoft.com/office/officeart/2005/8/layout/list1"/>
    <dgm:cxn modelId="{B7D86086-F099-4AEA-8920-2CC2560BFBD3}" type="presParOf" srcId="{333A7195-A11B-448F-9358-C2A2BF54EB71}" destId="{6C2F2CF4-3619-400E-8F5A-A0E83399F10B}" srcOrd="4" destOrd="0" presId="urn:microsoft.com/office/officeart/2005/8/layout/list1"/>
    <dgm:cxn modelId="{8C1E2C0F-EC9F-4347-BF01-28182B5AE080}" type="presParOf" srcId="{6C2F2CF4-3619-400E-8F5A-A0E83399F10B}" destId="{C605EC15-8B2D-4EEC-A90E-F40F8E0D6BDA}" srcOrd="0" destOrd="0" presId="urn:microsoft.com/office/officeart/2005/8/layout/list1"/>
    <dgm:cxn modelId="{0554A4BC-9EE7-4A3A-8F94-E0689BF0B15C}" type="presParOf" srcId="{6C2F2CF4-3619-400E-8F5A-A0E83399F10B}" destId="{534C3BF1-86C1-438C-86E4-9C269551C2FD}" srcOrd="1" destOrd="0" presId="urn:microsoft.com/office/officeart/2005/8/layout/list1"/>
    <dgm:cxn modelId="{83375286-B7D6-4B9F-8C04-ECB131524B55}" type="presParOf" srcId="{333A7195-A11B-448F-9358-C2A2BF54EB71}" destId="{FC3B1981-9AE9-46CE-A9DD-B6753381D88B}" srcOrd="5" destOrd="0" presId="urn:microsoft.com/office/officeart/2005/8/layout/list1"/>
    <dgm:cxn modelId="{9E188D91-CAC0-4976-A3AD-52AC8D858599}" type="presParOf" srcId="{333A7195-A11B-448F-9358-C2A2BF54EB71}" destId="{7050FBDB-11F8-431F-94EF-22CE2D8593A7}" srcOrd="6" destOrd="0" presId="urn:microsoft.com/office/officeart/2005/8/layout/list1"/>
    <dgm:cxn modelId="{E1C32D2B-2F7F-41B4-B435-146401B5BD72}" type="presParOf" srcId="{333A7195-A11B-448F-9358-C2A2BF54EB71}" destId="{6D9A41FE-A3F1-497E-9A12-8723E506C9CF}" srcOrd="7" destOrd="0" presId="urn:microsoft.com/office/officeart/2005/8/layout/list1"/>
    <dgm:cxn modelId="{44ECFBE6-C208-49BA-B13E-A0EF54336C2E}" type="presParOf" srcId="{333A7195-A11B-448F-9358-C2A2BF54EB71}" destId="{8B4FDF3A-07CE-42FB-91CA-A6170B5D5D36}" srcOrd="8" destOrd="0" presId="urn:microsoft.com/office/officeart/2005/8/layout/list1"/>
    <dgm:cxn modelId="{0A152C23-17BF-4024-8D63-EBF9F6CDDC74}" type="presParOf" srcId="{8B4FDF3A-07CE-42FB-91CA-A6170B5D5D36}" destId="{F3C73646-4353-464B-AE94-E66DA629686D}" srcOrd="0" destOrd="0" presId="urn:microsoft.com/office/officeart/2005/8/layout/list1"/>
    <dgm:cxn modelId="{4F5E8832-E104-4304-AB12-223F78B34C85}" type="presParOf" srcId="{8B4FDF3A-07CE-42FB-91CA-A6170B5D5D36}" destId="{C3D705B4-9471-448A-935F-0491FED06EDD}" srcOrd="1" destOrd="0" presId="urn:microsoft.com/office/officeart/2005/8/layout/list1"/>
    <dgm:cxn modelId="{F6607302-A1FF-4392-8957-F9C90E12408A}" type="presParOf" srcId="{333A7195-A11B-448F-9358-C2A2BF54EB71}" destId="{76752B22-4F30-41F8-BE27-DE9DED8D52EB}" srcOrd="9" destOrd="0" presId="urn:microsoft.com/office/officeart/2005/8/layout/list1"/>
    <dgm:cxn modelId="{49F150AB-9789-4728-B508-81B8A82725BF}" type="presParOf" srcId="{333A7195-A11B-448F-9358-C2A2BF54EB71}" destId="{C1BB5DD9-5C7B-4E49-8896-203ABF1EDE82}" srcOrd="10" destOrd="0" presId="urn:microsoft.com/office/officeart/2005/8/layout/list1"/>
  </dgm:cxnLst>
  <dgm:bg>
    <a:noFill/>
  </dgm:bg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10.xml><?xml version="1.0" encoding="utf-8"?>
<dgm:dataModel xmlns:dgm="http://schemas.openxmlformats.org/drawingml/2006/diagram" xmlns:a="http://schemas.openxmlformats.org/drawingml/2006/main">
  <dgm:ptLst>
    <dgm:pt modelId="{21F8BD4D-8DCA-41D5-A045-97EF875F4F01}" type="doc">
      <dgm:prSet loTypeId="urn:microsoft.com/office/officeart/2005/8/layout/hList1" loCatId="list" qsTypeId="urn:microsoft.com/office/officeart/2005/8/quickstyle/simple1" qsCatId="simple" csTypeId="urn:microsoft.com/office/officeart/2005/8/colors/accent0_3" csCatId="mainScheme" phldr="1"/>
      <dgm:spPr/>
      <dgm:t>
        <a:bodyPr/>
        <a:lstStyle/>
        <a:p>
          <a:pPr latinLnBrk="1"/>
          <a:endParaRPr lang="ko-KR" altLang="en-US"/>
        </a:p>
      </dgm:t>
    </dgm:pt>
    <dgm:pt modelId="{2FDEEB67-E73E-4D6A-B193-A2282A39460E}">
      <dgm:prSet phldrT="[텍스트]" custT="1"/>
      <dgm:spPr/>
      <dgm:t>
        <a:bodyPr/>
        <a:lstStyle/>
        <a:p>
          <a:pPr marL="0" marR="0" lvl="0" indent="0" defTabSz="914400" eaLnBrk="1" fontAlgn="auto" latinLnBrk="1" hangingPunct="1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endParaRPr lang="en-US" altLang="ko-KR" sz="1600" dirty="0">
            <a:latin typeface="나눔고딕" panose="020D0604000000000000" pitchFamily="50" charset="-127"/>
            <a:ea typeface="나눔고딕" panose="020D0604000000000000" pitchFamily="50" charset="-127"/>
          </a:endParaRPr>
        </a:p>
        <a:p>
          <a:pPr marL="0" marR="0" lvl="0" indent="0" defTabSz="914400" eaLnBrk="1" fontAlgn="auto" latinLnBrk="1" hangingPunct="1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ko-KR" altLang="en-US" sz="1600" dirty="0" err="1">
              <a:latin typeface="나눔고딕" panose="020D0604000000000000" pitchFamily="50" charset="-127"/>
              <a:ea typeface="나눔고딕" panose="020D0604000000000000" pitchFamily="50" charset="-127"/>
            </a:rPr>
            <a:t>멕코믹</a:t>
          </a:r>
          <a:r>
            <a:rPr lang="en-US" altLang="ko-KR" sz="1600" dirty="0">
              <a:latin typeface="나눔고딕" panose="020D0604000000000000" pitchFamily="50" charset="-127"/>
              <a:ea typeface="나눔고딕" panose="020D0604000000000000" pitchFamily="50" charset="-127"/>
            </a:rPr>
            <a:t>( </a:t>
          </a:r>
          <a:r>
            <a:rPr lang="ko-KR" altLang="en-US" sz="1600" dirty="0">
              <a:latin typeface="나눔고딕" panose="020D0604000000000000" pitchFamily="50" charset="-127"/>
              <a:ea typeface="나눔고딕" panose="020D0604000000000000" pitchFamily="50" charset="-127"/>
            </a:rPr>
            <a:t>미</a:t>
          </a:r>
          <a:r>
            <a:rPr lang="en-US" altLang="ko-KR" sz="1600" dirty="0">
              <a:latin typeface="나눔고딕" panose="020D0604000000000000" pitchFamily="50" charset="-127"/>
              <a:ea typeface="나눔고딕" panose="020D0604000000000000" pitchFamily="50" charset="-127"/>
            </a:rPr>
            <a:t>)</a:t>
          </a:r>
        </a:p>
        <a:p>
          <a:pPr marL="0" marR="0" lvl="0" indent="0" defTabSz="914400" eaLnBrk="1" fontAlgn="auto" latinLnBrk="1" hangingPunct="1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ko-KR" altLang="en-US" sz="1600" dirty="0">
              <a:latin typeface="나눔고딕" panose="020D0604000000000000" pitchFamily="50" charset="-127"/>
              <a:ea typeface="나눔고딕" panose="020D0604000000000000" pitchFamily="50" charset="-127"/>
            </a:rPr>
            <a:t>후추 향신료 제조유통 </a:t>
          </a:r>
          <a:endParaRPr lang="en-US" altLang="ko-KR" sz="1600" dirty="0">
            <a:latin typeface="나눔고딕" panose="020D0604000000000000" pitchFamily="50" charset="-127"/>
            <a:ea typeface="나눔고딕" panose="020D0604000000000000" pitchFamily="50" charset="-127"/>
          </a:endParaRPr>
        </a:p>
        <a:p>
          <a:pPr lvl="0" defTabSz="1155700" latinLnBrk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ko-KR" altLang="en-US" sz="1600" dirty="0"/>
        </a:p>
      </dgm:t>
    </dgm:pt>
    <dgm:pt modelId="{EB313F29-7027-4CDB-8007-63D80437F7E1}" type="parTrans" cxnId="{79756C71-99FC-4058-8E74-E92F77C9F380}">
      <dgm:prSet/>
      <dgm:spPr/>
      <dgm:t>
        <a:bodyPr/>
        <a:lstStyle/>
        <a:p>
          <a:pPr latinLnBrk="1"/>
          <a:endParaRPr lang="ko-KR" altLang="en-US" sz="1600"/>
        </a:p>
      </dgm:t>
    </dgm:pt>
    <dgm:pt modelId="{512FBF69-DAB5-4195-B20C-9F88FD4E1DE9}" type="sibTrans" cxnId="{79756C71-99FC-4058-8E74-E92F77C9F380}">
      <dgm:prSet/>
      <dgm:spPr/>
      <dgm:t>
        <a:bodyPr/>
        <a:lstStyle/>
        <a:p>
          <a:pPr latinLnBrk="1"/>
          <a:endParaRPr lang="ko-KR" altLang="en-US" sz="1600"/>
        </a:p>
      </dgm:t>
    </dgm:pt>
    <dgm:pt modelId="{B3D26BE3-18B7-4913-BE29-2DBD0E4E6E39}">
      <dgm:prSet phldrT="[텍스트]" custT="1"/>
      <dgm:spPr/>
      <dgm:t>
        <a:bodyPr/>
        <a:lstStyle/>
        <a:p>
          <a:pPr latinLnBrk="1"/>
          <a:r>
            <a:rPr lang="ko-KR" altLang="en-US" sz="1600" dirty="0">
              <a:latin typeface="나눔고딕" panose="020D0604000000000000" pitchFamily="50" charset="-127"/>
              <a:ea typeface="나눔고딕" panose="020D0604000000000000" pitchFamily="50" charset="-127"/>
            </a:rPr>
            <a:t> 향신료 </a:t>
          </a:r>
          <a:r>
            <a:rPr lang="en-US" altLang="ko-KR" sz="1600" dirty="0">
              <a:latin typeface="나눔고딕" panose="020D0604000000000000" pitchFamily="50" charset="-127"/>
              <a:ea typeface="나눔고딕" panose="020D0604000000000000" pitchFamily="50" charset="-127"/>
            </a:rPr>
            <a:t>130</a:t>
          </a:r>
          <a:r>
            <a:rPr lang="ko-KR" altLang="en-US" sz="1600" dirty="0">
              <a:latin typeface="나눔고딕" panose="020D0604000000000000" pitchFamily="50" charset="-127"/>
              <a:ea typeface="나눔고딕" panose="020D0604000000000000" pitchFamily="50" charset="-127"/>
            </a:rPr>
            <a:t>년간 축적  데이터를 분석</a:t>
          </a:r>
          <a:endParaRPr lang="ko-KR" altLang="en-US" sz="1600" dirty="0"/>
        </a:p>
      </dgm:t>
    </dgm:pt>
    <dgm:pt modelId="{18735457-69A9-483F-A499-A1182DD5FE6E}" type="parTrans" cxnId="{DA4291B1-9D6E-47C4-BA0D-88647CD37030}">
      <dgm:prSet/>
      <dgm:spPr/>
      <dgm:t>
        <a:bodyPr/>
        <a:lstStyle/>
        <a:p>
          <a:pPr latinLnBrk="1"/>
          <a:endParaRPr lang="ko-KR" altLang="en-US" sz="1600"/>
        </a:p>
      </dgm:t>
    </dgm:pt>
    <dgm:pt modelId="{933601D0-39F8-4144-9425-B04EB34FBF92}" type="sibTrans" cxnId="{DA4291B1-9D6E-47C4-BA0D-88647CD37030}">
      <dgm:prSet/>
      <dgm:spPr/>
      <dgm:t>
        <a:bodyPr/>
        <a:lstStyle/>
        <a:p>
          <a:pPr latinLnBrk="1"/>
          <a:endParaRPr lang="ko-KR" altLang="en-US" sz="1600"/>
        </a:p>
      </dgm:t>
    </dgm:pt>
    <dgm:pt modelId="{9FECB7ED-3459-40FF-8851-AADA7FF01502}">
      <dgm:prSet phldrT="[텍스트]" custT="1"/>
      <dgm:spPr>
        <a:solidFill>
          <a:srgbClr val="0070C0"/>
        </a:solidFill>
      </dgm:spPr>
      <dgm:t>
        <a:bodyPr/>
        <a:lstStyle/>
        <a:p>
          <a:pPr latinLnBrk="1"/>
          <a:r>
            <a:rPr lang="ko-KR" altLang="en-US" sz="1600" b="1" dirty="0">
              <a:latin typeface="나눔고딕" panose="020D0604000000000000" pitchFamily="50" charset="-127"/>
              <a:ea typeface="나눔고딕" panose="020D0604000000000000" pitchFamily="50" charset="-127"/>
            </a:rPr>
            <a:t>도미노  파자 </a:t>
          </a:r>
          <a:r>
            <a:rPr lang="en-US" altLang="ko-KR" sz="1600" b="1" dirty="0">
              <a:latin typeface="나눔고딕" panose="020D0604000000000000" pitchFamily="50" charset="-127"/>
              <a:ea typeface="나눔고딕" panose="020D0604000000000000" pitchFamily="50" charset="-127"/>
            </a:rPr>
            <a:t>( </a:t>
          </a:r>
          <a:r>
            <a:rPr lang="ko-KR" altLang="en-US" sz="1600" b="1" dirty="0">
              <a:latin typeface="나눔고딕" panose="020D0604000000000000" pitchFamily="50" charset="-127"/>
              <a:ea typeface="나눔고딕" panose="020D0604000000000000" pitchFamily="50" charset="-127"/>
            </a:rPr>
            <a:t>일본</a:t>
          </a:r>
          <a:r>
            <a:rPr lang="en-US" altLang="ko-KR" sz="1600" b="1" dirty="0">
              <a:latin typeface="나눔고딕" panose="020D0604000000000000" pitchFamily="50" charset="-127"/>
              <a:ea typeface="나눔고딕" panose="020D0604000000000000" pitchFamily="50" charset="-127"/>
            </a:rPr>
            <a:t>)</a:t>
          </a:r>
          <a:endParaRPr lang="ko-KR" altLang="en-US" sz="1600" b="1" dirty="0"/>
        </a:p>
      </dgm:t>
    </dgm:pt>
    <dgm:pt modelId="{1C6EE06B-0CE2-4B2E-A09D-269570833E93}" type="parTrans" cxnId="{DF8B58D0-BADA-4C51-B8C5-D1B62515FE38}">
      <dgm:prSet/>
      <dgm:spPr/>
      <dgm:t>
        <a:bodyPr/>
        <a:lstStyle/>
        <a:p>
          <a:pPr latinLnBrk="1"/>
          <a:endParaRPr lang="ko-KR" altLang="en-US" sz="1600"/>
        </a:p>
      </dgm:t>
    </dgm:pt>
    <dgm:pt modelId="{9682824E-94B5-40AA-8397-00ACD1B826C6}" type="sibTrans" cxnId="{DF8B58D0-BADA-4C51-B8C5-D1B62515FE38}">
      <dgm:prSet/>
      <dgm:spPr/>
      <dgm:t>
        <a:bodyPr/>
        <a:lstStyle/>
        <a:p>
          <a:pPr latinLnBrk="1"/>
          <a:endParaRPr lang="ko-KR" altLang="en-US" sz="1600"/>
        </a:p>
      </dgm:t>
    </dgm:pt>
    <dgm:pt modelId="{386627F6-8520-45AC-A74E-F2374C68D47F}">
      <dgm:prSet phldrT="[텍스트]" custT="1"/>
      <dgm:spPr>
        <a:solidFill>
          <a:schemeClr val="accent4">
            <a:lumMod val="40000"/>
            <a:lumOff val="60000"/>
            <a:alpha val="90000"/>
          </a:schemeClr>
        </a:solidFill>
      </dgm:spPr>
      <dgm:t>
        <a:bodyPr/>
        <a:lstStyle/>
        <a:p>
          <a:pPr latinLnBrk="1"/>
          <a:r>
            <a:rPr lang="en-US" altLang="ko-KR" sz="1600" b="1" dirty="0">
              <a:solidFill>
                <a:schemeClr val="tx1"/>
              </a:solidFill>
              <a:latin typeface="나눔고딕" panose="020D0604000000000000" pitchFamily="50" charset="-127"/>
              <a:ea typeface="나눔고딕" panose="020D0604000000000000" pitchFamily="50" charset="-127"/>
            </a:rPr>
            <a:t>60</a:t>
          </a:r>
          <a:r>
            <a:rPr lang="ko-KR" altLang="en-US" sz="1600" b="1" dirty="0">
              <a:solidFill>
                <a:schemeClr val="tx1"/>
              </a:solidFill>
              <a:latin typeface="나눔고딕" panose="020D0604000000000000" pitchFamily="50" charset="-127"/>
              <a:ea typeface="나눔고딕" panose="020D0604000000000000" pitchFamily="50" charset="-127"/>
            </a:rPr>
            <a:t>년 창업이래 주문배달</a:t>
          </a:r>
          <a:endParaRPr lang="ko-KR" altLang="en-US" sz="1600" b="1" dirty="0">
            <a:solidFill>
              <a:schemeClr val="tx1"/>
            </a:solidFill>
          </a:endParaRPr>
        </a:p>
      </dgm:t>
    </dgm:pt>
    <dgm:pt modelId="{E742EE76-3D3F-41ED-BC1B-19133CAFF4F7}" type="parTrans" cxnId="{F922F3A0-66A6-4F21-8FB8-B13D6DD78153}">
      <dgm:prSet/>
      <dgm:spPr/>
      <dgm:t>
        <a:bodyPr/>
        <a:lstStyle/>
        <a:p>
          <a:pPr latinLnBrk="1"/>
          <a:endParaRPr lang="ko-KR" altLang="en-US" sz="1600"/>
        </a:p>
      </dgm:t>
    </dgm:pt>
    <dgm:pt modelId="{1BDE4CDF-652D-4C6D-BB46-AEDD1638E9D7}" type="sibTrans" cxnId="{F922F3A0-66A6-4F21-8FB8-B13D6DD78153}">
      <dgm:prSet/>
      <dgm:spPr/>
      <dgm:t>
        <a:bodyPr/>
        <a:lstStyle/>
        <a:p>
          <a:pPr latinLnBrk="1"/>
          <a:endParaRPr lang="ko-KR" altLang="en-US" sz="1600"/>
        </a:p>
      </dgm:t>
    </dgm:pt>
    <dgm:pt modelId="{768116EC-F3A3-4699-B88D-DC9B73ADF314}">
      <dgm:prSet phldrT="[텍스트]" custT="1"/>
      <dgm:spPr>
        <a:solidFill>
          <a:srgbClr val="00B050"/>
        </a:solidFill>
      </dgm:spPr>
      <dgm:t>
        <a:bodyPr/>
        <a:lstStyle/>
        <a:p>
          <a:pPr latinLnBrk="1"/>
          <a:endParaRPr lang="en-US" altLang="ko-KR" sz="1600" dirty="0">
            <a:latin typeface="나눔고딕" panose="020D0604000000000000" pitchFamily="50" charset="-127"/>
            <a:ea typeface="나눔고딕" panose="020D0604000000000000" pitchFamily="50" charset="-127"/>
          </a:endParaRPr>
        </a:p>
        <a:p>
          <a:pPr latinLnBrk="1"/>
          <a:endParaRPr lang="en-US" altLang="ko-KR" sz="1600" dirty="0">
            <a:latin typeface="나눔고딕" panose="020D0604000000000000" pitchFamily="50" charset="-127"/>
            <a:ea typeface="나눔고딕" panose="020D0604000000000000" pitchFamily="50" charset="-127"/>
          </a:endParaRPr>
        </a:p>
        <a:p>
          <a:pPr latinLnBrk="1"/>
          <a:endParaRPr lang="en-US" altLang="ko-KR" sz="1600" dirty="0">
            <a:latin typeface="나눔고딕" panose="020D0604000000000000" pitchFamily="50" charset="-127"/>
            <a:ea typeface="나눔고딕" panose="020D0604000000000000" pitchFamily="50" charset="-127"/>
          </a:endParaRPr>
        </a:p>
        <a:p>
          <a:pPr latinLnBrk="1"/>
          <a:endParaRPr lang="en-US" altLang="ko-KR" sz="1600" dirty="0">
            <a:latin typeface="나눔고딕" panose="020D0604000000000000" pitchFamily="50" charset="-127"/>
            <a:ea typeface="나눔고딕" panose="020D0604000000000000" pitchFamily="50" charset="-127"/>
          </a:endParaRPr>
        </a:p>
        <a:p>
          <a:pPr latinLnBrk="1"/>
          <a:endParaRPr lang="en-US" altLang="ko-KR" sz="1600" dirty="0">
            <a:latin typeface="나눔고딕" panose="020D0604000000000000" pitchFamily="50" charset="-127"/>
            <a:ea typeface="나눔고딕" panose="020D0604000000000000" pitchFamily="50" charset="-127"/>
          </a:endParaRPr>
        </a:p>
        <a:p>
          <a:pPr latinLnBrk="1"/>
          <a:endParaRPr lang="en-US" altLang="ko-KR" sz="1600" dirty="0">
            <a:latin typeface="나눔고딕" panose="020D0604000000000000" pitchFamily="50" charset="-127"/>
            <a:ea typeface="나눔고딕" panose="020D0604000000000000" pitchFamily="50" charset="-127"/>
          </a:endParaRPr>
        </a:p>
        <a:p>
          <a:pPr latinLnBrk="1"/>
          <a:endParaRPr lang="en-US" altLang="ko-KR" sz="1600" dirty="0">
            <a:latin typeface="나눔고딕" panose="020D0604000000000000" pitchFamily="50" charset="-127"/>
            <a:ea typeface="나눔고딕" panose="020D0604000000000000" pitchFamily="50" charset="-127"/>
          </a:endParaRPr>
        </a:p>
        <a:p>
          <a:pPr latinLnBrk="1"/>
          <a:endParaRPr lang="en-US" altLang="ko-KR" sz="1600" dirty="0">
            <a:latin typeface="나눔고딕" panose="020D0604000000000000" pitchFamily="50" charset="-127"/>
            <a:ea typeface="나눔고딕" panose="020D0604000000000000" pitchFamily="50" charset="-127"/>
          </a:endParaRPr>
        </a:p>
        <a:p>
          <a:pPr latinLnBrk="1"/>
          <a:endParaRPr lang="en-US" altLang="ko-KR" sz="1600" dirty="0">
            <a:latin typeface="나눔고딕" panose="020D0604000000000000" pitchFamily="50" charset="-127"/>
            <a:ea typeface="나눔고딕" panose="020D0604000000000000" pitchFamily="50" charset="-127"/>
          </a:endParaRPr>
        </a:p>
        <a:p>
          <a:pPr latinLnBrk="1"/>
          <a:endParaRPr lang="en-US" altLang="ko-KR" sz="1600" dirty="0">
            <a:latin typeface="나눔고딕" panose="020D0604000000000000" pitchFamily="50" charset="-127"/>
            <a:ea typeface="나눔고딕" panose="020D0604000000000000" pitchFamily="50" charset="-127"/>
          </a:endParaRPr>
        </a:p>
        <a:p>
          <a:pPr latinLnBrk="1"/>
          <a:endParaRPr lang="en-US" altLang="ko-KR" sz="1600" dirty="0">
            <a:latin typeface="나눔고딕" panose="020D0604000000000000" pitchFamily="50" charset="-127"/>
            <a:ea typeface="나눔고딕" panose="020D0604000000000000" pitchFamily="50" charset="-127"/>
          </a:endParaRPr>
        </a:p>
        <a:p>
          <a:pPr latinLnBrk="1"/>
          <a:endParaRPr lang="en-US" altLang="ko-KR" sz="1600" dirty="0">
            <a:latin typeface="나눔고딕" panose="020D0604000000000000" pitchFamily="50" charset="-127"/>
            <a:ea typeface="나눔고딕" panose="020D0604000000000000" pitchFamily="50" charset="-127"/>
          </a:endParaRPr>
        </a:p>
        <a:p>
          <a:pPr latinLnBrk="1"/>
          <a:endParaRPr lang="en-US" altLang="ko-KR" sz="1600" dirty="0">
            <a:latin typeface="나눔고딕" panose="020D0604000000000000" pitchFamily="50" charset="-127"/>
            <a:ea typeface="나눔고딕" panose="020D0604000000000000" pitchFamily="50" charset="-127"/>
          </a:endParaRPr>
        </a:p>
        <a:p>
          <a:pPr latinLnBrk="1"/>
          <a:endParaRPr lang="en-US" altLang="ko-KR" sz="1600" dirty="0">
            <a:latin typeface="나눔고딕" panose="020D0604000000000000" pitchFamily="50" charset="-127"/>
            <a:ea typeface="나눔고딕" panose="020D0604000000000000" pitchFamily="50" charset="-127"/>
          </a:endParaRPr>
        </a:p>
        <a:p>
          <a:pPr latinLnBrk="1"/>
          <a:endParaRPr lang="en-US" altLang="ko-KR" sz="1600" dirty="0">
            <a:latin typeface="나눔고딕" panose="020D0604000000000000" pitchFamily="50" charset="-127"/>
            <a:ea typeface="나눔고딕" panose="020D0604000000000000" pitchFamily="50" charset="-127"/>
          </a:endParaRPr>
        </a:p>
        <a:p>
          <a:pPr latinLnBrk="1"/>
          <a:endParaRPr lang="en-US" altLang="ko-KR" sz="1600" dirty="0">
            <a:latin typeface="나눔고딕" panose="020D0604000000000000" pitchFamily="50" charset="-127"/>
            <a:ea typeface="나눔고딕" panose="020D0604000000000000" pitchFamily="50" charset="-127"/>
          </a:endParaRPr>
        </a:p>
        <a:p>
          <a:pPr latinLnBrk="1"/>
          <a:endParaRPr lang="en-US" altLang="ko-KR" sz="1600" dirty="0">
            <a:latin typeface="나눔고딕" panose="020D0604000000000000" pitchFamily="50" charset="-127"/>
            <a:ea typeface="나눔고딕" panose="020D0604000000000000" pitchFamily="50" charset="-127"/>
          </a:endParaRPr>
        </a:p>
        <a:p>
          <a:pPr latinLnBrk="1"/>
          <a:endParaRPr lang="en-US" altLang="ko-KR" sz="1600" dirty="0">
            <a:latin typeface="나눔고딕" panose="020D0604000000000000" pitchFamily="50" charset="-127"/>
            <a:ea typeface="나눔고딕" panose="020D0604000000000000" pitchFamily="50" charset="-127"/>
          </a:endParaRPr>
        </a:p>
        <a:p>
          <a:pPr latinLnBrk="1"/>
          <a:endParaRPr lang="en-US" altLang="ko-KR" sz="1600" dirty="0">
            <a:latin typeface="나눔고딕" panose="020D0604000000000000" pitchFamily="50" charset="-127"/>
            <a:ea typeface="나눔고딕" panose="020D0604000000000000" pitchFamily="50" charset="-127"/>
          </a:endParaRPr>
        </a:p>
        <a:p>
          <a:pPr latinLnBrk="1"/>
          <a:endParaRPr lang="en-US" altLang="ko-KR" sz="1600" dirty="0">
            <a:latin typeface="나눔고딕" panose="020D0604000000000000" pitchFamily="50" charset="-127"/>
            <a:ea typeface="나눔고딕" panose="020D0604000000000000" pitchFamily="50" charset="-127"/>
          </a:endParaRPr>
        </a:p>
        <a:p>
          <a:pPr latinLnBrk="1"/>
          <a:endParaRPr lang="en-US" altLang="ko-KR" sz="1600" dirty="0">
            <a:latin typeface="나눔고딕" panose="020D0604000000000000" pitchFamily="50" charset="-127"/>
            <a:ea typeface="나눔고딕" panose="020D0604000000000000" pitchFamily="50" charset="-127"/>
          </a:endParaRPr>
        </a:p>
        <a:p>
          <a:pPr latinLnBrk="1"/>
          <a:endParaRPr lang="en-US" altLang="ko-KR" sz="1600" dirty="0">
            <a:latin typeface="나눔고딕" panose="020D0604000000000000" pitchFamily="50" charset="-127"/>
            <a:ea typeface="나눔고딕" panose="020D0604000000000000" pitchFamily="50" charset="-127"/>
          </a:endParaRPr>
        </a:p>
        <a:p>
          <a:pPr latinLnBrk="1"/>
          <a:endParaRPr lang="en-US" altLang="ko-KR" sz="1600" dirty="0">
            <a:latin typeface="나눔고딕" panose="020D0604000000000000" pitchFamily="50" charset="-127"/>
            <a:ea typeface="나눔고딕" panose="020D0604000000000000" pitchFamily="50" charset="-127"/>
          </a:endParaRPr>
        </a:p>
        <a:p>
          <a:pPr latinLnBrk="1"/>
          <a:endParaRPr lang="en-US" altLang="ko-KR" sz="1600" dirty="0">
            <a:latin typeface="나눔고딕" panose="020D0604000000000000" pitchFamily="50" charset="-127"/>
            <a:ea typeface="나눔고딕" panose="020D0604000000000000" pitchFamily="50" charset="-127"/>
          </a:endParaRPr>
        </a:p>
        <a:p>
          <a:pPr latinLnBrk="1"/>
          <a:r>
            <a:rPr lang="ko-KR" altLang="en-US" sz="1600" dirty="0" err="1">
              <a:latin typeface="나눔고딕" panose="020D0604000000000000" pitchFamily="50" charset="-127"/>
              <a:ea typeface="나눔고딕" panose="020D0604000000000000" pitchFamily="50" charset="-127"/>
            </a:rPr>
            <a:t>넷플렉스</a:t>
          </a:r>
          <a:r>
            <a:rPr lang="en-US" altLang="ko-KR" sz="1600" dirty="0">
              <a:latin typeface="나눔고딕" panose="020D0604000000000000" pitchFamily="50" charset="-127"/>
              <a:ea typeface="나눔고딕" panose="020D0604000000000000" pitchFamily="50" charset="-127"/>
            </a:rPr>
            <a:t>(</a:t>
          </a:r>
          <a:r>
            <a:rPr lang="en-US" altLang="ko-KR" sz="1600" dirty="0" err="1">
              <a:latin typeface="나눔고딕" panose="020D0604000000000000" pitchFamily="50" charset="-127"/>
              <a:ea typeface="나눔고딕" panose="020D0604000000000000" pitchFamily="50" charset="-127"/>
            </a:rPr>
            <a:t>Neflex</a:t>
          </a:r>
          <a:r>
            <a:rPr lang="en-US" altLang="ko-KR" sz="1600" dirty="0">
              <a:latin typeface="나눔고딕" panose="020D0604000000000000" pitchFamily="50" charset="-127"/>
              <a:ea typeface="나눔고딕" panose="020D0604000000000000" pitchFamily="50" charset="-127"/>
            </a:rPr>
            <a:t>)</a:t>
          </a:r>
        </a:p>
        <a:p>
          <a:pPr latinLnBrk="1"/>
          <a:endParaRPr lang="en-US" altLang="ko-KR" sz="1600" dirty="0">
            <a:latin typeface="나눔고딕" panose="020D0604000000000000" pitchFamily="50" charset="-127"/>
            <a:ea typeface="나눔고딕" panose="020D0604000000000000" pitchFamily="50" charset="-127"/>
          </a:endParaRPr>
        </a:p>
        <a:p>
          <a:pPr latinLnBrk="1"/>
          <a:endParaRPr lang="en-US" altLang="ko-KR" sz="1600" dirty="0">
            <a:latin typeface="나눔고딕" panose="020D0604000000000000" pitchFamily="50" charset="-127"/>
            <a:ea typeface="나눔고딕" panose="020D0604000000000000" pitchFamily="50" charset="-127"/>
          </a:endParaRPr>
        </a:p>
        <a:p>
          <a:pPr latinLnBrk="1"/>
          <a:endParaRPr lang="en-US" altLang="ko-KR" sz="1600" dirty="0">
            <a:latin typeface="나눔고딕" panose="020D0604000000000000" pitchFamily="50" charset="-127"/>
            <a:ea typeface="나눔고딕" panose="020D0604000000000000" pitchFamily="50" charset="-127"/>
          </a:endParaRPr>
        </a:p>
        <a:p>
          <a:pPr latinLnBrk="1"/>
          <a:endParaRPr lang="en-US" altLang="ko-KR" sz="1600" dirty="0">
            <a:latin typeface="나눔고딕" panose="020D0604000000000000" pitchFamily="50" charset="-127"/>
            <a:ea typeface="나눔고딕" panose="020D0604000000000000" pitchFamily="50" charset="-127"/>
          </a:endParaRPr>
        </a:p>
        <a:p>
          <a:pPr latinLnBrk="1"/>
          <a:endParaRPr lang="en-US" altLang="ko-KR" sz="1600" dirty="0">
            <a:latin typeface="나눔고딕" panose="020D0604000000000000" pitchFamily="50" charset="-127"/>
            <a:ea typeface="나눔고딕" panose="020D0604000000000000" pitchFamily="50" charset="-127"/>
          </a:endParaRPr>
        </a:p>
        <a:p>
          <a:pPr latinLnBrk="1"/>
          <a:endParaRPr lang="en-US" altLang="ko-KR" sz="1600" dirty="0">
            <a:latin typeface="나눔고딕" panose="020D0604000000000000" pitchFamily="50" charset="-127"/>
            <a:ea typeface="나눔고딕" panose="020D0604000000000000" pitchFamily="50" charset="-127"/>
          </a:endParaRPr>
        </a:p>
        <a:p>
          <a:pPr latinLnBrk="1"/>
          <a:endParaRPr lang="en-US" altLang="ko-KR" sz="1600" dirty="0">
            <a:latin typeface="나눔고딕" panose="020D0604000000000000" pitchFamily="50" charset="-127"/>
            <a:ea typeface="나눔고딕" panose="020D0604000000000000" pitchFamily="50" charset="-127"/>
          </a:endParaRPr>
        </a:p>
        <a:p>
          <a:pPr latinLnBrk="1"/>
          <a:endParaRPr lang="en-US" altLang="ko-KR" sz="1600" dirty="0">
            <a:latin typeface="나눔고딕" panose="020D0604000000000000" pitchFamily="50" charset="-127"/>
            <a:ea typeface="나눔고딕" panose="020D0604000000000000" pitchFamily="50" charset="-127"/>
          </a:endParaRPr>
        </a:p>
        <a:p>
          <a:pPr latinLnBrk="1"/>
          <a:endParaRPr lang="en-US" altLang="ko-KR" sz="1600" dirty="0">
            <a:latin typeface="나눔고딕" panose="020D0604000000000000" pitchFamily="50" charset="-127"/>
            <a:ea typeface="나눔고딕" panose="020D0604000000000000" pitchFamily="50" charset="-127"/>
          </a:endParaRPr>
        </a:p>
        <a:p>
          <a:pPr latinLnBrk="1"/>
          <a:endParaRPr lang="en-US" altLang="ko-KR" sz="1600" dirty="0">
            <a:latin typeface="나눔고딕" panose="020D0604000000000000" pitchFamily="50" charset="-127"/>
            <a:ea typeface="나눔고딕" panose="020D0604000000000000" pitchFamily="50" charset="-127"/>
          </a:endParaRPr>
        </a:p>
        <a:p>
          <a:pPr latinLnBrk="1"/>
          <a:endParaRPr lang="en-US" altLang="ko-KR" sz="1600" dirty="0">
            <a:latin typeface="나눔고딕" panose="020D0604000000000000" pitchFamily="50" charset="-127"/>
            <a:ea typeface="나눔고딕" panose="020D0604000000000000" pitchFamily="50" charset="-127"/>
          </a:endParaRPr>
        </a:p>
        <a:p>
          <a:pPr latinLnBrk="1"/>
          <a:endParaRPr lang="en-US" altLang="ko-KR" sz="1600" dirty="0">
            <a:latin typeface="나눔고딕" panose="020D0604000000000000" pitchFamily="50" charset="-127"/>
            <a:ea typeface="나눔고딕" panose="020D0604000000000000" pitchFamily="50" charset="-127"/>
          </a:endParaRPr>
        </a:p>
        <a:p>
          <a:pPr latinLnBrk="1"/>
          <a:endParaRPr lang="en-US" altLang="ko-KR" sz="1600" dirty="0">
            <a:latin typeface="나눔고딕" panose="020D0604000000000000" pitchFamily="50" charset="-127"/>
            <a:ea typeface="나눔고딕" panose="020D0604000000000000" pitchFamily="50" charset="-127"/>
          </a:endParaRPr>
        </a:p>
        <a:p>
          <a:pPr latinLnBrk="1"/>
          <a:endParaRPr lang="en-US" altLang="ko-KR" sz="1600" dirty="0">
            <a:latin typeface="나눔고딕" panose="020D0604000000000000" pitchFamily="50" charset="-127"/>
            <a:ea typeface="나눔고딕" panose="020D0604000000000000" pitchFamily="50" charset="-127"/>
          </a:endParaRPr>
        </a:p>
        <a:p>
          <a:pPr latinLnBrk="1"/>
          <a:endParaRPr lang="en-US" altLang="ko-KR" sz="1600" dirty="0">
            <a:latin typeface="나눔고딕" panose="020D0604000000000000" pitchFamily="50" charset="-127"/>
            <a:ea typeface="나눔고딕" panose="020D0604000000000000" pitchFamily="50" charset="-127"/>
          </a:endParaRPr>
        </a:p>
        <a:p>
          <a:pPr latinLnBrk="1"/>
          <a:endParaRPr lang="en-US" altLang="ko-KR" sz="1600" dirty="0">
            <a:latin typeface="나눔고딕" panose="020D0604000000000000" pitchFamily="50" charset="-127"/>
            <a:ea typeface="나눔고딕" panose="020D0604000000000000" pitchFamily="50" charset="-127"/>
          </a:endParaRPr>
        </a:p>
        <a:p>
          <a:pPr latinLnBrk="1"/>
          <a:endParaRPr lang="en-US" altLang="ko-KR" sz="1600" dirty="0">
            <a:latin typeface="나눔고딕" panose="020D0604000000000000" pitchFamily="50" charset="-127"/>
            <a:ea typeface="나눔고딕" panose="020D0604000000000000" pitchFamily="50" charset="-127"/>
          </a:endParaRPr>
        </a:p>
        <a:p>
          <a:pPr latinLnBrk="1"/>
          <a:endParaRPr lang="en-US" altLang="ko-KR" sz="1600" dirty="0">
            <a:latin typeface="나눔고딕" panose="020D0604000000000000" pitchFamily="50" charset="-127"/>
            <a:ea typeface="나눔고딕" panose="020D0604000000000000" pitchFamily="50" charset="-127"/>
          </a:endParaRPr>
        </a:p>
        <a:p>
          <a:pPr latinLnBrk="1"/>
          <a:endParaRPr lang="en-US" altLang="ko-KR" sz="1600" dirty="0">
            <a:latin typeface="나눔고딕" panose="020D0604000000000000" pitchFamily="50" charset="-127"/>
            <a:ea typeface="나눔고딕" panose="020D0604000000000000" pitchFamily="50" charset="-127"/>
          </a:endParaRPr>
        </a:p>
        <a:p>
          <a:pPr latinLnBrk="1"/>
          <a:endParaRPr lang="en-US" altLang="ko-KR" sz="1600" dirty="0">
            <a:latin typeface="나눔고딕" panose="020D0604000000000000" pitchFamily="50" charset="-127"/>
            <a:ea typeface="나눔고딕" panose="020D0604000000000000" pitchFamily="50" charset="-127"/>
          </a:endParaRPr>
        </a:p>
        <a:p>
          <a:pPr latinLnBrk="1"/>
          <a:endParaRPr lang="en-US" altLang="ko-KR" sz="1600" dirty="0">
            <a:latin typeface="나눔고딕" panose="020D0604000000000000" pitchFamily="50" charset="-127"/>
            <a:ea typeface="나눔고딕" panose="020D0604000000000000" pitchFamily="50" charset="-127"/>
          </a:endParaRPr>
        </a:p>
        <a:p>
          <a:pPr latinLnBrk="1"/>
          <a:r>
            <a:rPr lang="ko-KR" altLang="en-US" sz="1600" dirty="0">
              <a:latin typeface="나눔고딕" panose="020D0604000000000000" pitchFamily="50" charset="-127"/>
              <a:ea typeface="나눔고딕" panose="020D0604000000000000" pitchFamily="50" charset="-127"/>
            </a:rPr>
            <a:t>이용자의 영화 대여 목록에 기초해서 새로운 영화를 추천해주는 </a:t>
          </a:r>
          <a:r>
            <a:rPr lang="ko-KR" altLang="en-US" sz="1600" dirty="0" err="1">
              <a:latin typeface="나눔고딕" panose="020D0604000000000000" pitchFamily="50" charset="-127"/>
              <a:ea typeface="나눔고딕" panose="020D0604000000000000" pitchFamily="50" charset="-127"/>
            </a:rPr>
            <a:t>시네매치</a:t>
          </a:r>
          <a:r>
            <a:rPr lang="en-US" altLang="ko-KR" sz="1600" dirty="0">
              <a:latin typeface="나눔고딕" panose="020D0604000000000000" pitchFamily="50" charset="-127"/>
              <a:ea typeface="나눔고딕" panose="020D0604000000000000" pitchFamily="50" charset="-127"/>
            </a:rPr>
            <a:t>(</a:t>
          </a:r>
          <a:r>
            <a:rPr lang="ko-KR" altLang="en-US" sz="1600" dirty="0" err="1">
              <a:latin typeface="나눔고딕" panose="020D0604000000000000" pitchFamily="50" charset="-127"/>
              <a:ea typeface="나눔고딕" panose="020D0604000000000000" pitchFamily="50" charset="-127"/>
            </a:rPr>
            <a:t>시스템을개발</a:t>
          </a:r>
          <a:endParaRPr lang="ko-KR" altLang="en-US" sz="1600" dirty="0"/>
        </a:p>
      </dgm:t>
    </dgm:pt>
    <dgm:pt modelId="{59FA0739-2ADD-494A-A3EC-F9E111760DF9}" type="parTrans" cxnId="{5C110445-E75E-499B-92A4-4EBA66436311}">
      <dgm:prSet/>
      <dgm:spPr/>
      <dgm:t>
        <a:bodyPr/>
        <a:lstStyle/>
        <a:p>
          <a:pPr latinLnBrk="1"/>
          <a:endParaRPr lang="ko-KR" altLang="en-US" sz="1600"/>
        </a:p>
      </dgm:t>
    </dgm:pt>
    <dgm:pt modelId="{31E16676-BB38-46C9-9874-746C7C37225D}" type="sibTrans" cxnId="{5C110445-E75E-499B-92A4-4EBA66436311}">
      <dgm:prSet/>
      <dgm:spPr/>
      <dgm:t>
        <a:bodyPr/>
        <a:lstStyle/>
        <a:p>
          <a:pPr latinLnBrk="1"/>
          <a:endParaRPr lang="ko-KR" altLang="en-US" sz="1600"/>
        </a:p>
      </dgm:t>
    </dgm:pt>
    <dgm:pt modelId="{411E084B-E596-490A-AEAB-2BC630D2DFF3}">
      <dgm:prSet custT="1"/>
      <dgm:spPr/>
      <dgm:t>
        <a:bodyPr/>
        <a:lstStyle/>
        <a:p>
          <a:pPr marL="0" marR="0" lvl="0" indent="0" defTabSz="914400" eaLnBrk="1" fontAlgn="auto" latinLnBrk="1" hangingPunct="1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endParaRPr lang="en-US" altLang="ko-KR" sz="1600" dirty="0">
            <a:latin typeface="나눔고딕" panose="020D0604000000000000" pitchFamily="50" charset="-127"/>
            <a:ea typeface="나눔고딕" panose="020D0604000000000000" pitchFamily="50" charset="-127"/>
          </a:endParaRPr>
        </a:p>
        <a:p>
          <a:pPr marL="0" marR="0" lvl="0" indent="0" defTabSz="914400" eaLnBrk="1" fontAlgn="auto" latinLnBrk="1" hangingPunct="1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ko-KR" altLang="en-US" sz="1600" dirty="0">
              <a:latin typeface="나눔고딕" panose="020D0604000000000000" pitchFamily="50" charset="-127"/>
              <a:ea typeface="나눔고딕" panose="020D0604000000000000" pitchFamily="50" charset="-127"/>
            </a:rPr>
            <a:t>스페인 패션업체</a:t>
          </a:r>
          <a:r>
            <a:rPr lang="en-US" altLang="ko-KR" sz="1600" dirty="0">
              <a:latin typeface="나눔고딕" panose="020D0604000000000000" pitchFamily="50" charset="-127"/>
              <a:ea typeface="나눔고딕" panose="020D0604000000000000" pitchFamily="50" charset="-127"/>
            </a:rPr>
            <a:t>)</a:t>
          </a:r>
        </a:p>
        <a:p>
          <a:pPr lvl="0" defTabSz="889000" latinLnBrk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ko-KR" altLang="en-US" sz="1600" dirty="0">
              <a:latin typeface="나눔고딕" panose="020D0604000000000000" pitchFamily="50" charset="-127"/>
              <a:ea typeface="나눔고딕" panose="020D0604000000000000" pitchFamily="50" charset="-127"/>
            </a:rPr>
            <a:t>자라</a:t>
          </a:r>
          <a:r>
            <a:rPr lang="en-US" altLang="ko-KR" sz="1600" dirty="0">
              <a:latin typeface="나눔고딕" panose="020D0604000000000000" pitchFamily="50" charset="-127"/>
              <a:ea typeface="나눔고딕" panose="020D0604000000000000" pitchFamily="50" charset="-127"/>
            </a:rPr>
            <a:t>(Zara</a:t>
          </a:r>
          <a:endParaRPr lang="ko-KR" altLang="en-US" sz="1600" dirty="0"/>
        </a:p>
      </dgm:t>
    </dgm:pt>
    <dgm:pt modelId="{736E5405-5FFC-478C-B184-1137EE5B5322}" type="parTrans" cxnId="{1C7802D6-C96F-44D0-A833-780B34D29659}">
      <dgm:prSet/>
      <dgm:spPr/>
      <dgm:t>
        <a:bodyPr/>
        <a:lstStyle/>
        <a:p>
          <a:pPr latinLnBrk="1"/>
          <a:endParaRPr lang="ko-KR" altLang="en-US" sz="1600"/>
        </a:p>
      </dgm:t>
    </dgm:pt>
    <dgm:pt modelId="{D68A5E61-3585-4BA6-B8A7-7A23325131D8}" type="sibTrans" cxnId="{1C7802D6-C96F-44D0-A833-780B34D29659}">
      <dgm:prSet/>
      <dgm:spPr/>
      <dgm:t>
        <a:bodyPr/>
        <a:lstStyle/>
        <a:p>
          <a:pPr latinLnBrk="1"/>
          <a:endParaRPr lang="ko-KR" altLang="en-US" sz="1600"/>
        </a:p>
      </dgm:t>
    </dgm:pt>
    <dgm:pt modelId="{96EDD72E-C7E8-4690-95A8-6C8189ADAEBD}">
      <dgm:prSet custT="1"/>
      <dgm:spPr/>
      <dgm:t>
        <a:bodyPr/>
        <a:lstStyle/>
        <a:p>
          <a:pPr latinLnBrk="1"/>
          <a:r>
            <a:rPr lang="ko-KR" altLang="en-US" sz="1600" dirty="0">
              <a:latin typeface="나눔고딕" panose="020D0604000000000000" pitchFamily="50" charset="-127"/>
              <a:ea typeface="나눔고딕" panose="020D0604000000000000" pitchFamily="50" charset="-127"/>
            </a:rPr>
            <a:t> 현재 유행하는 패션 </a:t>
          </a:r>
          <a:r>
            <a:rPr lang="ko-KR" altLang="en-US" sz="1600" dirty="0" err="1">
              <a:latin typeface="나눔고딕" panose="020D0604000000000000" pitchFamily="50" charset="-127"/>
              <a:ea typeface="나눔고딕" panose="020D0604000000000000" pitchFamily="50" charset="-127"/>
            </a:rPr>
            <a:t>트렌드를</a:t>
          </a:r>
          <a:r>
            <a:rPr lang="ko-KR" altLang="en-US" sz="1600" dirty="0">
              <a:latin typeface="나눔고딕" panose="020D0604000000000000" pitchFamily="50" charset="-127"/>
              <a:ea typeface="나눔고딕" panose="020D0604000000000000" pitchFamily="50" charset="-127"/>
            </a:rPr>
            <a:t> 즉시에 반영해 단기간에 다품종 소량 생산하는 초스피드 전략을 채택</a:t>
          </a:r>
          <a:endParaRPr lang="ko-KR" altLang="en-US" sz="1600" dirty="0"/>
        </a:p>
      </dgm:t>
    </dgm:pt>
    <dgm:pt modelId="{9BF913F9-D483-4488-AFD3-9641019C47C1}" type="parTrans" cxnId="{579ABA7E-664C-4240-B808-85D2B75C1B1A}">
      <dgm:prSet/>
      <dgm:spPr/>
      <dgm:t>
        <a:bodyPr/>
        <a:lstStyle/>
        <a:p>
          <a:pPr latinLnBrk="1"/>
          <a:endParaRPr lang="ko-KR" altLang="en-US" sz="1600"/>
        </a:p>
      </dgm:t>
    </dgm:pt>
    <dgm:pt modelId="{5188367B-BD04-478F-91B7-5883267D8C22}" type="sibTrans" cxnId="{579ABA7E-664C-4240-B808-85D2B75C1B1A}">
      <dgm:prSet/>
      <dgm:spPr/>
      <dgm:t>
        <a:bodyPr/>
        <a:lstStyle/>
        <a:p>
          <a:pPr latinLnBrk="1"/>
          <a:endParaRPr lang="ko-KR" altLang="en-US" sz="1600"/>
        </a:p>
      </dgm:t>
    </dgm:pt>
    <dgm:pt modelId="{5CB0EE5E-B458-42EB-8A46-DEF97C0CE60A}">
      <dgm:prSet custT="1"/>
      <dgm:spPr/>
      <dgm:t>
        <a:bodyPr/>
        <a:lstStyle/>
        <a:p>
          <a:pPr latinLnBrk="1"/>
          <a:r>
            <a:rPr lang="ko-KR" altLang="en-US" sz="1600" dirty="0">
              <a:latin typeface="나눔고딕" panose="020D0604000000000000" pitchFamily="50" charset="-127"/>
              <a:ea typeface="나눔고딕" panose="020D0604000000000000" pitchFamily="50" charset="-127"/>
            </a:rPr>
            <a:t> 상품 수요를 예측하고 </a:t>
          </a:r>
          <a:r>
            <a:rPr lang="ko-KR" altLang="en-US" sz="1600" dirty="0" err="1">
              <a:latin typeface="나눔고딕" panose="020D0604000000000000" pitchFamily="50" charset="-127"/>
              <a:ea typeface="나눔고딕" panose="020D0604000000000000" pitchFamily="50" charset="-127"/>
            </a:rPr>
            <a:t>매장별</a:t>
          </a:r>
          <a:r>
            <a:rPr lang="ko-KR" altLang="en-US" sz="1600" dirty="0">
              <a:latin typeface="나눔고딕" panose="020D0604000000000000" pitchFamily="50" charset="-127"/>
              <a:ea typeface="나눔고딕" panose="020D0604000000000000" pitchFamily="50" charset="-127"/>
            </a:rPr>
            <a:t> 적정 재고를 산출</a:t>
          </a:r>
          <a:endParaRPr lang="en-US" altLang="ko-KR" sz="1600" b="0" i="0" dirty="0">
            <a:effectLst/>
            <a:latin typeface="Dotum" panose="020B0600000101010101" pitchFamily="50" charset="-127"/>
            <a:ea typeface="Dotum" panose="020B0600000101010101" pitchFamily="50" charset="-127"/>
          </a:endParaRPr>
        </a:p>
      </dgm:t>
    </dgm:pt>
    <dgm:pt modelId="{EA00FE9D-7526-4F98-B930-EBCC98ABCA0B}" type="parTrans" cxnId="{492278E2-0E0F-4363-994B-AE629F822665}">
      <dgm:prSet/>
      <dgm:spPr/>
      <dgm:t>
        <a:bodyPr/>
        <a:lstStyle/>
        <a:p>
          <a:pPr latinLnBrk="1"/>
          <a:endParaRPr lang="ko-KR" altLang="en-US" sz="1600"/>
        </a:p>
      </dgm:t>
    </dgm:pt>
    <dgm:pt modelId="{5F53B6AB-DC1B-4912-AEDD-199C9339DD9F}" type="sibTrans" cxnId="{492278E2-0E0F-4363-994B-AE629F822665}">
      <dgm:prSet/>
      <dgm:spPr/>
      <dgm:t>
        <a:bodyPr/>
        <a:lstStyle/>
        <a:p>
          <a:pPr latinLnBrk="1"/>
          <a:endParaRPr lang="ko-KR" altLang="en-US" sz="1600"/>
        </a:p>
      </dgm:t>
    </dgm:pt>
    <dgm:pt modelId="{921CF9AA-4A7F-4680-9065-61FFD8B9018A}">
      <dgm:prSet phldrT="[텍스트]" custT="1"/>
      <dgm:spPr>
        <a:solidFill>
          <a:schemeClr val="accent2">
            <a:lumMod val="20000"/>
            <a:lumOff val="80000"/>
            <a:alpha val="90000"/>
          </a:schemeClr>
        </a:solidFill>
      </dgm:spPr>
      <dgm:t>
        <a:bodyPr/>
        <a:lstStyle/>
        <a:p>
          <a:pPr latinLnBrk="1"/>
          <a:r>
            <a:rPr lang="ko-KR" altLang="en-US" sz="1600" dirty="0">
              <a:latin typeface="나눔고딕" panose="020D0604000000000000" pitchFamily="50" charset="-127"/>
              <a:ea typeface="나눔고딕" panose="020D0604000000000000" pitchFamily="50" charset="-127"/>
            </a:rPr>
            <a:t>그간의</a:t>
          </a:r>
          <a:r>
            <a:rPr lang="en-US" altLang="ko-KR" sz="1600" dirty="0">
              <a:latin typeface="나눔고딕" panose="020D0604000000000000" pitchFamily="50" charset="-127"/>
              <a:ea typeface="나눔고딕" panose="020D0604000000000000" pitchFamily="50" charset="-127"/>
            </a:rPr>
            <a:t> </a:t>
          </a:r>
          <a:r>
            <a:rPr lang="ko-KR" altLang="en-US" sz="1600" dirty="0">
              <a:latin typeface="나눔고딕" panose="020D0604000000000000" pitchFamily="50" charset="-127"/>
              <a:ea typeface="나눔고딕" panose="020D0604000000000000" pitchFamily="50" charset="-127"/>
            </a:rPr>
            <a:t>영화 대여 목록을 활용한  영화추천 </a:t>
          </a:r>
          <a:r>
            <a:rPr lang="ko-KR" altLang="en-US" sz="1600" dirty="0" err="1">
              <a:latin typeface="나눔고딕" panose="020D0604000000000000" pitchFamily="50" charset="-127"/>
              <a:ea typeface="나눔고딕" panose="020D0604000000000000" pitchFamily="50" charset="-127"/>
            </a:rPr>
            <a:t>매칭시스템</a:t>
          </a:r>
          <a:r>
            <a:rPr lang="ko-KR" altLang="en-US" sz="1600" dirty="0">
              <a:latin typeface="나눔고딕" panose="020D0604000000000000" pitchFamily="50" charset="-127"/>
              <a:ea typeface="나눔고딕" panose="020D0604000000000000" pitchFamily="50" charset="-127"/>
            </a:rPr>
            <a:t> </a:t>
          </a:r>
          <a:r>
            <a:rPr lang="en-US" altLang="ko-KR" sz="1600" dirty="0">
              <a:latin typeface="나눔고딕" panose="020D0604000000000000" pitchFamily="50" charset="-127"/>
              <a:ea typeface="나눔고딕" panose="020D0604000000000000" pitchFamily="50" charset="-127"/>
            </a:rPr>
            <a:t>( </a:t>
          </a:r>
          <a:r>
            <a:rPr lang="ko-KR" altLang="en-US" sz="1600" dirty="0">
              <a:latin typeface="나눔고딕" panose="020D0604000000000000" pitchFamily="50" charset="-127"/>
              <a:ea typeface="나눔고딕" panose="020D0604000000000000" pitchFamily="50" charset="-127"/>
            </a:rPr>
            <a:t>이용자의 선택동작정보와 </a:t>
          </a:r>
          <a:r>
            <a:rPr lang="ko-KR" altLang="en-US" sz="1600" dirty="0" err="1">
              <a:latin typeface="나눔고딕" panose="020D0604000000000000" pitchFamily="50" charset="-127"/>
              <a:ea typeface="나눔고딕" panose="020D0604000000000000" pitchFamily="50" charset="-127"/>
            </a:rPr>
            <a:t>영화컨텐츠정보</a:t>
          </a:r>
          <a:r>
            <a:rPr lang="ko-KR" altLang="en-US" sz="1600" dirty="0">
              <a:latin typeface="나눔고딕" panose="020D0604000000000000" pitchFamily="50" charset="-127"/>
              <a:ea typeface="나눔고딕" panose="020D0604000000000000" pitchFamily="50" charset="-127"/>
            </a:rPr>
            <a:t> </a:t>
          </a:r>
          <a:r>
            <a:rPr lang="ko-KR" altLang="en-US" sz="1600" dirty="0" err="1">
              <a:latin typeface="나눔고딕" panose="020D0604000000000000" pitchFamily="50" charset="-127"/>
              <a:ea typeface="나눔고딕" panose="020D0604000000000000" pitchFamily="50" charset="-127"/>
            </a:rPr>
            <a:t>매칭</a:t>
          </a:r>
          <a:r>
            <a:rPr lang="en-US" altLang="ko-KR" sz="1600" dirty="0">
              <a:latin typeface="나눔고딕" panose="020D0604000000000000" pitchFamily="50" charset="-127"/>
              <a:ea typeface="나눔고딕" panose="020D0604000000000000" pitchFamily="50" charset="-127"/>
            </a:rPr>
            <a:t>&gt; </a:t>
          </a:r>
          <a:r>
            <a:rPr lang="ko-KR" altLang="en-US" sz="1600" dirty="0">
              <a:latin typeface="나눔고딕" panose="020D0604000000000000" pitchFamily="50" charset="-127"/>
              <a:ea typeface="나눔고딕" panose="020D0604000000000000" pitchFamily="50" charset="-127"/>
            </a:rPr>
            <a:t>개인화 </a:t>
          </a:r>
          <a:r>
            <a:rPr lang="en-US" altLang="ko-KR" sz="1600" dirty="0">
              <a:latin typeface="나눔고딕" panose="020D0604000000000000" pitchFamily="50" charset="-127"/>
              <a:ea typeface="나눔고딕" panose="020D0604000000000000" pitchFamily="50" charset="-127"/>
            </a:rPr>
            <a:t>75% </a:t>
          </a:r>
          <a:r>
            <a:rPr lang="ko-KR" altLang="en-US" sz="1600" dirty="0">
              <a:latin typeface="나눔고딕" panose="020D0604000000000000" pitchFamily="50" charset="-127"/>
              <a:ea typeface="나눔고딕" panose="020D0604000000000000" pitchFamily="50" charset="-127"/>
            </a:rPr>
            <a:t>의존</a:t>
          </a:r>
          <a:r>
            <a:rPr lang="en-US" altLang="ko-KR" sz="1600" dirty="0">
              <a:latin typeface="나눔고딕" panose="020D0604000000000000" pitchFamily="50" charset="-127"/>
              <a:ea typeface="나눔고딕" panose="020D0604000000000000" pitchFamily="50" charset="-127"/>
            </a:rPr>
            <a:t>/60% </a:t>
          </a:r>
          <a:r>
            <a:rPr lang="ko-KR" altLang="en-US" sz="1600" dirty="0">
              <a:latin typeface="나눔고딕" panose="020D0604000000000000" pitchFamily="50" charset="-127"/>
              <a:ea typeface="나눔고딕" panose="020D0604000000000000" pitchFamily="50" charset="-127"/>
            </a:rPr>
            <a:t>추천에 의한 매출  </a:t>
          </a:r>
          <a:r>
            <a:rPr lang="en-US" altLang="ko-KR" sz="1600" dirty="0">
              <a:latin typeface="나눔고딕" panose="020D0604000000000000" pitchFamily="50" charset="-127"/>
              <a:ea typeface="나눔고딕" panose="020D0604000000000000" pitchFamily="50" charset="-127"/>
            </a:rPr>
            <a:t>)</a:t>
          </a:r>
          <a:endParaRPr lang="ko-KR" altLang="en-US" sz="1600" dirty="0"/>
        </a:p>
      </dgm:t>
    </dgm:pt>
    <dgm:pt modelId="{8CFAEC9A-71A7-4D0E-99E1-FF8FC12CBC6F}" type="parTrans" cxnId="{A5014F26-F62F-49E4-B3B6-1A3C83219A60}">
      <dgm:prSet/>
      <dgm:spPr/>
      <dgm:t>
        <a:bodyPr/>
        <a:lstStyle/>
        <a:p>
          <a:pPr latinLnBrk="1"/>
          <a:endParaRPr lang="ko-KR" altLang="en-US"/>
        </a:p>
      </dgm:t>
    </dgm:pt>
    <dgm:pt modelId="{2EC11A7A-DC59-4634-BA4A-2C2DE1DB270F}" type="sibTrans" cxnId="{A5014F26-F62F-49E4-B3B6-1A3C83219A60}">
      <dgm:prSet/>
      <dgm:spPr/>
      <dgm:t>
        <a:bodyPr/>
        <a:lstStyle/>
        <a:p>
          <a:pPr latinLnBrk="1"/>
          <a:endParaRPr lang="ko-KR" altLang="en-US"/>
        </a:p>
      </dgm:t>
    </dgm:pt>
    <dgm:pt modelId="{56161D22-55BA-4DAB-9587-66B9B98C61DC}">
      <dgm:prSet phldrT="[텍스트]" custT="1"/>
      <dgm:spPr>
        <a:solidFill>
          <a:schemeClr val="accent2">
            <a:lumMod val="20000"/>
            <a:lumOff val="80000"/>
            <a:alpha val="90000"/>
          </a:schemeClr>
        </a:solidFill>
      </dgm:spPr>
      <dgm:t>
        <a:bodyPr/>
        <a:lstStyle/>
        <a:p>
          <a:pPr latinLnBrk="1"/>
          <a:r>
            <a:rPr lang="ko-KR" altLang="en-US" sz="1600" dirty="0">
              <a:latin typeface="나눔고딕" panose="020D0604000000000000" pitchFamily="50" charset="-127"/>
              <a:ea typeface="나눔고딕" panose="020D0604000000000000" pitchFamily="50" charset="-127"/>
            </a:rPr>
            <a:t>경진대회 </a:t>
          </a:r>
          <a:r>
            <a:rPr lang="en-US" altLang="ko-KR" sz="1600" dirty="0">
              <a:latin typeface="나눔고딕" panose="020D0604000000000000" pitchFamily="50" charset="-127"/>
              <a:ea typeface="나눔고딕" panose="020D0604000000000000" pitchFamily="50" charset="-127"/>
            </a:rPr>
            <a:t>(</a:t>
          </a:r>
          <a:r>
            <a:rPr lang="ko-KR" altLang="en-US" sz="1600" dirty="0">
              <a:latin typeface="나눔고딕" panose="020D0604000000000000" pitchFamily="50" charset="-127"/>
              <a:ea typeface="나눔고딕" panose="020D0604000000000000" pitchFamily="50" charset="-127"/>
            </a:rPr>
            <a:t>집단지성 활용</a:t>
          </a:r>
          <a:r>
            <a:rPr lang="en-US" altLang="ko-KR" sz="1600" dirty="0">
              <a:latin typeface="나눔고딕" panose="020D0604000000000000" pitchFamily="50" charset="-127"/>
              <a:ea typeface="나눔고딕" panose="020D0604000000000000" pitchFamily="50" charset="-127"/>
            </a:rPr>
            <a:t>)</a:t>
          </a:r>
          <a:endParaRPr lang="ko-KR" altLang="en-US" sz="1600" dirty="0"/>
        </a:p>
      </dgm:t>
    </dgm:pt>
    <dgm:pt modelId="{C58AE12F-5930-416C-981B-07BD0B43D8C5}" type="parTrans" cxnId="{D62B77A5-EB79-492E-9CDF-89D947444F28}">
      <dgm:prSet/>
      <dgm:spPr/>
      <dgm:t>
        <a:bodyPr/>
        <a:lstStyle/>
        <a:p>
          <a:pPr latinLnBrk="1"/>
          <a:endParaRPr lang="ko-KR" altLang="en-US"/>
        </a:p>
      </dgm:t>
    </dgm:pt>
    <dgm:pt modelId="{6DF57636-0B1E-474F-9EDE-A5BCBD32974A}" type="sibTrans" cxnId="{D62B77A5-EB79-492E-9CDF-89D947444F28}">
      <dgm:prSet/>
      <dgm:spPr/>
      <dgm:t>
        <a:bodyPr/>
        <a:lstStyle/>
        <a:p>
          <a:pPr latinLnBrk="1"/>
          <a:endParaRPr lang="ko-KR" altLang="en-US"/>
        </a:p>
      </dgm:t>
    </dgm:pt>
    <dgm:pt modelId="{84EBDD90-D846-4F50-8835-F5BA68675ADE}">
      <dgm:prSet phldrT="[텍스트]" custT="1"/>
      <dgm:spPr>
        <a:solidFill>
          <a:schemeClr val="accent2">
            <a:lumMod val="20000"/>
            <a:lumOff val="80000"/>
            <a:alpha val="90000"/>
          </a:schemeClr>
        </a:solidFill>
      </dgm:spPr>
      <dgm:t>
        <a:bodyPr/>
        <a:lstStyle/>
        <a:p>
          <a:pPr latinLnBrk="1"/>
          <a:r>
            <a:rPr lang="ko-KR" altLang="en-US" sz="1600" dirty="0" err="1"/>
            <a:t>빅데이터</a:t>
          </a:r>
          <a:r>
            <a:rPr lang="en-US" altLang="ko-KR" sz="1600" dirty="0"/>
            <a:t>/</a:t>
          </a:r>
          <a:r>
            <a:rPr lang="ko-KR" altLang="en-US" sz="1600" dirty="0"/>
            <a:t>시청자의 선호도를 활용하여 </a:t>
          </a:r>
          <a:r>
            <a:rPr lang="ko-KR" altLang="en-US" sz="1600" dirty="0" err="1"/>
            <a:t>컨텐츠</a:t>
          </a:r>
          <a:r>
            <a:rPr lang="ko-KR" altLang="en-US" sz="1600" dirty="0"/>
            <a:t> 생산</a:t>
          </a:r>
          <a:r>
            <a:rPr lang="en-US" altLang="ko-KR" sz="1600" dirty="0"/>
            <a:t>: </a:t>
          </a:r>
          <a:r>
            <a:rPr lang="ko-KR" altLang="en-US" sz="1600" dirty="0"/>
            <a:t>감독</a:t>
          </a:r>
          <a:r>
            <a:rPr lang="en-US" altLang="ko-KR" sz="1600" dirty="0"/>
            <a:t>/</a:t>
          </a:r>
          <a:r>
            <a:rPr lang="ko-KR" altLang="en-US" sz="1600" dirty="0"/>
            <a:t> 배우</a:t>
          </a:r>
          <a:r>
            <a:rPr lang="en-US" altLang="ko-KR" sz="1600" dirty="0"/>
            <a:t>/ </a:t>
          </a:r>
          <a:r>
            <a:rPr lang="ko-KR" altLang="en-US" sz="1600" dirty="0"/>
            <a:t>기획</a:t>
          </a:r>
          <a:r>
            <a:rPr lang="en-US" altLang="ko-KR" sz="1600" dirty="0"/>
            <a:t>/</a:t>
          </a:r>
          <a:r>
            <a:rPr lang="ko-KR" altLang="en-US" sz="1600" dirty="0"/>
            <a:t> 배급 결정 </a:t>
          </a:r>
        </a:p>
      </dgm:t>
    </dgm:pt>
    <dgm:pt modelId="{71B4F395-44CC-47E3-BCA3-F451A38CE757}" type="parTrans" cxnId="{3274747F-F627-4C87-9DC0-1FB35F9A7C58}">
      <dgm:prSet/>
      <dgm:spPr/>
      <dgm:t>
        <a:bodyPr/>
        <a:lstStyle/>
        <a:p>
          <a:pPr latinLnBrk="1"/>
          <a:endParaRPr lang="ko-KR" altLang="en-US"/>
        </a:p>
      </dgm:t>
    </dgm:pt>
    <dgm:pt modelId="{13FDB457-7D76-4B03-AF7C-189DE0A032D9}" type="sibTrans" cxnId="{3274747F-F627-4C87-9DC0-1FB35F9A7C58}">
      <dgm:prSet/>
      <dgm:spPr/>
      <dgm:t>
        <a:bodyPr/>
        <a:lstStyle/>
        <a:p>
          <a:pPr latinLnBrk="1"/>
          <a:endParaRPr lang="ko-KR" altLang="en-US"/>
        </a:p>
      </dgm:t>
    </dgm:pt>
    <dgm:pt modelId="{B1CC820C-7C30-4302-8163-5B3FB9F2BCC1}">
      <dgm:prSet custT="1"/>
      <dgm:spPr/>
      <dgm:t>
        <a:bodyPr/>
        <a:lstStyle/>
        <a:p>
          <a:pPr latinLnBrk="1"/>
          <a:r>
            <a:rPr lang="en-US" altLang="ko-KR" sz="1600" dirty="0">
              <a:latin typeface="나눔고딕" panose="020D0604000000000000" pitchFamily="50" charset="-127"/>
              <a:ea typeface="나눔고딕" panose="020D0604000000000000" pitchFamily="50" charset="-127"/>
            </a:rPr>
            <a:t>SNS </a:t>
          </a:r>
          <a:r>
            <a:rPr lang="ko-KR" altLang="en-US" sz="1600" dirty="0">
              <a:latin typeface="나눔고딕" panose="020D0604000000000000" pitchFamily="50" charset="-127"/>
              <a:ea typeface="나눔고딕" panose="020D0604000000000000" pitchFamily="50" charset="-127"/>
            </a:rPr>
            <a:t>설문</a:t>
          </a:r>
          <a:r>
            <a:rPr lang="en-US" altLang="ko-KR" sz="1600" dirty="0">
              <a:latin typeface="나눔고딕" panose="020D0604000000000000" pitchFamily="50" charset="-127"/>
              <a:ea typeface="나눔고딕" panose="020D0604000000000000" pitchFamily="50" charset="-127"/>
            </a:rPr>
            <a:t>&gt; </a:t>
          </a:r>
          <a:r>
            <a:rPr lang="ko-KR" altLang="en-US" sz="1600" dirty="0">
              <a:latin typeface="나눔고딕" panose="020D0604000000000000" pitchFamily="50" charset="-127"/>
              <a:ea typeface="나눔고딕" panose="020D0604000000000000" pitchFamily="50" charset="-127"/>
            </a:rPr>
            <a:t>고객민감도 파악</a:t>
          </a:r>
          <a:r>
            <a:rPr lang="en-US" altLang="ko-KR" sz="1600" dirty="0">
              <a:latin typeface="나눔고딕" panose="020D0604000000000000" pitchFamily="50" charset="-127"/>
              <a:ea typeface="나눔고딕" panose="020D0604000000000000" pitchFamily="50" charset="-127"/>
            </a:rPr>
            <a:t>&gt; 1</a:t>
          </a:r>
          <a:r>
            <a:rPr lang="ko-KR" altLang="en-US" sz="1600" dirty="0" err="1">
              <a:latin typeface="나눔고딕" panose="020D0604000000000000" pitchFamily="50" charset="-127"/>
              <a:ea typeface="나눔고딕" panose="020D0604000000000000" pitchFamily="50" charset="-127"/>
            </a:rPr>
            <a:t>일분석</a:t>
          </a:r>
          <a:r>
            <a:rPr lang="en-US" altLang="ko-KR" sz="1600" dirty="0">
              <a:latin typeface="나눔고딕" panose="020D0604000000000000" pitchFamily="50" charset="-127"/>
              <a:ea typeface="나눔고딕" panose="020D0604000000000000" pitchFamily="50" charset="-127"/>
            </a:rPr>
            <a:t>&gt;</a:t>
          </a:r>
          <a:r>
            <a:rPr lang="ko-KR" altLang="en-US" sz="1600" dirty="0" err="1">
              <a:latin typeface="나눔고딕" panose="020D0604000000000000" pitchFamily="50" charset="-127"/>
              <a:ea typeface="나눔고딕" panose="020D0604000000000000" pitchFamily="50" charset="-127"/>
            </a:rPr>
            <a:t>시징트랜드</a:t>
          </a:r>
          <a:r>
            <a:rPr lang="ko-KR" altLang="en-US" sz="1600" dirty="0">
              <a:latin typeface="나눔고딕" panose="020D0604000000000000" pitchFamily="50" charset="-127"/>
              <a:ea typeface="나눔고딕" panose="020D0604000000000000" pitchFamily="50" charset="-127"/>
            </a:rPr>
            <a:t> 파악</a:t>
          </a:r>
          <a:r>
            <a:rPr lang="en-US" altLang="ko-KR" sz="1600" dirty="0">
              <a:latin typeface="나눔고딕" panose="020D0604000000000000" pitchFamily="50" charset="-127"/>
              <a:ea typeface="나눔고딕" panose="020D0604000000000000" pitchFamily="50" charset="-127"/>
            </a:rPr>
            <a:t>&gt;</a:t>
          </a:r>
          <a:r>
            <a:rPr lang="ko-KR" altLang="en-US" sz="1600" dirty="0">
              <a:latin typeface="나눔고딕" panose="020D0604000000000000" pitchFamily="50" charset="-127"/>
              <a:ea typeface="나눔고딕" panose="020D0604000000000000" pitchFamily="50" charset="-127"/>
            </a:rPr>
            <a:t> 디자인 개발</a:t>
          </a:r>
          <a:r>
            <a:rPr lang="en-US" altLang="ko-KR" sz="1600" b="1" dirty="0">
              <a:latin typeface="나눔고딕" panose="020D0604000000000000" pitchFamily="50" charset="-127"/>
              <a:ea typeface="나눔고딕" panose="020D0604000000000000" pitchFamily="50" charset="-127"/>
            </a:rPr>
            <a:t>&gt; </a:t>
          </a:r>
          <a:r>
            <a:rPr lang="ko-KR" altLang="en-US" sz="1600" b="1" dirty="0">
              <a:latin typeface="나눔고딕" panose="020D0604000000000000" pitchFamily="50" charset="-127"/>
              <a:ea typeface="나눔고딕" panose="020D0604000000000000" pitchFamily="50" charset="-127"/>
            </a:rPr>
            <a:t> </a:t>
          </a:r>
          <a:r>
            <a:rPr lang="en-US" altLang="ko-KR" sz="1600" b="1" dirty="0">
              <a:latin typeface="나눔고딕" panose="020D0604000000000000" pitchFamily="50" charset="-127"/>
              <a:ea typeface="나눔고딕" panose="020D0604000000000000" pitchFamily="50" charset="-127"/>
            </a:rPr>
            <a:t>2</a:t>
          </a:r>
          <a:r>
            <a:rPr lang="ko-KR" altLang="en-US" sz="1600" b="1" dirty="0" err="1">
              <a:latin typeface="나눔고딕" panose="020D0604000000000000" pitchFamily="50" charset="-127"/>
              <a:ea typeface="나눔고딕" panose="020D0604000000000000" pitchFamily="50" charset="-127"/>
            </a:rPr>
            <a:t>주내</a:t>
          </a:r>
          <a:r>
            <a:rPr lang="ko-KR" altLang="en-US" sz="1600" b="1" dirty="0">
              <a:latin typeface="나눔고딕" panose="020D0604000000000000" pitchFamily="50" charset="-127"/>
              <a:ea typeface="나눔고딕" panose="020D0604000000000000" pitchFamily="50" charset="-127"/>
            </a:rPr>
            <a:t> 제품 출시하며 상품별 가격 결정과 운송 계획까지 실시간 데이터 분석에 의존</a:t>
          </a:r>
          <a:endParaRPr lang="en-US" altLang="ko-KR" sz="1600" b="1" i="0" dirty="0">
            <a:effectLst/>
            <a:latin typeface="Dotum" panose="020B0600000101010101" pitchFamily="50" charset="-127"/>
            <a:ea typeface="Dotum" panose="020B0600000101010101" pitchFamily="50" charset="-127"/>
          </a:endParaRPr>
        </a:p>
      </dgm:t>
    </dgm:pt>
    <dgm:pt modelId="{B1A3E46E-B730-4934-A764-C138D10D0AC0}" type="parTrans" cxnId="{F22BBEFA-FF82-41FE-AF4B-7DFD33B6D4F9}">
      <dgm:prSet/>
      <dgm:spPr/>
      <dgm:t>
        <a:bodyPr/>
        <a:lstStyle/>
        <a:p>
          <a:pPr latinLnBrk="1"/>
          <a:endParaRPr lang="ko-KR" altLang="en-US"/>
        </a:p>
      </dgm:t>
    </dgm:pt>
    <dgm:pt modelId="{64743FFD-E65A-4085-BE1A-C7B075A98577}" type="sibTrans" cxnId="{F22BBEFA-FF82-41FE-AF4B-7DFD33B6D4F9}">
      <dgm:prSet/>
      <dgm:spPr/>
      <dgm:t>
        <a:bodyPr/>
        <a:lstStyle/>
        <a:p>
          <a:pPr latinLnBrk="1"/>
          <a:endParaRPr lang="ko-KR" altLang="en-US"/>
        </a:p>
      </dgm:t>
    </dgm:pt>
    <dgm:pt modelId="{D38005AE-DAEE-4DDF-9903-66F1055C6620}">
      <dgm:prSet phldrT="[텍스트]" custT="1"/>
      <dgm:spPr/>
      <dgm:t>
        <a:bodyPr/>
        <a:lstStyle/>
        <a:p>
          <a:pPr latinLnBrk="1"/>
          <a:r>
            <a:rPr lang="en-US" altLang="ko-KR" sz="1600" dirty="0"/>
            <a:t>AI </a:t>
          </a:r>
          <a:r>
            <a:rPr lang="ko-KR" altLang="en-US" sz="1600" dirty="0"/>
            <a:t>개인별</a:t>
          </a:r>
          <a:r>
            <a:rPr lang="en-US" altLang="ko-KR" sz="1600" dirty="0"/>
            <a:t> </a:t>
          </a:r>
          <a:r>
            <a:rPr lang="ko-KR" altLang="en-US" sz="1600" dirty="0"/>
            <a:t>식습관 선호도 결합 식품제조</a:t>
          </a:r>
        </a:p>
      </dgm:t>
    </dgm:pt>
    <dgm:pt modelId="{FFD2C249-B748-4824-872D-69CD28DD9735}" type="parTrans" cxnId="{20C04F92-6109-44F8-A7AE-553C2D9F1823}">
      <dgm:prSet/>
      <dgm:spPr/>
      <dgm:t>
        <a:bodyPr/>
        <a:lstStyle/>
        <a:p>
          <a:pPr latinLnBrk="1"/>
          <a:endParaRPr lang="ko-KR" altLang="en-US"/>
        </a:p>
      </dgm:t>
    </dgm:pt>
    <dgm:pt modelId="{95516286-4BDE-48B4-96AD-0E9DEB3AB2D6}" type="sibTrans" cxnId="{20C04F92-6109-44F8-A7AE-553C2D9F1823}">
      <dgm:prSet/>
      <dgm:spPr/>
      <dgm:t>
        <a:bodyPr/>
        <a:lstStyle/>
        <a:p>
          <a:pPr latinLnBrk="1"/>
          <a:endParaRPr lang="ko-KR" altLang="en-US"/>
        </a:p>
      </dgm:t>
    </dgm:pt>
    <dgm:pt modelId="{9D0D3FC9-CA27-4C9E-A85C-BDD80B21B82A}">
      <dgm:prSet phldrT="[텍스트]" custT="1"/>
      <dgm:spPr>
        <a:solidFill>
          <a:schemeClr val="accent4">
            <a:lumMod val="40000"/>
            <a:lumOff val="60000"/>
            <a:alpha val="90000"/>
          </a:schemeClr>
        </a:solidFill>
      </dgm:spPr>
      <dgm:t>
        <a:bodyPr/>
        <a:lstStyle/>
        <a:p>
          <a:pPr latinLnBrk="1"/>
          <a:r>
            <a:rPr lang="en-US" altLang="ko-KR" sz="1600" b="1" dirty="0">
              <a:solidFill>
                <a:schemeClr val="tx1"/>
              </a:solidFill>
              <a:latin typeface="나눔고딕" panose="020D0604000000000000" pitchFamily="50" charset="-127"/>
              <a:ea typeface="나눔고딕" panose="020D0604000000000000" pitchFamily="50" charset="-127"/>
            </a:rPr>
            <a:t>07</a:t>
          </a:r>
          <a:r>
            <a:rPr lang="ko-KR" altLang="en-US" sz="1600" b="1" dirty="0">
              <a:solidFill>
                <a:schemeClr val="tx1"/>
              </a:solidFill>
              <a:latin typeface="나눔고딕" panose="020D0604000000000000" pitchFamily="50" charset="-127"/>
              <a:ea typeface="나눔고딕" panose="020D0604000000000000" pitchFamily="50" charset="-127"/>
            </a:rPr>
            <a:t>년 </a:t>
          </a:r>
          <a:r>
            <a:rPr lang="ko-KR" altLang="en-US" sz="1600" b="1" dirty="0" smtClean="0">
              <a:solidFill>
                <a:schemeClr val="tx1"/>
              </a:solidFill>
              <a:latin typeface="나눔고딕" panose="020D0604000000000000" pitchFamily="50" charset="-127"/>
              <a:ea typeface="나눔고딕" panose="020D0604000000000000" pitchFamily="50" charset="-127"/>
            </a:rPr>
            <a:t>온라인 </a:t>
          </a:r>
          <a:r>
            <a:rPr lang="ko-KR" altLang="en-US" sz="1600" b="1" dirty="0" err="1" smtClean="0">
              <a:solidFill>
                <a:schemeClr val="tx1"/>
              </a:solidFill>
              <a:latin typeface="나눔고딕" panose="020D0604000000000000" pitchFamily="50" charset="-127"/>
              <a:ea typeface="나눔고딕" panose="020D0604000000000000" pitchFamily="50" charset="-127"/>
            </a:rPr>
            <a:t>주문배달</a:t>
          </a:r>
          <a:r>
            <a:rPr lang="ko-KR" altLang="en-US" sz="1600" b="1" dirty="0" smtClean="0">
              <a:solidFill>
                <a:schemeClr val="tx1"/>
              </a:solidFill>
              <a:latin typeface="나눔고딕" panose="020D0604000000000000" pitchFamily="50" charset="-127"/>
              <a:ea typeface="나눔고딕" panose="020D0604000000000000" pitchFamily="50" charset="-127"/>
            </a:rPr>
            <a:t> 시작</a:t>
          </a:r>
          <a:r>
            <a:rPr lang="en-US" altLang="ko-KR" sz="1600" b="1" dirty="0" smtClean="0">
              <a:solidFill>
                <a:schemeClr val="tx1"/>
              </a:solidFill>
              <a:latin typeface="나눔고딕" panose="020D0604000000000000" pitchFamily="50" charset="-127"/>
              <a:ea typeface="나눔고딕" panose="020D0604000000000000" pitchFamily="50" charset="-127"/>
            </a:rPr>
            <a:t>, </a:t>
          </a:r>
          <a:r>
            <a:rPr lang="ko-KR" altLang="en-US" sz="1600" b="1" dirty="0" err="1" smtClean="0">
              <a:solidFill>
                <a:schemeClr val="tx1"/>
              </a:solidFill>
              <a:latin typeface="나눔고딕" panose="020D0604000000000000" pitchFamily="50" charset="-127"/>
              <a:ea typeface="나눔고딕" panose="020D0604000000000000" pitchFamily="50" charset="-127"/>
            </a:rPr>
            <a:t>매장별</a:t>
          </a:r>
          <a:r>
            <a:rPr lang="ko-KR" altLang="en-US" sz="1600" b="1" dirty="0" smtClean="0">
              <a:solidFill>
                <a:schemeClr val="tx1"/>
              </a:solidFill>
              <a:latin typeface="나눔고딕" panose="020D0604000000000000" pitchFamily="50" charset="-127"/>
              <a:ea typeface="나눔고딕" panose="020D0604000000000000" pitchFamily="50" charset="-127"/>
            </a:rPr>
            <a:t> 작업자와 주문수 </a:t>
          </a:r>
          <a:r>
            <a:rPr lang="ko-KR" altLang="en-US" sz="1600" b="1" dirty="0" err="1" smtClean="0">
              <a:solidFill>
                <a:schemeClr val="tx1"/>
              </a:solidFill>
              <a:latin typeface="나눔고딕" panose="020D0604000000000000" pitchFamily="50" charset="-127"/>
              <a:ea typeface="나눔고딕" panose="020D0604000000000000" pitchFamily="50" charset="-127"/>
            </a:rPr>
            <a:t>교통상황등</a:t>
          </a:r>
          <a:r>
            <a:rPr lang="ko-KR" altLang="en-US" sz="1600" b="1" dirty="0" smtClean="0">
              <a:solidFill>
                <a:schemeClr val="tx1"/>
              </a:solidFill>
              <a:latin typeface="나눔고딕" panose="020D0604000000000000" pitchFamily="50" charset="-127"/>
              <a:ea typeface="나눔고딕" panose="020D0604000000000000" pitchFamily="50" charset="-127"/>
            </a:rPr>
            <a:t> 활용 배달예측시간 </a:t>
          </a:r>
          <a:r>
            <a:rPr lang="en-US" altLang="ko-KR" sz="1600" b="1" dirty="0" smtClean="0">
              <a:solidFill>
                <a:schemeClr val="tx1"/>
              </a:solidFill>
              <a:latin typeface="나눔고딕" panose="020D0604000000000000" pitchFamily="50" charset="-127"/>
              <a:ea typeface="나눔고딕" panose="020D0604000000000000" pitchFamily="50" charset="-127"/>
            </a:rPr>
            <a:t>AI </a:t>
          </a:r>
          <a:r>
            <a:rPr lang="ko-KR" altLang="en-US" sz="1600" b="1" dirty="0" smtClean="0">
              <a:solidFill>
                <a:schemeClr val="tx1"/>
              </a:solidFill>
              <a:latin typeface="나눔고딕" panose="020D0604000000000000" pitchFamily="50" charset="-127"/>
              <a:ea typeface="나눔고딕" panose="020D0604000000000000" pitchFamily="50" charset="-127"/>
            </a:rPr>
            <a:t>모델</a:t>
          </a:r>
          <a:r>
            <a:rPr lang="en-US" altLang="ko-KR" sz="1600" b="1" dirty="0" smtClean="0">
              <a:solidFill>
                <a:schemeClr val="tx1"/>
              </a:solidFill>
              <a:latin typeface="나눔고딕" panose="020D0604000000000000" pitchFamily="50" charset="-127"/>
              <a:ea typeface="나눔고딕" panose="020D0604000000000000" pitchFamily="50" charset="-127"/>
            </a:rPr>
            <a:t> </a:t>
          </a:r>
          <a:r>
            <a:rPr lang="ko-KR" altLang="en-US" sz="1600" b="1" dirty="0" smtClean="0">
              <a:solidFill>
                <a:schemeClr val="tx1"/>
              </a:solidFill>
              <a:latin typeface="나눔고딕" panose="020D0604000000000000" pitchFamily="50" charset="-127"/>
              <a:ea typeface="나눔고딕" panose="020D0604000000000000" pitchFamily="50" charset="-127"/>
            </a:rPr>
            <a:t>구출</a:t>
          </a:r>
          <a:endParaRPr lang="ko-KR" altLang="en-US" sz="1600" b="1" dirty="0">
            <a:solidFill>
              <a:schemeClr val="tx1"/>
            </a:solidFill>
          </a:endParaRPr>
        </a:p>
      </dgm:t>
    </dgm:pt>
    <dgm:pt modelId="{2643B947-ED07-43FF-BE58-9E231EA4F44D}" type="parTrans" cxnId="{1631A176-7945-41F4-A855-2AFE23D48E04}">
      <dgm:prSet/>
      <dgm:spPr/>
      <dgm:t>
        <a:bodyPr/>
        <a:lstStyle/>
        <a:p>
          <a:pPr latinLnBrk="1"/>
          <a:endParaRPr lang="ko-KR" altLang="en-US"/>
        </a:p>
      </dgm:t>
    </dgm:pt>
    <dgm:pt modelId="{EAB8CE29-A7B8-4888-914F-0ED84E33FA82}" type="sibTrans" cxnId="{1631A176-7945-41F4-A855-2AFE23D48E04}">
      <dgm:prSet/>
      <dgm:spPr/>
      <dgm:t>
        <a:bodyPr/>
        <a:lstStyle/>
        <a:p>
          <a:pPr latinLnBrk="1"/>
          <a:endParaRPr lang="ko-KR" altLang="en-US"/>
        </a:p>
      </dgm:t>
    </dgm:pt>
    <dgm:pt modelId="{A7828D8E-35C4-449A-B6FF-8766C2F62D56}">
      <dgm:prSet phldrT="[텍스트]" custT="1"/>
      <dgm:spPr>
        <a:solidFill>
          <a:schemeClr val="accent4">
            <a:lumMod val="40000"/>
            <a:lumOff val="60000"/>
            <a:alpha val="90000"/>
          </a:schemeClr>
        </a:solidFill>
      </dgm:spPr>
      <dgm:t>
        <a:bodyPr/>
        <a:lstStyle/>
        <a:p>
          <a:pPr latinLnBrk="1"/>
          <a:endParaRPr lang="ko-KR" altLang="en-US" sz="1600" b="1" dirty="0">
            <a:solidFill>
              <a:schemeClr val="tx1"/>
            </a:solidFill>
          </a:endParaRPr>
        </a:p>
      </dgm:t>
    </dgm:pt>
    <dgm:pt modelId="{90F6A9BC-BD8B-4823-B52C-6E0C42156CB0}" type="parTrans" cxnId="{E5005C84-9F3C-414C-8948-46D80152BDDF}">
      <dgm:prSet/>
      <dgm:spPr/>
      <dgm:t>
        <a:bodyPr/>
        <a:lstStyle/>
        <a:p>
          <a:pPr latinLnBrk="1"/>
          <a:endParaRPr lang="ko-KR" altLang="en-US"/>
        </a:p>
      </dgm:t>
    </dgm:pt>
    <dgm:pt modelId="{C8643AA1-A26D-47DD-8FB2-BF104E1C3D4A}" type="sibTrans" cxnId="{E5005C84-9F3C-414C-8948-46D80152BDDF}">
      <dgm:prSet/>
      <dgm:spPr/>
      <dgm:t>
        <a:bodyPr/>
        <a:lstStyle/>
        <a:p>
          <a:pPr latinLnBrk="1"/>
          <a:endParaRPr lang="ko-KR" altLang="en-US"/>
        </a:p>
      </dgm:t>
    </dgm:pt>
    <dgm:pt modelId="{6221C0DD-1072-47E0-8C7E-5DCA43B397D7}">
      <dgm:prSet phldrT="[텍스트]" custT="1"/>
      <dgm:spPr>
        <a:solidFill>
          <a:schemeClr val="accent4">
            <a:lumMod val="40000"/>
            <a:lumOff val="60000"/>
            <a:alpha val="90000"/>
          </a:schemeClr>
        </a:solidFill>
      </dgm:spPr>
      <dgm:t>
        <a:bodyPr/>
        <a:lstStyle/>
        <a:p>
          <a:pPr latinLnBrk="1"/>
          <a:r>
            <a:rPr lang="ko-KR" altLang="en-US" sz="1600" b="1" dirty="0">
              <a:solidFill>
                <a:schemeClr val="tx1"/>
              </a:solidFill>
              <a:latin typeface="나눔고딕" panose="020D0604000000000000" pitchFamily="50" charset="-127"/>
              <a:ea typeface="나눔고딕" panose="020D0604000000000000" pitchFamily="50" charset="-127"/>
            </a:rPr>
            <a:t>예측 정확도  기존</a:t>
          </a:r>
          <a:r>
            <a:rPr lang="en-US" altLang="ko-KR" sz="1600" b="1" dirty="0">
              <a:solidFill>
                <a:schemeClr val="tx1"/>
              </a:solidFill>
              <a:latin typeface="나눔고딕" panose="020D0604000000000000" pitchFamily="50" charset="-127"/>
              <a:ea typeface="나눔고딕" panose="020D0604000000000000" pitchFamily="50" charset="-127"/>
            </a:rPr>
            <a:t> 75% </a:t>
          </a:r>
          <a:r>
            <a:rPr lang="ko-KR" altLang="en-US" sz="1600" b="1" dirty="0">
              <a:solidFill>
                <a:schemeClr val="tx1"/>
              </a:solidFill>
              <a:latin typeface="나눔고딕" panose="020D0604000000000000" pitchFamily="50" charset="-127"/>
              <a:ea typeface="나눔고딕" panose="020D0604000000000000" pitchFamily="50" charset="-127"/>
            </a:rPr>
            <a:t>에서 </a:t>
          </a:r>
          <a:r>
            <a:rPr lang="en-US" altLang="ko-KR" sz="1600" b="1" dirty="0">
              <a:solidFill>
                <a:schemeClr val="tx1"/>
              </a:solidFill>
              <a:latin typeface="나눔고딕" panose="020D0604000000000000" pitchFamily="50" charset="-127"/>
              <a:ea typeface="나눔고딕" panose="020D0604000000000000" pitchFamily="50" charset="-127"/>
            </a:rPr>
            <a:t>95%</a:t>
          </a:r>
          <a:endParaRPr lang="ko-KR" altLang="en-US" sz="1600" b="1" dirty="0">
            <a:solidFill>
              <a:schemeClr val="tx1"/>
            </a:solidFill>
          </a:endParaRPr>
        </a:p>
      </dgm:t>
    </dgm:pt>
    <dgm:pt modelId="{109BAF98-81F3-4CBA-86FA-607F19B62B73}" type="parTrans" cxnId="{6F6A3B31-5BDD-4B4B-B548-A62FFC543E04}">
      <dgm:prSet/>
      <dgm:spPr/>
      <dgm:t>
        <a:bodyPr/>
        <a:lstStyle/>
        <a:p>
          <a:pPr latinLnBrk="1"/>
          <a:endParaRPr lang="ko-KR" altLang="en-US"/>
        </a:p>
      </dgm:t>
    </dgm:pt>
    <dgm:pt modelId="{0EE0B97E-32B9-4098-AD10-F5140AF689F3}" type="sibTrans" cxnId="{6F6A3B31-5BDD-4B4B-B548-A62FFC543E04}">
      <dgm:prSet/>
      <dgm:spPr/>
      <dgm:t>
        <a:bodyPr/>
        <a:lstStyle/>
        <a:p>
          <a:pPr latinLnBrk="1"/>
          <a:endParaRPr lang="ko-KR" altLang="en-US"/>
        </a:p>
      </dgm:t>
    </dgm:pt>
    <dgm:pt modelId="{80B534F9-80FC-4A62-8AEF-88266AC2A4D9}">
      <dgm:prSet phldrT="[텍스트]" custT="1"/>
      <dgm:spPr/>
      <dgm:t>
        <a:bodyPr/>
        <a:lstStyle/>
        <a:p>
          <a:pPr latinLnBrk="1"/>
          <a:r>
            <a:rPr lang="ko-KR" altLang="en-US" sz="1600" dirty="0"/>
            <a:t>관련 </a:t>
          </a:r>
          <a:r>
            <a:rPr lang="ko-KR" altLang="en-US" sz="1600" dirty="0" err="1"/>
            <a:t>레스피</a:t>
          </a:r>
          <a:r>
            <a:rPr lang="ko-KR" altLang="en-US" sz="1600" dirty="0"/>
            <a:t> 추천하는 </a:t>
          </a:r>
          <a:r>
            <a:rPr lang="ko-KR" altLang="en-US" sz="1600" dirty="0" err="1"/>
            <a:t>병행박식의</a:t>
          </a:r>
          <a:r>
            <a:rPr lang="ko-KR" altLang="en-US" sz="1600" dirty="0"/>
            <a:t>  온라인 유통 </a:t>
          </a:r>
          <a:r>
            <a:rPr lang="ko-KR" altLang="en-US" sz="1600" dirty="0" err="1"/>
            <a:t>플렛폼</a:t>
          </a:r>
          <a:r>
            <a:rPr lang="ko-KR" altLang="en-US" sz="1600" dirty="0"/>
            <a:t> 개발</a:t>
          </a:r>
        </a:p>
      </dgm:t>
    </dgm:pt>
    <dgm:pt modelId="{3776D8A3-95CD-4168-8838-6EB87D93D666}" type="parTrans" cxnId="{8337029B-6E49-40B9-8F9B-597C73DC46B5}">
      <dgm:prSet/>
      <dgm:spPr/>
      <dgm:t>
        <a:bodyPr/>
        <a:lstStyle/>
        <a:p>
          <a:pPr latinLnBrk="1"/>
          <a:endParaRPr lang="ko-KR" altLang="en-US"/>
        </a:p>
      </dgm:t>
    </dgm:pt>
    <dgm:pt modelId="{32800CC1-9002-4FA0-B044-ACAAF6652BFB}" type="sibTrans" cxnId="{8337029B-6E49-40B9-8F9B-597C73DC46B5}">
      <dgm:prSet/>
      <dgm:spPr/>
      <dgm:t>
        <a:bodyPr/>
        <a:lstStyle/>
        <a:p>
          <a:pPr latinLnBrk="1"/>
          <a:endParaRPr lang="ko-KR" altLang="en-US"/>
        </a:p>
      </dgm:t>
    </dgm:pt>
    <dgm:pt modelId="{E34C897F-5895-4158-96B6-C981B75B60B8}" type="pres">
      <dgm:prSet presAssocID="{21F8BD4D-8DCA-41D5-A045-97EF875F4F01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pPr latinLnBrk="1"/>
          <a:endParaRPr lang="ko-KR" altLang="en-US"/>
        </a:p>
      </dgm:t>
    </dgm:pt>
    <dgm:pt modelId="{1B331AE3-C728-4057-99FA-5420787355EB}" type="pres">
      <dgm:prSet presAssocID="{2FDEEB67-E73E-4D6A-B193-A2282A39460E}" presName="composite" presStyleCnt="0"/>
      <dgm:spPr/>
    </dgm:pt>
    <dgm:pt modelId="{2C440BF6-F9B9-47C3-9431-F5382121CD8C}" type="pres">
      <dgm:prSet presAssocID="{2FDEEB67-E73E-4D6A-B193-A2282A39460E}" presName="parTx" presStyleLbl="alignNode1" presStyleIdx="0" presStyleCnt="4" custScaleY="95431" custLinFactY="-100000" custLinFactNeighborX="3533" custLinFactNeighborY="-143311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pPr latinLnBrk="1"/>
          <a:endParaRPr lang="ko-KR" altLang="en-US"/>
        </a:p>
      </dgm:t>
    </dgm:pt>
    <dgm:pt modelId="{C16775A9-2307-4391-8B22-DF4B88932BB9}" type="pres">
      <dgm:prSet presAssocID="{2FDEEB67-E73E-4D6A-B193-A2282A39460E}" presName="desTx" presStyleLbl="alignAccFollowNode1" presStyleIdx="0" presStyleCnt="4" custScaleY="17382" custLinFactY="-22558693" custLinFactNeighborX="-367" custLinFactNeighborY="-22600000">
        <dgm:presLayoutVars>
          <dgm:bulletEnabled val="1"/>
        </dgm:presLayoutVars>
      </dgm:prSet>
      <dgm:spPr/>
      <dgm:t>
        <a:bodyPr/>
        <a:lstStyle/>
        <a:p>
          <a:pPr latinLnBrk="1"/>
          <a:endParaRPr lang="ko-KR" altLang="en-US"/>
        </a:p>
      </dgm:t>
    </dgm:pt>
    <dgm:pt modelId="{7A35EC7B-CDBA-48B5-8EAC-65435021C584}" type="pres">
      <dgm:prSet presAssocID="{512FBF69-DAB5-4195-B20C-9F88FD4E1DE9}" presName="space" presStyleCnt="0"/>
      <dgm:spPr/>
    </dgm:pt>
    <dgm:pt modelId="{175DE3F5-377A-476D-B806-61AD67E43424}" type="pres">
      <dgm:prSet presAssocID="{9FECB7ED-3459-40FF-8851-AADA7FF01502}" presName="composite" presStyleCnt="0"/>
      <dgm:spPr/>
    </dgm:pt>
    <dgm:pt modelId="{75894BC3-1A51-4F3D-9C61-7460B39D70D6}" type="pres">
      <dgm:prSet presAssocID="{9FECB7ED-3459-40FF-8851-AADA7FF01502}" presName="parTx" presStyleLbl="alignNode1" presStyleIdx="1" presStyleCnt="4" custScaleX="100268" custScaleY="104131" custLinFactY="-100000" custLinFactNeighborX="-7115" custLinFactNeighborY="-14307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pPr latinLnBrk="1"/>
          <a:endParaRPr lang="ko-KR" altLang="en-US"/>
        </a:p>
      </dgm:t>
    </dgm:pt>
    <dgm:pt modelId="{DCE06669-EF4D-4CDC-B73B-1F159BDDD852}" type="pres">
      <dgm:prSet presAssocID="{9FECB7ED-3459-40FF-8851-AADA7FF01502}" presName="desTx" presStyleLbl="alignAccFollowNode1" presStyleIdx="1" presStyleCnt="4" custLinFactY="-22800000" custLinFactNeighborX="-11132" custLinFactNeighborY="-22849422">
        <dgm:presLayoutVars>
          <dgm:bulletEnabled val="1"/>
        </dgm:presLayoutVars>
      </dgm:prSet>
      <dgm:spPr/>
      <dgm:t>
        <a:bodyPr/>
        <a:lstStyle/>
        <a:p>
          <a:pPr latinLnBrk="1"/>
          <a:endParaRPr lang="ko-KR" altLang="en-US"/>
        </a:p>
      </dgm:t>
    </dgm:pt>
    <dgm:pt modelId="{85BE8C1B-05AC-4326-B67C-0F4A3DCAFBDA}" type="pres">
      <dgm:prSet presAssocID="{9682824E-94B5-40AA-8397-00ACD1B826C6}" presName="space" presStyleCnt="0"/>
      <dgm:spPr/>
    </dgm:pt>
    <dgm:pt modelId="{A09D2238-4C8E-443E-9E23-48476DF60184}" type="pres">
      <dgm:prSet presAssocID="{768116EC-F3A3-4699-B88D-DC9B73ADF314}" presName="composite" presStyleCnt="0"/>
      <dgm:spPr/>
    </dgm:pt>
    <dgm:pt modelId="{8E43688A-DE11-4122-9CD9-35FB391BAB70}" type="pres">
      <dgm:prSet presAssocID="{768116EC-F3A3-4699-B88D-DC9B73ADF314}" presName="parTx" presStyleLbl="alignNode1" presStyleIdx="2" presStyleCnt="4" custLinFactY="-200000" custLinFactNeighborX="-13802" custLinFactNeighborY="-238292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pPr latinLnBrk="1"/>
          <a:endParaRPr lang="ko-KR" altLang="en-US"/>
        </a:p>
      </dgm:t>
    </dgm:pt>
    <dgm:pt modelId="{4DAE467B-C1CF-4470-BB25-167CC5DCC7F9}" type="pres">
      <dgm:prSet presAssocID="{768116EC-F3A3-4699-B88D-DC9B73ADF314}" presName="desTx" presStyleLbl="alignAccFollowNode1" presStyleIdx="2" presStyleCnt="4" custLinFactY="-26800000" custLinFactNeighborX="-15822" custLinFactNeighborY="-26845468">
        <dgm:presLayoutVars>
          <dgm:bulletEnabled val="1"/>
        </dgm:presLayoutVars>
      </dgm:prSet>
      <dgm:spPr/>
      <dgm:t>
        <a:bodyPr/>
        <a:lstStyle/>
        <a:p>
          <a:pPr latinLnBrk="1"/>
          <a:endParaRPr lang="ko-KR" altLang="en-US"/>
        </a:p>
      </dgm:t>
    </dgm:pt>
    <dgm:pt modelId="{11735DDA-28A5-422B-BB3B-91D5ED3504F3}" type="pres">
      <dgm:prSet presAssocID="{31E16676-BB38-46C9-9874-746C7C37225D}" presName="space" presStyleCnt="0"/>
      <dgm:spPr/>
    </dgm:pt>
    <dgm:pt modelId="{8CF244B4-9B88-491F-B5DE-0B025823381C}" type="pres">
      <dgm:prSet presAssocID="{411E084B-E596-490A-AEAB-2BC630D2DFF3}" presName="composite" presStyleCnt="0"/>
      <dgm:spPr/>
    </dgm:pt>
    <dgm:pt modelId="{0F38AF16-A779-4D4B-9C2F-3883EC961523}" type="pres">
      <dgm:prSet presAssocID="{411E084B-E596-490A-AEAB-2BC630D2DFF3}" presName="parTx" presStyleLbl="alignNode1" presStyleIdx="3" presStyleCnt="4" custLinFactY="-100000" custLinFactNeighborX="-13145" custLinFactNeighborY="-179106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pPr latinLnBrk="1"/>
          <a:endParaRPr lang="ko-KR" altLang="en-US"/>
        </a:p>
      </dgm:t>
    </dgm:pt>
    <dgm:pt modelId="{85CEF829-5435-4D35-8832-FBDA81EC0EA6}" type="pres">
      <dgm:prSet presAssocID="{411E084B-E596-490A-AEAB-2BC630D2DFF3}" presName="desTx" presStyleLbl="alignAccFollowNode1" presStyleIdx="3" presStyleCnt="4" custLinFactY="-27129832" custLinFactNeighborX="-18186" custLinFactNeighborY="-27200000">
        <dgm:presLayoutVars>
          <dgm:bulletEnabled val="1"/>
        </dgm:presLayoutVars>
      </dgm:prSet>
      <dgm:spPr/>
      <dgm:t>
        <a:bodyPr/>
        <a:lstStyle/>
        <a:p>
          <a:pPr latinLnBrk="1"/>
          <a:endParaRPr lang="ko-KR" altLang="en-US"/>
        </a:p>
      </dgm:t>
    </dgm:pt>
  </dgm:ptLst>
  <dgm:cxnLst>
    <dgm:cxn modelId="{579ABA7E-664C-4240-B808-85D2B75C1B1A}" srcId="{411E084B-E596-490A-AEAB-2BC630D2DFF3}" destId="{96EDD72E-C7E8-4690-95A8-6C8189ADAEBD}" srcOrd="0" destOrd="0" parTransId="{9BF913F9-D483-4488-AFD3-9641019C47C1}" sibTransId="{5188367B-BD04-478F-91B7-5883267D8C22}"/>
    <dgm:cxn modelId="{586FDBC7-CDD9-484A-9AC6-FE956B780701}" type="presOf" srcId="{5CB0EE5E-B458-42EB-8A46-DEF97C0CE60A}" destId="{85CEF829-5435-4D35-8832-FBDA81EC0EA6}" srcOrd="0" destOrd="1" presId="urn:microsoft.com/office/officeart/2005/8/layout/hList1"/>
    <dgm:cxn modelId="{D62B77A5-EB79-492E-9CDF-89D947444F28}" srcId="{768116EC-F3A3-4699-B88D-DC9B73ADF314}" destId="{56161D22-55BA-4DAB-9587-66B9B98C61DC}" srcOrd="1" destOrd="0" parTransId="{C58AE12F-5930-416C-981B-07BD0B43D8C5}" sibTransId="{6DF57636-0B1E-474F-9EDE-A5BCBD32974A}"/>
    <dgm:cxn modelId="{5362A78B-52AF-4EF7-BF43-79E60BB8CCE1}" type="presOf" srcId="{84EBDD90-D846-4F50-8835-F5BA68675ADE}" destId="{4DAE467B-C1CF-4470-BB25-167CC5DCC7F9}" srcOrd="0" destOrd="2" presId="urn:microsoft.com/office/officeart/2005/8/layout/hList1"/>
    <dgm:cxn modelId="{4E3AAA8C-DDB5-48B6-AD58-05B920EAB07E}" type="presOf" srcId="{D38005AE-DAEE-4DDF-9903-66F1055C6620}" destId="{C16775A9-2307-4391-8B22-DF4B88932BB9}" srcOrd="0" destOrd="1" presId="urn:microsoft.com/office/officeart/2005/8/layout/hList1"/>
    <dgm:cxn modelId="{F22BBEFA-FF82-41FE-AF4B-7DFD33B6D4F9}" srcId="{411E084B-E596-490A-AEAB-2BC630D2DFF3}" destId="{B1CC820C-7C30-4302-8163-5B3FB9F2BCC1}" srcOrd="2" destOrd="0" parTransId="{B1A3E46E-B730-4934-A764-C138D10D0AC0}" sibTransId="{64743FFD-E65A-4085-BE1A-C7B075A98577}"/>
    <dgm:cxn modelId="{4F595D24-019C-457C-86E2-1A21BB32E5A2}" type="presOf" srcId="{411E084B-E596-490A-AEAB-2BC630D2DFF3}" destId="{0F38AF16-A779-4D4B-9C2F-3883EC961523}" srcOrd="0" destOrd="0" presId="urn:microsoft.com/office/officeart/2005/8/layout/hList1"/>
    <dgm:cxn modelId="{20C04F92-6109-44F8-A7AE-553C2D9F1823}" srcId="{2FDEEB67-E73E-4D6A-B193-A2282A39460E}" destId="{D38005AE-DAEE-4DDF-9903-66F1055C6620}" srcOrd="1" destOrd="0" parTransId="{FFD2C249-B748-4824-872D-69CD28DD9735}" sibTransId="{95516286-4BDE-48B4-96AD-0E9DEB3AB2D6}"/>
    <dgm:cxn modelId="{1C7802D6-C96F-44D0-A833-780B34D29659}" srcId="{21F8BD4D-8DCA-41D5-A045-97EF875F4F01}" destId="{411E084B-E596-490A-AEAB-2BC630D2DFF3}" srcOrd="3" destOrd="0" parTransId="{736E5405-5FFC-478C-B184-1137EE5B5322}" sibTransId="{D68A5E61-3585-4BA6-B8A7-7A23325131D8}"/>
    <dgm:cxn modelId="{DA4291B1-9D6E-47C4-BA0D-88647CD37030}" srcId="{2FDEEB67-E73E-4D6A-B193-A2282A39460E}" destId="{B3D26BE3-18B7-4913-BE29-2DBD0E4E6E39}" srcOrd="0" destOrd="0" parTransId="{18735457-69A9-483F-A499-A1182DD5FE6E}" sibTransId="{933601D0-39F8-4144-9425-B04EB34FBF92}"/>
    <dgm:cxn modelId="{A5014F26-F62F-49E4-B3B6-1A3C83219A60}" srcId="{768116EC-F3A3-4699-B88D-DC9B73ADF314}" destId="{921CF9AA-4A7F-4680-9065-61FFD8B9018A}" srcOrd="0" destOrd="0" parTransId="{8CFAEC9A-71A7-4D0E-99E1-FF8FC12CBC6F}" sibTransId="{2EC11A7A-DC59-4634-BA4A-2C2DE1DB270F}"/>
    <dgm:cxn modelId="{8B05E0C6-66D4-4ED1-8824-4B460504C402}" type="presOf" srcId="{96EDD72E-C7E8-4690-95A8-6C8189ADAEBD}" destId="{85CEF829-5435-4D35-8832-FBDA81EC0EA6}" srcOrd="0" destOrd="0" presId="urn:microsoft.com/office/officeart/2005/8/layout/hList1"/>
    <dgm:cxn modelId="{1631A176-7945-41F4-A855-2AFE23D48E04}" srcId="{9FECB7ED-3459-40FF-8851-AADA7FF01502}" destId="{9D0D3FC9-CA27-4C9E-A85C-BDD80B21B82A}" srcOrd="2" destOrd="0" parTransId="{2643B947-ED07-43FF-BE58-9E231EA4F44D}" sibTransId="{EAB8CE29-A7B8-4888-914F-0ED84E33FA82}"/>
    <dgm:cxn modelId="{DF8B58D0-BADA-4C51-B8C5-D1B62515FE38}" srcId="{21F8BD4D-8DCA-41D5-A045-97EF875F4F01}" destId="{9FECB7ED-3459-40FF-8851-AADA7FF01502}" srcOrd="1" destOrd="0" parTransId="{1C6EE06B-0CE2-4B2E-A09D-269570833E93}" sibTransId="{9682824E-94B5-40AA-8397-00ACD1B826C6}"/>
    <dgm:cxn modelId="{5C110445-E75E-499B-92A4-4EBA66436311}" srcId="{21F8BD4D-8DCA-41D5-A045-97EF875F4F01}" destId="{768116EC-F3A3-4699-B88D-DC9B73ADF314}" srcOrd="2" destOrd="0" parTransId="{59FA0739-2ADD-494A-A3EC-F9E111760DF9}" sibTransId="{31E16676-BB38-46C9-9874-746C7C37225D}"/>
    <dgm:cxn modelId="{F922F3A0-66A6-4F21-8FB8-B13D6DD78153}" srcId="{9FECB7ED-3459-40FF-8851-AADA7FF01502}" destId="{386627F6-8520-45AC-A74E-F2374C68D47F}" srcOrd="0" destOrd="0" parTransId="{E742EE76-3D3F-41ED-BC1B-19133CAFF4F7}" sibTransId="{1BDE4CDF-652D-4C6D-BB46-AEDD1638E9D7}"/>
    <dgm:cxn modelId="{B2BD9FBB-4882-4920-980E-5F9F53D7D70B}" type="presOf" srcId="{768116EC-F3A3-4699-B88D-DC9B73ADF314}" destId="{8E43688A-DE11-4122-9CD9-35FB391BAB70}" srcOrd="0" destOrd="0" presId="urn:microsoft.com/office/officeart/2005/8/layout/hList1"/>
    <dgm:cxn modelId="{BFD15BF0-244A-4240-9E63-750924D714FD}" type="presOf" srcId="{9D0D3FC9-CA27-4C9E-A85C-BDD80B21B82A}" destId="{DCE06669-EF4D-4CDC-B73B-1F159BDDD852}" srcOrd="0" destOrd="2" presId="urn:microsoft.com/office/officeart/2005/8/layout/hList1"/>
    <dgm:cxn modelId="{627FDCC1-11BC-45AD-8789-AA74E8B3BC21}" type="presOf" srcId="{921CF9AA-4A7F-4680-9065-61FFD8B9018A}" destId="{4DAE467B-C1CF-4470-BB25-167CC5DCC7F9}" srcOrd="0" destOrd="0" presId="urn:microsoft.com/office/officeart/2005/8/layout/hList1"/>
    <dgm:cxn modelId="{FA612ABD-39B4-4718-892F-247D5E291AC1}" type="presOf" srcId="{386627F6-8520-45AC-A74E-F2374C68D47F}" destId="{DCE06669-EF4D-4CDC-B73B-1F159BDDD852}" srcOrd="0" destOrd="0" presId="urn:microsoft.com/office/officeart/2005/8/layout/hList1"/>
    <dgm:cxn modelId="{06FAD2CC-8428-4093-B689-08A87C65857C}" type="presOf" srcId="{56161D22-55BA-4DAB-9587-66B9B98C61DC}" destId="{4DAE467B-C1CF-4470-BB25-167CC5DCC7F9}" srcOrd="0" destOrd="1" presId="urn:microsoft.com/office/officeart/2005/8/layout/hList1"/>
    <dgm:cxn modelId="{6F6A3B31-5BDD-4B4B-B548-A62FFC543E04}" srcId="{9FECB7ED-3459-40FF-8851-AADA7FF01502}" destId="{6221C0DD-1072-47E0-8C7E-5DCA43B397D7}" srcOrd="3" destOrd="0" parTransId="{109BAF98-81F3-4CBA-86FA-607F19B62B73}" sibTransId="{0EE0B97E-32B9-4098-AD10-F5140AF689F3}"/>
    <dgm:cxn modelId="{EFDA73B3-6B6A-49E0-BBFB-CDC07DB3BEDC}" type="presOf" srcId="{2FDEEB67-E73E-4D6A-B193-A2282A39460E}" destId="{2C440BF6-F9B9-47C3-9431-F5382121CD8C}" srcOrd="0" destOrd="0" presId="urn:microsoft.com/office/officeart/2005/8/layout/hList1"/>
    <dgm:cxn modelId="{25EB38B6-CDAB-4ACD-8651-C5C052C5CCB1}" type="presOf" srcId="{80B534F9-80FC-4A62-8AEF-88266AC2A4D9}" destId="{C16775A9-2307-4391-8B22-DF4B88932BB9}" srcOrd="0" destOrd="2" presId="urn:microsoft.com/office/officeart/2005/8/layout/hList1"/>
    <dgm:cxn modelId="{E5005C84-9F3C-414C-8948-46D80152BDDF}" srcId="{9FECB7ED-3459-40FF-8851-AADA7FF01502}" destId="{A7828D8E-35C4-449A-B6FF-8766C2F62D56}" srcOrd="1" destOrd="0" parTransId="{90F6A9BC-BD8B-4823-B52C-6E0C42156CB0}" sibTransId="{C8643AA1-A26D-47DD-8FB2-BF104E1C3D4A}"/>
    <dgm:cxn modelId="{F85F64B3-2A30-423A-9D08-333156DDFE2F}" type="presOf" srcId="{B3D26BE3-18B7-4913-BE29-2DBD0E4E6E39}" destId="{C16775A9-2307-4391-8B22-DF4B88932BB9}" srcOrd="0" destOrd="0" presId="urn:microsoft.com/office/officeart/2005/8/layout/hList1"/>
    <dgm:cxn modelId="{8337029B-6E49-40B9-8F9B-597C73DC46B5}" srcId="{2FDEEB67-E73E-4D6A-B193-A2282A39460E}" destId="{80B534F9-80FC-4A62-8AEF-88266AC2A4D9}" srcOrd="2" destOrd="0" parTransId="{3776D8A3-95CD-4168-8838-6EB87D93D666}" sibTransId="{32800CC1-9002-4FA0-B044-ACAAF6652BFB}"/>
    <dgm:cxn modelId="{B47BB2C2-B7D7-47C9-9982-7825D9D01F73}" type="presOf" srcId="{6221C0DD-1072-47E0-8C7E-5DCA43B397D7}" destId="{DCE06669-EF4D-4CDC-B73B-1F159BDDD852}" srcOrd="0" destOrd="3" presId="urn:microsoft.com/office/officeart/2005/8/layout/hList1"/>
    <dgm:cxn modelId="{3274747F-F627-4C87-9DC0-1FB35F9A7C58}" srcId="{768116EC-F3A3-4699-B88D-DC9B73ADF314}" destId="{84EBDD90-D846-4F50-8835-F5BA68675ADE}" srcOrd="2" destOrd="0" parTransId="{71B4F395-44CC-47E3-BCA3-F451A38CE757}" sibTransId="{13FDB457-7D76-4B03-AF7C-189DE0A032D9}"/>
    <dgm:cxn modelId="{79756C71-99FC-4058-8E74-E92F77C9F380}" srcId="{21F8BD4D-8DCA-41D5-A045-97EF875F4F01}" destId="{2FDEEB67-E73E-4D6A-B193-A2282A39460E}" srcOrd="0" destOrd="0" parTransId="{EB313F29-7027-4CDB-8007-63D80437F7E1}" sibTransId="{512FBF69-DAB5-4195-B20C-9F88FD4E1DE9}"/>
    <dgm:cxn modelId="{C8F573F5-66C2-4362-A3B5-B360AFA754F1}" type="presOf" srcId="{9FECB7ED-3459-40FF-8851-AADA7FF01502}" destId="{75894BC3-1A51-4F3D-9C61-7460B39D70D6}" srcOrd="0" destOrd="0" presId="urn:microsoft.com/office/officeart/2005/8/layout/hList1"/>
    <dgm:cxn modelId="{9D0119F3-7AD5-4B85-8DBE-2A7AF7DF7475}" type="presOf" srcId="{A7828D8E-35C4-449A-B6FF-8766C2F62D56}" destId="{DCE06669-EF4D-4CDC-B73B-1F159BDDD852}" srcOrd="0" destOrd="1" presId="urn:microsoft.com/office/officeart/2005/8/layout/hList1"/>
    <dgm:cxn modelId="{492278E2-0E0F-4363-994B-AE629F822665}" srcId="{411E084B-E596-490A-AEAB-2BC630D2DFF3}" destId="{5CB0EE5E-B458-42EB-8A46-DEF97C0CE60A}" srcOrd="1" destOrd="0" parTransId="{EA00FE9D-7526-4F98-B930-EBCC98ABCA0B}" sibTransId="{5F53B6AB-DC1B-4912-AEDD-199C9339DD9F}"/>
    <dgm:cxn modelId="{894B5D6C-9DB1-4BDE-8A53-7C548B599493}" type="presOf" srcId="{B1CC820C-7C30-4302-8163-5B3FB9F2BCC1}" destId="{85CEF829-5435-4D35-8832-FBDA81EC0EA6}" srcOrd="0" destOrd="2" presId="urn:microsoft.com/office/officeart/2005/8/layout/hList1"/>
    <dgm:cxn modelId="{F2665217-2BB0-40F5-B4D1-D82AA40F92DD}" type="presOf" srcId="{21F8BD4D-8DCA-41D5-A045-97EF875F4F01}" destId="{E34C897F-5895-4158-96B6-C981B75B60B8}" srcOrd="0" destOrd="0" presId="urn:microsoft.com/office/officeart/2005/8/layout/hList1"/>
    <dgm:cxn modelId="{9199E85F-EDFA-439E-A5D6-A3D9EE07289F}" type="presParOf" srcId="{E34C897F-5895-4158-96B6-C981B75B60B8}" destId="{1B331AE3-C728-4057-99FA-5420787355EB}" srcOrd="0" destOrd="0" presId="urn:microsoft.com/office/officeart/2005/8/layout/hList1"/>
    <dgm:cxn modelId="{7458EBD6-46C5-40E9-9FD6-8A9A6EC0411F}" type="presParOf" srcId="{1B331AE3-C728-4057-99FA-5420787355EB}" destId="{2C440BF6-F9B9-47C3-9431-F5382121CD8C}" srcOrd="0" destOrd="0" presId="urn:microsoft.com/office/officeart/2005/8/layout/hList1"/>
    <dgm:cxn modelId="{B46D60F2-64A5-4830-934E-5DA18AF02FD1}" type="presParOf" srcId="{1B331AE3-C728-4057-99FA-5420787355EB}" destId="{C16775A9-2307-4391-8B22-DF4B88932BB9}" srcOrd="1" destOrd="0" presId="urn:microsoft.com/office/officeart/2005/8/layout/hList1"/>
    <dgm:cxn modelId="{765E8B30-DC23-4CCE-96E3-E646FBBDE4BE}" type="presParOf" srcId="{E34C897F-5895-4158-96B6-C981B75B60B8}" destId="{7A35EC7B-CDBA-48B5-8EAC-65435021C584}" srcOrd="1" destOrd="0" presId="urn:microsoft.com/office/officeart/2005/8/layout/hList1"/>
    <dgm:cxn modelId="{CDD73CA5-E1C5-4909-8C81-58D4ACCF58DB}" type="presParOf" srcId="{E34C897F-5895-4158-96B6-C981B75B60B8}" destId="{175DE3F5-377A-476D-B806-61AD67E43424}" srcOrd="2" destOrd="0" presId="urn:microsoft.com/office/officeart/2005/8/layout/hList1"/>
    <dgm:cxn modelId="{95E376DC-7CD7-484B-90F5-71BF58014990}" type="presParOf" srcId="{175DE3F5-377A-476D-B806-61AD67E43424}" destId="{75894BC3-1A51-4F3D-9C61-7460B39D70D6}" srcOrd="0" destOrd="0" presId="urn:microsoft.com/office/officeart/2005/8/layout/hList1"/>
    <dgm:cxn modelId="{EB440001-53C2-4E59-A0D3-283D70D38433}" type="presParOf" srcId="{175DE3F5-377A-476D-B806-61AD67E43424}" destId="{DCE06669-EF4D-4CDC-B73B-1F159BDDD852}" srcOrd="1" destOrd="0" presId="urn:microsoft.com/office/officeart/2005/8/layout/hList1"/>
    <dgm:cxn modelId="{FFF79A26-BD12-473D-8F71-5E3ADD38D4C9}" type="presParOf" srcId="{E34C897F-5895-4158-96B6-C981B75B60B8}" destId="{85BE8C1B-05AC-4326-B67C-0F4A3DCAFBDA}" srcOrd="3" destOrd="0" presId="urn:microsoft.com/office/officeart/2005/8/layout/hList1"/>
    <dgm:cxn modelId="{3555D652-D2E5-419D-947E-975E71FE951D}" type="presParOf" srcId="{E34C897F-5895-4158-96B6-C981B75B60B8}" destId="{A09D2238-4C8E-443E-9E23-48476DF60184}" srcOrd="4" destOrd="0" presId="urn:microsoft.com/office/officeart/2005/8/layout/hList1"/>
    <dgm:cxn modelId="{6D185889-F677-4418-924C-3BCEDDA33585}" type="presParOf" srcId="{A09D2238-4C8E-443E-9E23-48476DF60184}" destId="{8E43688A-DE11-4122-9CD9-35FB391BAB70}" srcOrd="0" destOrd="0" presId="urn:microsoft.com/office/officeart/2005/8/layout/hList1"/>
    <dgm:cxn modelId="{0D430144-0FA6-4993-BA83-63B8C54D9B41}" type="presParOf" srcId="{A09D2238-4C8E-443E-9E23-48476DF60184}" destId="{4DAE467B-C1CF-4470-BB25-167CC5DCC7F9}" srcOrd="1" destOrd="0" presId="urn:microsoft.com/office/officeart/2005/8/layout/hList1"/>
    <dgm:cxn modelId="{CEB5DA43-DC59-4539-8764-CC57F218F077}" type="presParOf" srcId="{E34C897F-5895-4158-96B6-C981B75B60B8}" destId="{11735DDA-28A5-422B-BB3B-91D5ED3504F3}" srcOrd="5" destOrd="0" presId="urn:microsoft.com/office/officeart/2005/8/layout/hList1"/>
    <dgm:cxn modelId="{D364EC01-8E97-4E4E-9555-D256A36B0B03}" type="presParOf" srcId="{E34C897F-5895-4158-96B6-C981B75B60B8}" destId="{8CF244B4-9B88-491F-B5DE-0B025823381C}" srcOrd="6" destOrd="0" presId="urn:microsoft.com/office/officeart/2005/8/layout/hList1"/>
    <dgm:cxn modelId="{E020F146-B37B-43C0-BC58-48806F1F9732}" type="presParOf" srcId="{8CF244B4-9B88-491F-B5DE-0B025823381C}" destId="{0F38AF16-A779-4D4B-9C2F-3883EC961523}" srcOrd="0" destOrd="0" presId="urn:microsoft.com/office/officeart/2005/8/layout/hList1"/>
    <dgm:cxn modelId="{FDA86EB1-48AE-43D1-9B2C-5CB5235D8D3B}" type="presParOf" srcId="{8CF244B4-9B88-491F-B5DE-0B025823381C}" destId="{85CEF829-5435-4D35-8832-FBDA81EC0EA6}" srcOrd="1" destOrd="0" presId="urn:microsoft.com/office/officeart/2005/8/layout/hList1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ata11.xml><?xml version="1.0" encoding="utf-8"?>
<dgm:dataModel xmlns:dgm="http://schemas.openxmlformats.org/drawingml/2006/diagram" xmlns:a="http://schemas.openxmlformats.org/drawingml/2006/main">
  <dgm:ptLst>
    <dgm:pt modelId="{BEF5A7C6-1322-4527-8F14-36B1BE5FBE22}" type="doc">
      <dgm:prSet loTypeId="urn:microsoft.com/office/officeart/2005/8/layout/cycle3" loCatId="cycle" qsTypeId="urn:microsoft.com/office/officeart/2005/8/quickstyle/simple1" qsCatId="simple" csTypeId="urn:microsoft.com/office/officeart/2005/8/colors/accent1_3" csCatId="accent1" phldr="1"/>
      <dgm:spPr/>
      <dgm:t>
        <a:bodyPr/>
        <a:lstStyle/>
        <a:p>
          <a:pPr latinLnBrk="1"/>
          <a:endParaRPr lang="ko-KR" altLang="en-US"/>
        </a:p>
      </dgm:t>
    </dgm:pt>
    <dgm:pt modelId="{9B02B60C-C653-4C60-BECD-AA7E33BB773A}">
      <dgm:prSet phldrT="[텍스트]"/>
      <dgm:spPr>
        <a:solidFill>
          <a:srgbClr val="0070C0"/>
        </a:solidFill>
      </dgm:spPr>
      <dgm:t>
        <a:bodyPr/>
        <a:lstStyle/>
        <a:p>
          <a:pPr latinLnBrk="1"/>
          <a:r>
            <a:rPr lang="ko-KR" altLang="en-US" dirty="0"/>
            <a:t>혁신</a:t>
          </a:r>
        </a:p>
      </dgm:t>
    </dgm:pt>
    <dgm:pt modelId="{21609F61-CB33-443D-A778-859902332B49}" type="parTrans" cxnId="{7DD772E8-AB78-4521-B11F-76E3F5C9201D}">
      <dgm:prSet/>
      <dgm:spPr/>
      <dgm:t>
        <a:bodyPr/>
        <a:lstStyle/>
        <a:p>
          <a:pPr latinLnBrk="1"/>
          <a:endParaRPr lang="ko-KR" altLang="en-US"/>
        </a:p>
      </dgm:t>
    </dgm:pt>
    <dgm:pt modelId="{123BABBE-CD88-496B-AB2C-8AE2CDA05C29}" type="sibTrans" cxnId="{7DD772E8-AB78-4521-B11F-76E3F5C9201D}">
      <dgm:prSet/>
      <dgm:spPr/>
      <dgm:t>
        <a:bodyPr/>
        <a:lstStyle/>
        <a:p>
          <a:pPr latinLnBrk="1"/>
          <a:endParaRPr lang="ko-KR" altLang="en-US"/>
        </a:p>
      </dgm:t>
    </dgm:pt>
    <dgm:pt modelId="{3DA7E202-4DAC-4101-A0BF-E4C1BE61B538}">
      <dgm:prSet phldrT="[텍스트]"/>
      <dgm:spPr>
        <a:solidFill>
          <a:schemeClr val="tx2">
            <a:lumMod val="50000"/>
            <a:lumOff val="50000"/>
          </a:schemeClr>
        </a:solidFill>
      </dgm:spPr>
      <dgm:t>
        <a:bodyPr/>
        <a:lstStyle/>
        <a:p>
          <a:pPr latinLnBrk="1"/>
          <a:r>
            <a:rPr lang="ko-KR" altLang="en-US" dirty="0"/>
            <a:t>개방</a:t>
          </a:r>
        </a:p>
      </dgm:t>
    </dgm:pt>
    <dgm:pt modelId="{BB57F2CD-50A2-4732-BA43-A3731E9D150E}" type="parTrans" cxnId="{0B4CDBFA-47C8-40D2-839C-FA0DA66C1F05}">
      <dgm:prSet/>
      <dgm:spPr/>
      <dgm:t>
        <a:bodyPr/>
        <a:lstStyle/>
        <a:p>
          <a:pPr latinLnBrk="1"/>
          <a:endParaRPr lang="ko-KR" altLang="en-US"/>
        </a:p>
      </dgm:t>
    </dgm:pt>
    <dgm:pt modelId="{993161B0-8629-4AD3-B667-5EE8B28CC679}" type="sibTrans" cxnId="{0B4CDBFA-47C8-40D2-839C-FA0DA66C1F05}">
      <dgm:prSet/>
      <dgm:spPr/>
      <dgm:t>
        <a:bodyPr/>
        <a:lstStyle/>
        <a:p>
          <a:pPr latinLnBrk="1"/>
          <a:endParaRPr lang="ko-KR" altLang="en-US"/>
        </a:p>
      </dgm:t>
    </dgm:pt>
    <dgm:pt modelId="{8287BE1F-D833-4333-A97F-A32FD0ACC9B0}">
      <dgm:prSet phldrT="[텍스트]"/>
      <dgm:spPr>
        <a:solidFill>
          <a:srgbClr val="FF0000"/>
        </a:solidFill>
      </dgm:spPr>
      <dgm:t>
        <a:bodyPr/>
        <a:lstStyle/>
        <a:p>
          <a:pPr latinLnBrk="1"/>
          <a:r>
            <a:rPr lang="ko-KR" altLang="en-US" dirty="0" smtClean="0"/>
            <a:t>통합 </a:t>
          </a:r>
          <a:r>
            <a:rPr lang="en-US" altLang="ko-KR" dirty="0" smtClean="0"/>
            <a:t>&amp; </a:t>
          </a:r>
          <a:r>
            <a:rPr lang="ko-KR" altLang="en-US" dirty="0" smtClean="0"/>
            <a:t>협력 </a:t>
          </a:r>
          <a:endParaRPr lang="ko-KR" altLang="en-US" dirty="0"/>
        </a:p>
      </dgm:t>
    </dgm:pt>
    <dgm:pt modelId="{A69ADE26-96A8-4EFD-BDB7-AC03D0F5D8C6}" type="parTrans" cxnId="{36FF9101-7318-49A2-8F4B-4B90B97C249F}">
      <dgm:prSet/>
      <dgm:spPr/>
      <dgm:t>
        <a:bodyPr/>
        <a:lstStyle/>
        <a:p>
          <a:pPr latinLnBrk="1"/>
          <a:endParaRPr lang="ko-KR" altLang="en-US"/>
        </a:p>
      </dgm:t>
    </dgm:pt>
    <dgm:pt modelId="{F3C31DF9-3432-41F3-833D-F531998973EB}" type="sibTrans" cxnId="{36FF9101-7318-49A2-8F4B-4B90B97C249F}">
      <dgm:prSet/>
      <dgm:spPr/>
      <dgm:t>
        <a:bodyPr/>
        <a:lstStyle/>
        <a:p>
          <a:pPr latinLnBrk="1"/>
          <a:endParaRPr lang="ko-KR" altLang="en-US"/>
        </a:p>
      </dgm:t>
    </dgm:pt>
    <dgm:pt modelId="{1F133F10-4200-4C21-BBB3-B78AB678928C}">
      <dgm:prSet phldrT="[텍스트]"/>
      <dgm:spPr>
        <a:solidFill>
          <a:srgbClr val="00B050"/>
        </a:solidFill>
      </dgm:spPr>
      <dgm:t>
        <a:bodyPr/>
        <a:lstStyle/>
        <a:p>
          <a:pPr latinLnBrk="1"/>
          <a:r>
            <a:rPr lang="ko-KR" altLang="en-US" dirty="0" smtClean="0"/>
            <a:t>신속 적용</a:t>
          </a:r>
          <a:endParaRPr lang="ko-KR" altLang="en-US" dirty="0"/>
        </a:p>
      </dgm:t>
    </dgm:pt>
    <dgm:pt modelId="{49AA0370-0400-47BB-A581-5E8DC479F004}" type="parTrans" cxnId="{B676555F-0D9A-4F78-8153-262BF0378FD9}">
      <dgm:prSet/>
      <dgm:spPr/>
      <dgm:t>
        <a:bodyPr/>
        <a:lstStyle/>
        <a:p>
          <a:pPr latinLnBrk="1"/>
          <a:endParaRPr lang="ko-KR" altLang="en-US"/>
        </a:p>
      </dgm:t>
    </dgm:pt>
    <dgm:pt modelId="{601FFB2F-3424-40B6-9F9C-9BECA456B15D}" type="sibTrans" cxnId="{B676555F-0D9A-4F78-8153-262BF0378FD9}">
      <dgm:prSet/>
      <dgm:spPr/>
      <dgm:t>
        <a:bodyPr/>
        <a:lstStyle/>
        <a:p>
          <a:pPr latinLnBrk="1"/>
          <a:endParaRPr lang="ko-KR" altLang="en-US"/>
        </a:p>
      </dgm:t>
    </dgm:pt>
    <dgm:pt modelId="{2B864887-2A44-4500-9782-89345C8F73D2}">
      <dgm:prSet phldrT="[텍스트]"/>
      <dgm:spPr>
        <a:solidFill>
          <a:srgbClr val="92D050"/>
        </a:solidFill>
      </dgm:spPr>
      <dgm:t>
        <a:bodyPr/>
        <a:lstStyle/>
        <a:p>
          <a:pPr latinLnBrk="1"/>
          <a:r>
            <a:rPr lang="ko-KR" altLang="en-US" dirty="0" smtClean="0"/>
            <a:t>공익</a:t>
          </a:r>
          <a:r>
            <a:rPr lang="en-US" altLang="ko-KR" dirty="0" smtClean="0"/>
            <a:t>&amp; </a:t>
          </a:r>
          <a:r>
            <a:rPr lang="ko-KR" altLang="en-US" dirty="0" smtClean="0"/>
            <a:t>사회 </a:t>
          </a:r>
          <a:r>
            <a:rPr lang="ko-KR" altLang="en-US" dirty="0" smtClean="0"/>
            <a:t>가치 </a:t>
          </a:r>
          <a:endParaRPr lang="ko-KR" altLang="en-US" dirty="0"/>
        </a:p>
      </dgm:t>
    </dgm:pt>
    <dgm:pt modelId="{442D1281-BCEA-4B11-8B82-0333620DA216}" type="parTrans" cxnId="{0097F7C7-A07C-4BD0-8A6C-E6D876C65D28}">
      <dgm:prSet/>
      <dgm:spPr/>
      <dgm:t>
        <a:bodyPr/>
        <a:lstStyle/>
        <a:p>
          <a:pPr latinLnBrk="1"/>
          <a:endParaRPr lang="ko-KR" altLang="en-US"/>
        </a:p>
      </dgm:t>
    </dgm:pt>
    <dgm:pt modelId="{8E1A5199-FC3F-4D08-8952-19BADB18CA4F}" type="sibTrans" cxnId="{0097F7C7-A07C-4BD0-8A6C-E6D876C65D28}">
      <dgm:prSet/>
      <dgm:spPr/>
      <dgm:t>
        <a:bodyPr/>
        <a:lstStyle/>
        <a:p>
          <a:pPr latinLnBrk="1"/>
          <a:endParaRPr lang="ko-KR" altLang="en-US"/>
        </a:p>
      </dgm:t>
    </dgm:pt>
    <dgm:pt modelId="{A3C2714D-5133-4D68-860E-A2C625315294}" type="pres">
      <dgm:prSet presAssocID="{BEF5A7C6-1322-4527-8F14-36B1BE5FBE22}" presName="Name0" presStyleCnt="0">
        <dgm:presLayoutVars>
          <dgm:dir/>
          <dgm:resizeHandles val="exact"/>
        </dgm:presLayoutVars>
      </dgm:prSet>
      <dgm:spPr/>
      <dgm:t>
        <a:bodyPr/>
        <a:lstStyle/>
        <a:p>
          <a:pPr latinLnBrk="1"/>
          <a:endParaRPr lang="ko-KR" altLang="en-US"/>
        </a:p>
      </dgm:t>
    </dgm:pt>
    <dgm:pt modelId="{4DF87A4D-3261-4443-BC4C-056328BF266A}" type="pres">
      <dgm:prSet presAssocID="{BEF5A7C6-1322-4527-8F14-36B1BE5FBE22}" presName="cycle" presStyleCnt="0"/>
      <dgm:spPr/>
      <dgm:t>
        <a:bodyPr/>
        <a:lstStyle/>
        <a:p>
          <a:pPr latinLnBrk="1"/>
          <a:endParaRPr lang="ko-KR" altLang="en-US"/>
        </a:p>
      </dgm:t>
    </dgm:pt>
    <dgm:pt modelId="{D16F2641-7793-48C8-AEB3-907711108DE9}" type="pres">
      <dgm:prSet presAssocID="{9B02B60C-C653-4C60-BECD-AA7E33BB773A}" presName="nodeFirstNode" presStyleLbl="node1" presStyleIdx="0" presStyleCnt="5" custRadScaleRad="98730">
        <dgm:presLayoutVars>
          <dgm:bulletEnabled val="1"/>
        </dgm:presLayoutVars>
      </dgm:prSet>
      <dgm:spPr/>
      <dgm:t>
        <a:bodyPr/>
        <a:lstStyle/>
        <a:p>
          <a:pPr latinLnBrk="1"/>
          <a:endParaRPr lang="ko-KR" altLang="en-US"/>
        </a:p>
      </dgm:t>
    </dgm:pt>
    <dgm:pt modelId="{0A8AB7FE-DEE3-4F6C-8605-257E3775D162}" type="pres">
      <dgm:prSet presAssocID="{123BABBE-CD88-496B-AB2C-8AE2CDA05C29}" presName="sibTransFirstNode" presStyleLbl="bgShp" presStyleIdx="0" presStyleCnt="1"/>
      <dgm:spPr/>
      <dgm:t>
        <a:bodyPr/>
        <a:lstStyle/>
        <a:p>
          <a:pPr latinLnBrk="1"/>
          <a:endParaRPr lang="ko-KR" altLang="en-US"/>
        </a:p>
      </dgm:t>
    </dgm:pt>
    <dgm:pt modelId="{F475904A-6E7D-4BC1-A6EC-5ECAE2B76417}" type="pres">
      <dgm:prSet presAssocID="{3DA7E202-4DAC-4101-A0BF-E4C1BE61B538}" presName="nodeFollowingNodes" presStyleLbl="node1" presStyleIdx="1" presStyleCnt="5">
        <dgm:presLayoutVars>
          <dgm:bulletEnabled val="1"/>
        </dgm:presLayoutVars>
      </dgm:prSet>
      <dgm:spPr/>
      <dgm:t>
        <a:bodyPr/>
        <a:lstStyle/>
        <a:p>
          <a:pPr latinLnBrk="1"/>
          <a:endParaRPr lang="ko-KR" altLang="en-US"/>
        </a:p>
      </dgm:t>
    </dgm:pt>
    <dgm:pt modelId="{695BEE50-D9F7-4C84-9EC6-2A0D116BF66C}" type="pres">
      <dgm:prSet presAssocID="{8287BE1F-D833-4333-A97F-A32FD0ACC9B0}" presName="nodeFollowingNodes" presStyleLbl="node1" presStyleIdx="2" presStyleCnt="5">
        <dgm:presLayoutVars>
          <dgm:bulletEnabled val="1"/>
        </dgm:presLayoutVars>
      </dgm:prSet>
      <dgm:spPr/>
      <dgm:t>
        <a:bodyPr/>
        <a:lstStyle/>
        <a:p>
          <a:pPr latinLnBrk="1"/>
          <a:endParaRPr lang="ko-KR" altLang="en-US"/>
        </a:p>
      </dgm:t>
    </dgm:pt>
    <dgm:pt modelId="{EF126C09-1EEB-48AF-B34F-508D201CB732}" type="pres">
      <dgm:prSet presAssocID="{1F133F10-4200-4C21-BBB3-B78AB678928C}" presName="nodeFollowingNodes" presStyleLbl="node1" presStyleIdx="3" presStyleCnt="5" custRadScaleRad="98273" custRadScaleInc="-4348">
        <dgm:presLayoutVars>
          <dgm:bulletEnabled val="1"/>
        </dgm:presLayoutVars>
      </dgm:prSet>
      <dgm:spPr/>
      <dgm:t>
        <a:bodyPr/>
        <a:lstStyle/>
        <a:p>
          <a:pPr latinLnBrk="1"/>
          <a:endParaRPr lang="ko-KR" altLang="en-US"/>
        </a:p>
      </dgm:t>
    </dgm:pt>
    <dgm:pt modelId="{8D92E797-DD3B-46FF-A26C-A8535C7F05A6}" type="pres">
      <dgm:prSet presAssocID="{2B864887-2A44-4500-9782-89345C8F73D2}" presName="nodeFollowingNodes" presStyleLbl="node1" presStyleIdx="4" presStyleCnt="5">
        <dgm:presLayoutVars>
          <dgm:bulletEnabled val="1"/>
        </dgm:presLayoutVars>
      </dgm:prSet>
      <dgm:spPr/>
      <dgm:t>
        <a:bodyPr/>
        <a:lstStyle/>
        <a:p>
          <a:pPr latinLnBrk="1"/>
          <a:endParaRPr lang="ko-KR" altLang="en-US"/>
        </a:p>
      </dgm:t>
    </dgm:pt>
  </dgm:ptLst>
  <dgm:cxnLst>
    <dgm:cxn modelId="{36FF9101-7318-49A2-8F4B-4B90B97C249F}" srcId="{BEF5A7C6-1322-4527-8F14-36B1BE5FBE22}" destId="{8287BE1F-D833-4333-A97F-A32FD0ACC9B0}" srcOrd="2" destOrd="0" parTransId="{A69ADE26-96A8-4EFD-BDB7-AC03D0F5D8C6}" sibTransId="{F3C31DF9-3432-41F3-833D-F531998973EB}"/>
    <dgm:cxn modelId="{91EF8575-8EF6-493C-B193-871E3EAB39E0}" type="presOf" srcId="{8287BE1F-D833-4333-A97F-A32FD0ACC9B0}" destId="{695BEE50-D9F7-4C84-9EC6-2A0D116BF66C}" srcOrd="0" destOrd="0" presId="urn:microsoft.com/office/officeart/2005/8/layout/cycle3"/>
    <dgm:cxn modelId="{4E48BC8C-41FF-4F83-A8EB-9BB91C55C7B5}" type="presOf" srcId="{1F133F10-4200-4C21-BBB3-B78AB678928C}" destId="{EF126C09-1EEB-48AF-B34F-508D201CB732}" srcOrd="0" destOrd="0" presId="urn:microsoft.com/office/officeart/2005/8/layout/cycle3"/>
    <dgm:cxn modelId="{F002077B-A129-4732-8948-CF8B62A2411E}" type="presOf" srcId="{9B02B60C-C653-4C60-BECD-AA7E33BB773A}" destId="{D16F2641-7793-48C8-AEB3-907711108DE9}" srcOrd="0" destOrd="0" presId="urn:microsoft.com/office/officeart/2005/8/layout/cycle3"/>
    <dgm:cxn modelId="{68F78D1E-4A79-4112-B695-6ED8E788BB5B}" type="presOf" srcId="{123BABBE-CD88-496B-AB2C-8AE2CDA05C29}" destId="{0A8AB7FE-DEE3-4F6C-8605-257E3775D162}" srcOrd="0" destOrd="0" presId="urn:microsoft.com/office/officeart/2005/8/layout/cycle3"/>
    <dgm:cxn modelId="{317E6839-A3BA-4CAE-B66B-318BACBF17E8}" type="presOf" srcId="{3DA7E202-4DAC-4101-A0BF-E4C1BE61B538}" destId="{F475904A-6E7D-4BC1-A6EC-5ECAE2B76417}" srcOrd="0" destOrd="0" presId="urn:microsoft.com/office/officeart/2005/8/layout/cycle3"/>
    <dgm:cxn modelId="{0097F7C7-A07C-4BD0-8A6C-E6D876C65D28}" srcId="{BEF5A7C6-1322-4527-8F14-36B1BE5FBE22}" destId="{2B864887-2A44-4500-9782-89345C8F73D2}" srcOrd="4" destOrd="0" parTransId="{442D1281-BCEA-4B11-8B82-0333620DA216}" sibTransId="{8E1A5199-FC3F-4D08-8952-19BADB18CA4F}"/>
    <dgm:cxn modelId="{70931FCD-262C-462A-BDEB-77479A90C3AD}" type="presOf" srcId="{BEF5A7C6-1322-4527-8F14-36B1BE5FBE22}" destId="{A3C2714D-5133-4D68-860E-A2C625315294}" srcOrd="0" destOrd="0" presId="urn:microsoft.com/office/officeart/2005/8/layout/cycle3"/>
    <dgm:cxn modelId="{2B7C810E-B93D-4701-87BE-450CF7E3C961}" type="presOf" srcId="{2B864887-2A44-4500-9782-89345C8F73D2}" destId="{8D92E797-DD3B-46FF-A26C-A8535C7F05A6}" srcOrd="0" destOrd="0" presId="urn:microsoft.com/office/officeart/2005/8/layout/cycle3"/>
    <dgm:cxn modelId="{B676555F-0D9A-4F78-8153-262BF0378FD9}" srcId="{BEF5A7C6-1322-4527-8F14-36B1BE5FBE22}" destId="{1F133F10-4200-4C21-BBB3-B78AB678928C}" srcOrd="3" destOrd="0" parTransId="{49AA0370-0400-47BB-A581-5E8DC479F004}" sibTransId="{601FFB2F-3424-40B6-9F9C-9BECA456B15D}"/>
    <dgm:cxn modelId="{7DD772E8-AB78-4521-B11F-76E3F5C9201D}" srcId="{BEF5A7C6-1322-4527-8F14-36B1BE5FBE22}" destId="{9B02B60C-C653-4C60-BECD-AA7E33BB773A}" srcOrd="0" destOrd="0" parTransId="{21609F61-CB33-443D-A778-859902332B49}" sibTransId="{123BABBE-CD88-496B-AB2C-8AE2CDA05C29}"/>
    <dgm:cxn modelId="{0B4CDBFA-47C8-40D2-839C-FA0DA66C1F05}" srcId="{BEF5A7C6-1322-4527-8F14-36B1BE5FBE22}" destId="{3DA7E202-4DAC-4101-A0BF-E4C1BE61B538}" srcOrd="1" destOrd="0" parTransId="{BB57F2CD-50A2-4732-BA43-A3731E9D150E}" sibTransId="{993161B0-8629-4AD3-B667-5EE8B28CC679}"/>
    <dgm:cxn modelId="{2B65B9C9-9A37-4306-A206-51BE8015C728}" type="presParOf" srcId="{A3C2714D-5133-4D68-860E-A2C625315294}" destId="{4DF87A4D-3261-4443-BC4C-056328BF266A}" srcOrd="0" destOrd="0" presId="urn:microsoft.com/office/officeart/2005/8/layout/cycle3"/>
    <dgm:cxn modelId="{D84FE76A-3CF4-4005-AC9A-C35B9A7A2471}" type="presParOf" srcId="{4DF87A4D-3261-4443-BC4C-056328BF266A}" destId="{D16F2641-7793-48C8-AEB3-907711108DE9}" srcOrd="0" destOrd="0" presId="urn:microsoft.com/office/officeart/2005/8/layout/cycle3"/>
    <dgm:cxn modelId="{4B6B331E-B213-444E-B7EE-26E3605CE703}" type="presParOf" srcId="{4DF87A4D-3261-4443-BC4C-056328BF266A}" destId="{0A8AB7FE-DEE3-4F6C-8605-257E3775D162}" srcOrd="1" destOrd="0" presId="urn:microsoft.com/office/officeart/2005/8/layout/cycle3"/>
    <dgm:cxn modelId="{1EBF5659-A2CD-44C7-B331-88D159BDC259}" type="presParOf" srcId="{4DF87A4D-3261-4443-BC4C-056328BF266A}" destId="{F475904A-6E7D-4BC1-A6EC-5ECAE2B76417}" srcOrd="2" destOrd="0" presId="urn:microsoft.com/office/officeart/2005/8/layout/cycle3"/>
    <dgm:cxn modelId="{53ED9EC5-BBF4-410D-BD7F-C3D2DA9ABA08}" type="presParOf" srcId="{4DF87A4D-3261-4443-BC4C-056328BF266A}" destId="{695BEE50-D9F7-4C84-9EC6-2A0D116BF66C}" srcOrd="3" destOrd="0" presId="urn:microsoft.com/office/officeart/2005/8/layout/cycle3"/>
    <dgm:cxn modelId="{E9A71042-7D2F-49A7-96FC-69255C7F4A91}" type="presParOf" srcId="{4DF87A4D-3261-4443-BC4C-056328BF266A}" destId="{EF126C09-1EEB-48AF-B34F-508D201CB732}" srcOrd="4" destOrd="0" presId="urn:microsoft.com/office/officeart/2005/8/layout/cycle3"/>
    <dgm:cxn modelId="{6CF04C14-798A-478A-B414-DF4A0CE86467}" type="presParOf" srcId="{4DF87A4D-3261-4443-BC4C-056328BF266A}" destId="{8D92E797-DD3B-46FF-A26C-A8535C7F05A6}" srcOrd="5" destOrd="0" presId="urn:microsoft.com/office/officeart/2005/8/layout/cycle3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  <a:ext uri="{C62137D5-CB1D-491B-B009-E17868A290BF}">
      <dgm14:recolorImg xmlns:dgm14="http://schemas.microsoft.com/office/drawing/2010/diagram" val="1"/>
    </a:ext>
  </dgm:extLst>
</dgm:dataModel>
</file>

<file path=ppt/diagrams/data12.xml><?xml version="1.0" encoding="utf-8"?>
<dgm:dataModel xmlns:dgm="http://schemas.openxmlformats.org/drawingml/2006/diagram" xmlns:a="http://schemas.openxmlformats.org/drawingml/2006/main">
  <dgm:ptLst>
    <dgm:pt modelId="{6F1EA660-DFB7-420B-8A33-404DB8B2999B}" type="doc">
      <dgm:prSet loTypeId="urn:microsoft.com/office/officeart/2005/8/layout/matrix3" loCatId="matrix" qsTypeId="urn:microsoft.com/office/officeart/2005/8/quickstyle/simple1" qsCatId="simple" csTypeId="urn:microsoft.com/office/officeart/2005/8/colors/accent1_3" csCatId="accent1" phldr="1"/>
      <dgm:spPr/>
      <dgm:t>
        <a:bodyPr/>
        <a:lstStyle/>
        <a:p>
          <a:pPr latinLnBrk="1"/>
          <a:endParaRPr lang="ko-KR" altLang="en-US"/>
        </a:p>
      </dgm:t>
    </dgm:pt>
    <dgm:pt modelId="{AB26CAE7-AEA2-450D-9310-58C794BD7ED6}">
      <dgm:prSet phldrT="[텍스트]"/>
      <dgm:spPr/>
      <dgm:t>
        <a:bodyPr/>
        <a:lstStyle/>
        <a:p>
          <a:pPr latinLnBrk="1"/>
          <a:r>
            <a:rPr lang="ko-KR" altLang="en-US" dirty="0"/>
            <a:t>제품</a:t>
          </a:r>
          <a:r>
            <a:rPr lang="en-US" altLang="ko-KR" dirty="0" smtClean="0"/>
            <a:t>/</a:t>
          </a:r>
        </a:p>
        <a:p>
          <a:pPr latinLnBrk="1"/>
          <a:r>
            <a:rPr lang="ko-KR" altLang="en-US" dirty="0" smtClean="0"/>
            <a:t>서비스개발  </a:t>
          </a:r>
          <a:endParaRPr lang="ko-KR" altLang="en-US" dirty="0"/>
        </a:p>
      </dgm:t>
    </dgm:pt>
    <dgm:pt modelId="{9BD7FAFA-C39F-482D-8477-68B301B286F6}" type="parTrans" cxnId="{446958B6-A267-49C8-BB32-8EED37BAAB50}">
      <dgm:prSet/>
      <dgm:spPr/>
      <dgm:t>
        <a:bodyPr/>
        <a:lstStyle/>
        <a:p>
          <a:pPr latinLnBrk="1"/>
          <a:endParaRPr lang="ko-KR" altLang="en-US"/>
        </a:p>
      </dgm:t>
    </dgm:pt>
    <dgm:pt modelId="{A01EA1F6-9DE2-45E9-B73B-C6C005B2BFCB}" type="sibTrans" cxnId="{446958B6-A267-49C8-BB32-8EED37BAAB50}">
      <dgm:prSet/>
      <dgm:spPr/>
      <dgm:t>
        <a:bodyPr/>
        <a:lstStyle/>
        <a:p>
          <a:pPr latinLnBrk="1"/>
          <a:endParaRPr lang="ko-KR" altLang="en-US"/>
        </a:p>
      </dgm:t>
    </dgm:pt>
    <dgm:pt modelId="{93A62BAD-4760-45C5-9B7B-CA01F2213A78}">
      <dgm:prSet phldrT="[텍스트]"/>
      <dgm:spPr/>
      <dgm:t>
        <a:bodyPr/>
        <a:lstStyle/>
        <a:p>
          <a:pPr latinLnBrk="1"/>
          <a:r>
            <a:rPr lang="ko-KR" altLang="en-US" dirty="0" smtClean="0"/>
            <a:t>위치</a:t>
          </a:r>
          <a:r>
            <a:rPr lang="en-US" altLang="ko-KR" dirty="0" smtClean="0"/>
            <a:t>/</a:t>
          </a:r>
          <a:r>
            <a:rPr lang="ko-KR" altLang="en-US" dirty="0" smtClean="0"/>
            <a:t>타이밍  최적화   </a:t>
          </a:r>
          <a:endParaRPr lang="ko-KR" altLang="en-US" dirty="0"/>
        </a:p>
      </dgm:t>
    </dgm:pt>
    <dgm:pt modelId="{599CB863-7FBA-43B7-82E4-F7CBCA62BED6}" type="parTrans" cxnId="{A223DFFF-806A-45A8-9FF5-8B833D733EAF}">
      <dgm:prSet/>
      <dgm:spPr/>
      <dgm:t>
        <a:bodyPr/>
        <a:lstStyle/>
        <a:p>
          <a:pPr latinLnBrk="1"/>
          <a:endParaRPr lang="ko-KR" altLang="en-US"/>
        </a:p>
      </dgm:t>
    </dgm:pt>
    <dgm:pt modelId="{370EFB7C-2B55-4771-AB82-24C26766A615}" type="sibTrans" cxnId="{A223DFFF-806A-45A8-9FF5-8B833D733EAF}">
      <dgm:prSet/>
      <dgm:spPr/>
      <dgm:t>
        <a:bodyPr/>
        <a:lstStyle/>
        <a:p>
          <a:pPr latinLnBrk="1"/>
          <a:endParaRPr lang="ko-KR" altLang="en-US"/>
        </a:p>
      </dgm:t>
    </dgm:pt>
    <dgm:pt modelId="{D3F4587C-C38E-42BE-BB1B-4BCBB9941266}">
      <dgm:prSet phldrT="[텍스트]"/>
      <dgm:spPr/>
      <dgm:t>
        <a:bodyPr/>
        <a:lstStyle/>
        <a:p>
          <a:pPr latinLnBrk="1"/>
          <a:r>
            <a:rPr lang="ko-KR" altLang="en-US" dirty="0" smtClean="0"/>
            <a:t>경영운영</a:t>
          </a:r>
          <a:endParaRPr lang="en-US" altLang="ko-KR" dirty="0" smtClean="0"/>
        </a:p>
        <a:p>
          <a:pPr latinLnBrk="1"/>
          <a:r>
            <a:rPr lang="ko-KR" altLang="en-US" dirty="0" smtClean="0"/>
            <a:t>효율화 </a:t>
          </a:r>
          <a:endParaRPr lang="ko-KR" altLang="en-US" dirty="0"/>
        </a:p>
      </dgm:t>
    </dgm:pt>
    <dgm:pt modelId="{E30A4E1B-34EE-4B2D-8177-288764E288F4}" type="parTrans" cxnId="{28507C3F-9E44-45B7-9D9B-F7C252D87109}">
      <dgm:prSet/>
      <dgm:spPr/>
      <dgm:t>
        <a:bodyPr/>
        <a:lstStyle/>
        <a:p>
          <a:pPr latinLnBrk="1"/>
          <a:endParaRPr lang="ko-KR" altLang="en-US"/>
        </a:p>
      </dgm:t>
    </dgm:pt>
    <dgm:pt modelId="{93C6233C-E3B7-48B6-9F49-C0DF75EE3895}" type="sibTrans" cxnId="{28507C3F-9E44-45B7-9D9B-F7C252D87109}">
      <dgm:prSet/>
      <dgm:spPr/>
      <dgm:t>
        <a:bodyPr/>
        <a:lstStyle/>
        <a:p>
          <a:pPr latinLnBrk="1"/>
          <a:endParaRPr lang="ko-KR" altLang="en-US"/>
        </a:p>
      </dgm:t>
    </dgm:pt>
    <dgm:pt modelId="{F0952F04-76A5-4E0C-A203-3F93240A2415}">
      <dgm:prSet phldrT="[텍스트]"/>
      <dgm:spPr/>
      <dgm:t>
        <a:bodyPr/>
        <a:lstStyle/>
        <a:p>
          <a:pPr latinLnBrk="1"/>
          <a:r>
            <a:rPr lang="ko-KR" altLang="en-US" dirty="0" smtClean="0"/>
            <a:t>맞춤형 </a:t>
          </a:r>
          <a:endParaRPr lang="en-US" altLang="ko-KR" dirty="0" smtClean="0"/>
        </a:p>
        <a:p>
          <a:pPr latinLnBrk="1"/>
          <a:r>
            <a:rPr lang="ko-KR" altLang="en-US" dirty="0" smtClean="0"/>
            <a:t>고객관리  </a:t>
          </a:r>
          <a:endParaRPr lang="ko-KR" altLang="en-US" dirty="0"/>
        </a:p>
      </dgm:t>
    </dgm:pt>
    <dgm:pt modelId="{128C8CD0-95F9-498B-9BC3-158B271EA8FD}" type="parTrans" cxnId="{E4771339-31AF-43C2-B2C1-438D4F4BA50C}">
      <dgm:prSet/>
      <dgm:spPr/>
      <dgm:t>
        <a:bodyPr/>
        <a:lstStyle/>
        <a:p>
          <a:pPr latinLnBrk="1"/>
          <a:endParaRPr lang="ko-KR" altLang="en-US"/>
        </a:p>
      </dgm:t>
    </dgm:pt>
    <dgm:pt modelId="{1B680CE6-2BA9-4A31-8100-B7F3123D5C4F}" type="sibTrans" cxnId="{E4771339-31AF-43C2-B2C1-438D4F4BA50C}">
      <dgm:prSet/>
      <dgm:spPr/>
      <dgm:t>
        <a:bodyPr/>
        <a:lstStyle/>
        <a:p>
          <a:pPr latinLnBrk="1"/>
          <a:endParaRPr lang="ko-KR" altLang="en-US"/>
        </a:p>
      </dgm:t>
    </dgm:pt>
    <dgm:pt modelId="{88F6BC8A-EEF1-4A36-B85D-D8A13845F099}" type="pres">
      <dgm:prSet presAssocID="{6F1EA660-DFB7-420B-8A33-404DB8B2999B}" presName="matrix" presStyleCnt="0">
        <dgm:presLayoutVars>
          <dgm:chMax val="1"/>
          <dgm:dir/>
          <dgm:resizeHandles val="exact"/>
        </dgm:presLayoutVars>
      </dgm:prSet>
      <dgm:spPr/>
      <dgm:t>
        <a:bodyPr/>
        <a:lstStyle/>
        <a:p>
          <a:pPr latinLnBrk="1"/>
          <a:endParaRPr lang="ko-KR" altLang="en-US"/>
        </a:p>
      </dgm:t>
    </dgm:pt>
    <dgm:pt modelId="{01C260D6-2BC1-44AD-B717-FB96F83CD9A9}" type="pres">
      <dgm:prSet presAssocID="{6F1EA660-DFB7-420B-8A33-404DB8B2999B}" presName="diamond" presStyleLbl="bgShp" presStyleIdx="0" presStyleCnt="1" custLinFactNeighborX="3012" custLinFactNeighborY="-771"/>
      <dgm:spPr/>
      <dgm:t>
        <a:bodyPr/>
        <a:lstStyle/>
        <a:p>
          <a:pPr latinLnBrk="1"/>
          <a:endParaRPr lang="ko-KR" altLang="en-US"/>
        </a:p>
      </dgm:t>
    </dgm:pt>
    <dgm:pt modelId="{702E7AE2-10E1-4145-924A-FC0398FF6A77}" type="pres">
      <dgm:prSet presAssocID="{6F1EA660-DFB7-420B-8A33-404DB8B2999B}" presName="quad1" presStyleLbl="node1" presStyleIdx="0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pPr latinLnBrk="1"/>
          <a:endParaRPr lang="ko-KR" altLang="en-US"/>
        </a:p>
      </dgm:t>
    </dgm:pt>
    <dgm:pt modelId="{6DBBD5FC-717F-4969-B214-FD8BFB982B63}" type="pres">
      <dgm:prSet presAssocID="{6F1EA660-DFB7-420B-8A33-404DB8B2999B}" presName="quad2" presStyleLbl="node1" presStyleIdx="1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pPr latinLnBrk="1"/>
          <a:endParaRPr lang="ko-KR" altLang="en-US"/>
        </a:p>
      </dgm:t>
    </dgm:pt>
    <dgm:pt modelId="{12A89932-CD26-4FC5-9970-4DF613AF727B}" type="pres">
      <dgm:prSet presAssocID="{6F1EA660-DFB7-420B-8A33-404DB8B2999B}" presName="quad3" presStyleLbl="node1" presStyleIdx="2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pPr latinLnBrk="1"/>
          <a:endParaRPr lang="ko-KR" altLang="en-US"/>
        </a:p>
      </dgm:t>
    </dgm:pt>
    <dgm:pt modelId="{636F6544-720A-44ED-9500-0D87F3CA4797}" type="pres">
      <dgm:prSet presAssocID="{6F1EA660-DFB7-420B-8A33-404DB8B2999B}" presName="quad4" presStyleLbl="node1" presStyleIdx="3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pPr latinLnBrk="1"/>
          <a:endParaRPr lang="ko-KR" altLang="en-US"/>
        </a:p>
      </dgm:t>
    </dgm:pt>
  </dgm:ptLst>
  <dgm:cxnLst>
    <dgm:cxn modelId="{00C3803E-BC18-45D3-AB6D-88ACBD113415}" type="presOf" srcId="{6F1EA660-DFB7-420B-8A33-404DB8B2999B}" destId="{88F6BC8A-EEF1-4A36-B85D-D8A13845F099}" srcOrd="0" destOrd="0" presId="urn:microsoft.com/office/officeart/2005/8/layout/matrix3"/>
    <dgm:cxn modelId="{0E483F61-3854-413C-81C3-352497B4BDF5}" type="presOf" srcId="{F0952F04-76A5-4E0C-A203-3F93240A2415}" destId="{636F6544-720A-44ED-9500-0D87F3CA4797}" srcOrd="0" destOrd="0" presId="urn:microsoft.com/office/officeart/2005/8/layout/matrix3"/>
    <dgm:cxn modelId="{2B2103DD-FDAB-45F7-91FD-E8C0CA3A5AFA}" type="presOf" srcId="{AB26CAE7-AEA2-450D-9310-58C794BD7ED6}" destId="{702E7AE2-10E1-4145-924A-FC0398FF6A77}" srcOrd="0" destOrd="0" presId="urn:microsoft.com/office/officeart/2005/8/layout/matrix3"/>
    <dgm:cxn modelId="{A223DFFF-806A-45A8-9FF5-8B833D733EAF}" srcId="{6F1EA660-DFB7-420B-8A33-404DB8B2999B}" destId="{93A62BAD-4760-45C5-9B7B-CA01F2213A78}" srcOrd="1" destOrd="0" parTransId="{599CB863-7FBA-43B7-82E4-F7CBCA62BED6}" sibTransId="{370EFB7C-2B55-4771-AB82-24C26766A615}"/>
    <dgm:cxn modelId="{AC115701-5FC6-465C-A564-BBA3EB6C586D}" type="presOf" srcId="{D3F4587C-C38E-42BE-BB1B-4BCBB9941266}" destId="{12A89932-CD26-4FC5-9970-4DF613AF727B}" srcOrd="0" destOrd="0" presId="urn:microsoft.com/office/officeart/2005/8/layout/matrix3"/>
    <dgm:cxn modelId="{28507C3F-9E44-45B7-9D9B-F7C252D87109}" srcId="{6F1EA660-DFB7-420B-8A33-404DB8B2999B}" destId="{D3F4587C-C38E-42BE-BB1B-4BCBB9941266}" srcOrd="2" destOrd="0" parTransId="{E30A4E1B-34EE-4B2D-8177-288764E288F4}" sibTransId="{93C6233C-E3B7-48B6-9F49-C0DF75EE3895}"/>
    <dgm:cxn modelId="{D1F1F364-02E7-4FF6-9306-1B7C1DA80BCB}" type="presOf" srcId="{93A62BAD-4760-45C5-9B7B-CA01F2213A78}" destId="{6DBBD5FC-717F-4969-B214-FD8BFB982B63}" srcOrd="0" destOrd="0" presId="urn:microsoft.com/office/officeart/2005/8/layout/matrix3"/>
    <dgm:cxn modelId="{446958B6-A267-49C8-BB32-8EED37BAAB50}" srcId="{6F1EA660-DFB7-420B-8A33-404DB8B2999B}" destId="{AB26CAE7-AEA2-450D-9310-58C794BD7ED6}" srcOrd="0" destOrd="0" parTransId="{9BD7FAFA-C39F-482D-8477-68B301B286F6}" sibTransId="{A01EA1F6-9DE2-45E9-B73B-C6C005B2BFCB}"/>
    <dgm:cxn modelId="{E4771339-31AF-43C2-B2C1-438D4F4BA50C}" srcId="{6F1EA660-DFB7-420B-8A33-404DB8B2999B}" destId="{F0952F04-76A5-4E0C-A203-3F93240A2415}" srcOrd="3" destOrd="0" parTransId="{128C8CD0-95F9-498B-9BC3-158B271EA8FD}" sibTransId="{1B680CE6-2BA9-4A31-8100-B7F3123D5C4F}"/>
    <dgm:cxn modelId="{953A8229-BCF2-4257-8D51-CBD0CF0B67FF}" type="presParOf" srcId="{88F6BC8A-EEF1-4A36-B85D-D8A13845F099}" destId="{01C260D6-2BC1-44AD-B717-FB96F83CD9A9}" srcOrd="0" destOrd="0" presId="urn:microsoft.com/office/officeart/2005/8/layout/matrix3"/>
    <dgm:cxn modelId="{B9458237-12BC-4D09-A3FC-1E9FBB6BBE49}" type="presParOf" srcId="{88F6BC8A-EEF1-4A36-B85D-D8A13845F099}" destId="{702E7AE2-10E1-4145-924A-FC0398FF6A77}" srcOrd="1" destOrd="0" presId="urn:microsoft.com/office/officeart/2005/8/layout/matrix3"/>
    <dgm:cxn modelId="{DE1909F5-86C6-4055-BAD1-40467D351E76}" type="presParOf" srcId="{88F6BC8A-EEF1-4A36-B85D-D8A13845F099}" destId="{6DBBD5FC-717F-4969-B214-FD8BFB982B63}" srcOrd="2" destOrd="0" presId="urn:microsoft.com/office/officeart/2005/8/layout/matrix3"/>
    <dgm:cxn modelId="{4050587E-D411-40D0-9455-A0C313F1D17C}" type="presParOf" srcId="{88F6BC8A-EEF1-4A36-B85D-D8A13845F099}" destId="{12A89932-CD26-4FC5-9970-4DF613AF727B}" srcOrd="3" destOrd="0" presId="urn:microsoft.com/office/officeart/2005/8/layout/matrix3"/>
    <dgm:cxn modelId="{B8B67913-D69C-481C-8A17-F6DA30D84564}" type="presParOf" srcId="{88F6BC8A-EEF1-4A36-B85D-D8A13845F099}" destId="{636F6544-720A-44ED-9500-0D87F3CA4797}" srcOrd="4" destOrd="0" presId="urn:microsoft.com/office/officeart/2005/8/layout/matrix3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13.xml><?xml version="1.0" encoding="utf-8"?>
<dgm:dataModel xmlns:dgm="http://schemas.openxmlformats.org/drawingml/2006/diagram" xmlns:a="http://schemas.openxmlformats.org/drawingml/2006/main">
  <dgm:ptLst>
    <dgm:pt modelId="{08736941-DA6A-4D49-B1D7-8270434AA75F}" type="doc">
      <dgm:prSet loTypeId="urn:microsoft.com/office/officeart/2005/8/layout/default" loCatId="list" qsTypeId="urn:microsoft.com/office/officeart/2005/8/quickstyle/3d5" qsCatId="3D" csTypeId="urn:microsoft.com/office/officeart/2005/8/colors/accent1_4" csCatId="accent1" phldr="1"/>
      <dgm:spPr/>
      <dgm:t>
        <a:bodyPr/>
        <a:lstStyle/>
        <a:p>
          <a:pPr latinLnBrk="1"/>
          <a:endParaRPr lang="ko-KR" altLang="en-US"/>
        </a:p>
      </dgm:t>
    </dgm:pt>
    <dgm:pt modelId="{2B9E9284-953F-43DB-9102-8E0BAC4801E0}">
      <dgm:prSet phldrT="[텍스트]" custT="1"/>
      <dgm:spPr/>
      <dgm:t>
        <a:bodyPr/>
        <a:lstStyle/>
        <a:p>
          <a:pPr latinLnBrk="1"/>
          <a:r>
            <a:rPr lang="ko-KR" altLang="en-US" sz="2000" b="1" i="1" dirty="0" smtClean="0">
              <a:solidFill>
                <a:schemeClr val="bg1"/>
              </a:solidFill>
            </a:rPr>
            <a:t>수익제고 </a:t>
          </a:r>
          <a:endParaRPr lang="ko-KR" altLang="en-US" sz="2000" b="1" i="1" dirty="0">
            <a:solidFill>
              <a:schemeClr val="bg1"/>
            </a:solidFill>
          </a:endParaRPr>
        </a:p>
      </dgm:t>
    </dgm:pt>
    <dgm:pt modelId="{163100F3-AECC-435B-BAA4-D0C6A7CCDCE7}" type="parTrans" cxnId="{27DB8152-DC92-42B5-90BE-222AFB2714BF}">
      <dgm:prSet/>
      <dgm:spPr/>
      <dgm:t>
        <a:bodyPr/>
        <a:lstStyle/>
        <a:p>
          <a:pPr latinLnBrk="1"/>
          <a:endParaRPr lang="ko-KR" altLang="en-US" sz="1800" b="1" i="1">
            <a:solidFill>
              <a:schemeClr val="tx1"/>
            </a:solidFill>
          </a:endParaRPr>
        </a:p>
      </dgm:t>
    </dgm:pt>
    <dgm:pt modelId="{41B35989-5F55-49FE-B59F-5B0E519E48B6}" type="sibTrans" cxnId="{27DB8152-DC92-42B5-90BE-222AFB2714BF}">
      <dgm:prSet/>
      <dgm:spPr/>
      <dgm:t>
        <a:bodyPr/>
        <a:lstStyle/>
        <a:p>
          <a:pPr latinLnBrk="1"/>
          <a:endParaRPr lang="ko-KR" altLang="en-US" sz="1800" b="1" i="1">
            <a:solidFill>
              <a:schemeClr val="tx1"/>
            </a:solidFill>
          </a:endParaRPr>
        </a:p>
      </dgm:t>
    </dgm:pt>
    <dgm:pt modelId="{5AC1969C-33E8-4DDD-9824-182EE13D94E4}">
      <dgm:prSet phldrT="[텍스트]" custT="1"/>
      <dgm:spPr/>
      <dgm:t>
        <a:bodyPr/>
        <a:lstStyle/>
        <a:p>
          <a:pPr latinLnBrk="1"/>
          <a:r>
            <a:rPr lang="ko-KR" altLang="en-US" sz="1800" b="1" i="1" dirty="0">
              <a:solidFill>
                <a:schemeClr val="tx1"/>
              </a:solidFill>
            </a:rPr>
            <a:t>리스크 관리</a:t>
          </a:r>
        </a:p>
      </dgm:t>
    </dgm:pt>
    <dgm:pt modelId="{EFA952FE-65B7-4F9C-B81B-F80EB858A214}" type="parTrans" cxnId="{107CF2E2-9D2E-44AD-A181-C3D1E4B05D9F}">
      <dgm:prSet/>
      <dgm:spPr/>
      <dgm:t>
        <a:bodyPr/>
        <a:lstStyle/>
        <a:p>
          <a:pPr latinLnBrk="1"/>
          <a:endParaRPr lang="ko-KR" altLang="en-US" sz="1800" b="1" i="1">
            <a:solidFill>
              <a:schemeClr val="tx1"/>
            </a:solidFill>
          </a:endParaRPr>
        </a:p>
      </dgm:t>
    </dgm:pt>
    <dgm:pt modelId="{AE07FA74-E76C-47E0-83EE-C19725D998B1}" type="sibTrans" cxnId="{107CF2E2-9D2E-44AD-A181-C3D1E4B05D9F}">
      <dgm:prSet/>
      <dgm:spPr/>
      <dgm:t>
        <a:bodyPr/>
        <a:lstStyle/>
        <a:p>
          <a:pPr latinLnBrk="1"/>
          <a:endParaRPr lang="ko-KR" altLang="en-US" sz="1800" b="1" i="1">
            <a:solidFill>
              <a:schemeClr val="tx1"/>
            </a:solidFill>
          </a:endParaRPr>
        </a:p>
      </dgm:t>
    </dgm:pt>
    <dgm:pt modelId="{C591720D-127E-4B8B-A438-3018ED5FE6B9}">
      <dgm:prSet phldrT="[텍스트]" custT="1"/>
      <dgm:spPr/>
      <dgm:t>
        <a:bodyPr/>
        <a:lstStyle/>
        <a:p>
          <a:pPr latinLnBrk="1"/>
          <a:r>
            <a:rPr lang="ko-KR" altLang="en-US" sz="1800" b="1" i="1" dirty="0" smtClean="0">
              <a:solidFill>
                <a:schemeClr val="tx1"/>
              </a:solidFill>
            </a:rPr>
            <a:t>시간 </a:t>
          </a:r>
          <a:r>
            <a:rPr lang="en-US" altLang="ko-KR" sz="1800" b="1" i="1" dirty="0" smtClean="0">
              <a:solidFill>
                <a:schemeClr val="tx1"/>
              </a:solidFill>
            </a:rPr>
            <a:t>/</a:t>
          </a:r>
          <a:r>
            <a:rPr lang="ko-KR" altLang="en-US" sz="1800" b="1" i="1" dirty="0" smtClean="0">
              <a:solidFill>
                <a:schemeClr val="tx1"/>
              </a:solidFill>
            </a:rPr>
            <a:t>비용감소 </a:t>
          </a:r>
          <a:endParaRPr lang="ko-KR" altLang="en-US" sz="1800" b="1" i="1" dirty="0">
            <a:solidFill>
              <a:schemeClr val="tx1"/>
            </a:solidFill>
          </a:endParaRPr>
        </a:p>
      </dgm:t>
    </dgm:pt>
    <dgm:pt modelId="{5D69BD79-CEC8-4AD3-B0A2-121DFD817A43}" type="parTrans" cxnId="{73E84E4A-AF62-4913-9047-92E1104A6C97}">
      <dgm:prSet/>
      <dgm:spPr/>
      <dgm:t>
        <a:bodyPr/>
        <a:lstStyle/>
        <a:p>
          <a:pPr latinLnBrk="1"/>
          <a:endParaRPr lang="ko-KR" altLang="en-US" sz="1800" b="1" i="1">
            <a:solidFill>
              <a:schemeClr val="tx1"/>
            </a:solidFill>
          </a:endParaRPr>
        </a:p>
      </dgm:t>
    </dgm:pt>
    <dgm:pt modelId="{0DAEEBD0-84DA-4CCE-99A0-1447D0593767}" type="sibTrans" cxnId="{73E84E4A-AF62-4913-9047-92E1104A6C97}">
      <dgm:prSet/>
      <dgm:spPr/>
      <dgm:t>
        <a:bodyPr/>
        <a:lstStyle/>
        <a:p>
          <a:pPr latinLnBrk="1"/>
          <a:endParaRPr lang="ko-KR" altLang="en-US" sz="1800" b="1" i="1">
            <a:solidFill>
              <a:schemeClr val="tx1"/>
            </a:solidFill>
          </a:endParaRPr>
        </a:p>
      </dgm:t>
    </dgm:pt>
    <dgm:pt modelId="{2234A29A-FDDE-4B7C-A6DA-F68D2BA96723}">
      <dgm:prSet phldrT="[텍스트]" custT="1"/>
      <dgm:spPr>
        <a:solidFill>
          <a:schemeClr val="accent2">
            <a:lumMod val="20000"/>
            <a:lumOff val="80000"/>
          </a:schemeClr>
        </a:solidFill>
      </dgm:spPr>
      <dgm:t>
        <a:bodyPr/>
        <a:lstStyle/>
        <a:p>
          <a:pPr latinLnBrk="1"/>
          <a:r>
            <a:rPr lang="ko-KR" altLang="en-US" sz="1800" b="1" i="1" dirty="0" smtClean="0">
              <a:solidFill>
                <a:schemeClr val="tx1"/>
              </a:solidFill>
            </a:rPr>
            <a:t>투자  지속 경제성</a:t>
          </a:r>
          <a:endParaRPr lang="en-US" altLang="ko-KR" sz="1800" b="1" i="1" dirty="0" smtClean="0">
            <a:solidFill>
              <a:schemeClr val="tx1"/>
            </a:solidFill>
          </a:endParaRPr>
        </a:p>
      </dgm:t>
    </dgm:pt>
    <dgm:pt modelId="{1113F6A3-55EF-4771-8B23-0FF0C42E0C55}" type="parTrans" cxnId="{18F16EA1-6044-4F03-8D7E-08ACD55AE1D5}">
      <dgm:prSet/>
      <dgm:spPr/>
      <dgm:t>
        <a:bodyPr/>
        <a:lstStyle/>
        <a:p>
          <a:pPr latinLnBrk="1"/>
          <a:endParaRPr lang="ko-KR" altLang="en-US" sz="1800" b="1" i="1">
            <a:solidFill>
              <a:schemeClr val="tx1"/>
            </a:solidFill>
          </a:endParaRPr>
        </a:p>
      </dgm:t>
    </dgm:pt>
    <dgm:pt modelId="{232EE1DC-D0C4-4A34-9C45-AAA916EBE6F2}" type="sibTrans" cxnId="{18F16EA1-6044-4F03-8D7E-08ACD55AE1D5}">
      <dgm:prSet/>
      <dgm:spPr/>
      <dgm:t>
        <a:bodyPr/>
        <a:lstStyle/>
        <a:p>
          <a:pPr latinLnBrk="1"/>
          <a:endParaRPr lang="ko-KR" altLang="en-US" sz="1800" b="1" i="1">
            <a:solidFill>
              <a:schemeClr val="tx1"/>
            </a:solidFill>
          </a:endParaRPr>
        </a:p>
      </dgm:t>
    </dgm:pt>
    <dgm:pt modelId="{C0A5FD6F-E659-429B-A644-B86BD829CDA1}">
      <dgm:prSet phldrT="[텍스트]" custT="1"/>
      <dgm:spPr>
        <a:solidFill>
          <a:srgbClr val="FF0000"/>
        </a:solidFill>
      </dgm:spPr>
      <dgm:t>
        <a:bodyPr/>
        <a:lstStyle/>
        <a:p>
          <a:pPr latinLnBrk="1"/>
          <a:r>
            <a:rPr lang="ko-KR" altLang="en-US" sz="2400" b="1" i="1" dirty="0" smtClean="0">
              <a:solidFill>
                <a:schemeClr val="bg1"/>
              </a:solidFill>
            </a:rPr>
            <a:t>비즈니스 경쟁력  </a:t>
          </a:r>
          <a:endParaRPr lang="ko-KR" altLang="en-US" sz="2400" b="1" i="1" dirty="0">
            <a:solidFill>
              <a:schemeClr val="bg1"/>
            </a:solidFill>
          </a:endParaRPr>
        </a:p>
      </dgm:t>
    </dgm:pt>
    <dgm:pt modelId="{9593F77B-88C3-4F28-9268-C11B67779C79}" type="parTrans" cxnId="{6F525AA3-48EC-458B-BD3E-BDC73AF5197A}">
      <dgm:prSet/>
      <dgm:spPr/>
      <dgm:t>
        <a:bodyPr/>
        <a:lstStyle/>
        <a:p>
          <a:pPr latinLnBrk="1"/>
          <a:endParaRPr lang="ko-KR" altLang="en-US" sz="1800" b="1" i="1">
            <a:solidFill>
              <a:schemeClr val="tx1"/>
            </a:solidFill>
          </a:endParaRPr>
        </a:p>
      </dgm:t>
    </dgm:pt>
    <dgm:pt modelId="{48C18971-89A4-48F4-83D3-5B6BF411E80C}" type="sibTrans" cxnId="{6F525AA3-48EC-458B-BD3E-BDC73AF5197A}">
      <dgm:prSet/>
      <dgm:spPr/>
      <dgm:t>
        <a:bodyPr/>
        <a:lstStyle/>
        <a:p>
          <a:pPr latinLnBrk="1"/>
          <a:endParaRPr lang="ko-KR" altLang="en-US" sz="1800" b="1" i="1">
            <a:solidFill>
              <a:schemeClr val="tx1"/>
            </a:solidFill>
          </a:endParaRPr>
        </a:p>
      </dgm:t>
    </dgm:pt>
    <dgm:pt modelId="{0F3B005C-55D1-49A9-9F92-895F69233F0B}">
      <dgm:prSet/>
      <dgm:spPr>
        <a:solidFill>
          <a:srgbClr val="FFC000"/>
        </a:solidFill>
      </dgm:spPr>
      <dgm:t>
        <a:bodyPr/>
        <a:lstStyle/>
        <a:p>
          <a:pPr latinLnBrk="1"/>
          <a:r>
            <a:rPr lang="en-US" altLang="ko-KR" dirty="0" smtClean="0">
              <a:solidFill>
                <a:schemeClr val="tx1"/>
              </a:solidFill>
            </a:rPr>
            <a:t>M&amp;A</a:t>
          </a:r>
          <a:endParaRPr lang="ko-KR" altLang="en-US" dirty="0">
            <a:solidFill>
              <a:schemeClr val="tx1"/>
            </a:solidFill>
          </a:endParaRPr>
        </a:p>
      </dgm:t>
    </dgm:pt>
    <dgm:pt modelId="{78D4FC3E-00F8-4110-AB60-86D2FF515814}" type="parTrans" cxnId="{1F33A33F-4D3E-4A0A-8D15-69FC3395D0E2}">
      <dgm:prSet/>
      <dgm:spPr/>
      <dgm:t>
        <a:bodyPr/>
        <a:lstStyle/>
        <a:p>
          <a:pPr latinLnBrk="1"/>
          <a:endParaRPr lang="ko-KR" altLang="en-US"/>
        </a:p>
      </dgm:t>
    </dgm:pt>
    <dgm:pt modelId="{08D4F463-4A1D-4DFE-BF69-A3AAE55BB19A}" type="sibTrans" cxnId="{1F33A33F-4D3E-4A0A-8D15-69FC3395D0E2}">
      <dgm:prSet/>
      <dgm:spPr/>
      <dgm:t>
        <a:bodyPr/>
        <a:lstStyle/>
        <a:p>
          <a:pPr latinLnBrk="1"/>
          <a:endParaRPr lang="ko-KR" altLang="en-US"/>
        </a:p>
      </dgm:t>
    </dgm:pt>
    <dgm:pt modelId="{F247B774-B987-40B5-8BE0-6329D8D95ACD}" type="pres">
      <dgm:prSet presAssocID="{08736941-DA6A-4D49-B1D7-8270434AA75F}" presName="diagram" presStyleCnt="0">
        <dgm:presLayoutVars>
          <dgm:dir/>
          <dgm:resizeHandles val="exact"/>
        </dgm:presLayoutVars>
      </dgm:prSet>
      <dgm:spPr/>
      <dgm:t>
        <a:bodyPr/>
        <a:lstStyle/>
        <a:p>
          <a:pPr latinLnBrk="1"/>
          <a:endParaRPr lang="ko-KR" altLang="en-US"/>
        </a:p>
      </dgm:t>
    </dgm:pt>
    <dgm:pt modelId="{F7C9D3BA-5BA1-40F0-8A60-603C11465777}" type="pres">
      <dgm:prSet presAssocID="{2B9E9284-953F-43DB-9102-8E0BAC4801E0}" presName="node" presStyleLbl="node1" presStyleIdx="0" presStyleCnt="6">
        <dgm:presLayoutVars>
          <dgm:bulletEnabled val="1"/>
        </dgm:presLayoutVars>
      </dgm:prSet>
      <dgm:spPr/>
      <dgm:t>
        <a:bodyPr/>
        <a:lstStyle/>
        <a:p>
          <a:pPr latinLnBrk="1"/>
          <a:endParaRPr lang="ko-KR" altLang="en-US"/>
        </a:p>
      </dgm:t>
    </dgm:pt>
    <dgm:pt modelId="{C5AAD067-7124-4FDE-96FC-4DFECC4DB71B}" type="pres">
      <dgm:prSet presAssocID="{41B35989-5F55-49FE-B59F-5B0E519E48B6}" presName="sibTrans" presStyleCnt="0"/>
      <dgm:spPr/>
      <dgm:t>
        <a:bodyPr/>
        <a:lstStyle/>
        <a:p>
          <a:pPr latinLnBrk="1"/>
          <a:endParaRPr lang="ko-KR" altLang="en-US"/>
        </a:p>
      </dgm:t>
    </dgm:pt>
    <dgm:pt modelId="{570CF9B0-5408-479A-83A8-C5695C0EA74A}" type="pres">
      <dgm:prSet presAssocID="{5AC1969C-33E8-4DDD-9824-182EE13D94E4}" presName="node" presStyleLbl="node1" presStyleIdx="1" presStyleCnt="6">
        <dgm:presLayoutVars>
          <dgm:bulletEnabled val="1"/>
        </dgm:presLayoutVars>
      </dgm:prSet>
      <dgm:spPr/>
      <dgm:t>
        <a:bodyPr/>
        <a:lstStyle/>
        <a:p>
          <a:pPr latinLnBrk="1"/>
          <a:endParaRPr lang="ko-KR" altLang="en-US"/>
        </a:p>
      </dgm:t>
    </dgm:pt>
    <dgm:pt modelId="{36CDC3D5-FD8F-4DF1-AB12-A42A816E880F}" type="pres">
      <dgm:prSet presAssocID="{AE07FA74-E76C-47E0-83EE-C19725D998B1}" presName="sibTrans" presStyleCnt="0"/>
      <dgm:spPr/>
      <dgm:t>
        <a:bodyPr/>
        <a:lstStyle/>
        <a:p>
          <a:pPr latinLnBrk="1"/>
          <a:endParaRPr lang="ko-KR" altLang="en-US"/>
        </a:p>
      </dgm:t>
    </dgm:pt>
    <dgm:pt modelId="{20FD20D8-E5C8-4D39-9552-03327033DC14}" type="pres">
      <dgm:prSet presAssocID="{C591720D-127E-4B8B-A438-3018ED5FE6B9}" presName="node" presStyleLbl="node1" presStyleIdx="2" presStyleCnt="6">
        <dgm:presLayoutVars>
          <dgm:bulletEnabled val="1"/>
        </dgm:presLayoutVars>
      </dgm:prSet>
      <dgm:spPr/>
      <dgm:t>
        <a:bodyPr/>
        <a:lstStyle/>
        <a:p>
          <a:pPr latinLnBrk="1"/>
          <a:endParaRPr lang="ko-KR" altLang="en-US"/>
        </a:p>
      </dgm:t>
    </dgm:pt>
    <dgm:pt modelId="{936E997E-28C7-404C-8870-4B9FBC84C124}" type="pres">
      <dgm:prSet presAssocID="{0DAEEBD0-84DA-4CCE-99A0-1447D0593767}" presName="sibTrans" presStyleCnt="0"/>
      <dgm:spPr/>
      <dgm:t>
        <a:bodyPr/>
        <a:lstStyle/>
        <a:p>
          <a:pPr latinLnBrk="1"/>
          <a:endParaRPr lang="ko-KR" altLang="en-US"/>
        </a:p>
      </dgm:t>
    </dgm:pt>
    <dgm:pt modelId="{437D9D72-4DEB-4B8A-B524-227FDF19423A}" type="pres">
      <dgm:prSet presAssocID="{0F3B005C-55D1-49A9-9F92-895F69233F0B}" presName="node" presStyleLbl="node1" presStyleIdx="3" presStyleCnt="6">
        <dgm:presLayoutVars>
          <dgm:bulletEnabled val="1"/>
        </dgm:presLayoutVars>
      </dgm:prSet>
      <dgm:spPr/>
      <dgm:t>
        <a:bodyPr/>
        <a:lstStyle/>
        <a:p>
          <a:pPr latinLnBrk="1"/>
          <a:endParaRPr lang="ko-KR" altLang="en-US"/>
        </a:p>
      </dgm:t>
    </dgm:pt>
    <dgm:pt modelId="{DF497DEC-9EEE-4E7D-91D3-C32B9F54F8E3}" type="pres">
      <dgm:prSet presAssocID="{08D4F463-4A1D-4DFE-BF69-A3AAE55BB19A}" presName="sibTrans" presStyleCnt="0"/>
      <dgm:spPr/>
    </dgm:pt>
    <dgm:pt modelId="{6DF7DCBC-0630-4C84-B544-38A29CB136AB}" type="pres">
      <dgm:prSet presAssocID="{2234A29A-FDDE-4B7C-A6DA-F68D2BA96723}" presName="node" presStyleLbl="node1" presStyleIdx="4" presStyleCnt="6" custLinFactNeighborX="-14407" custLinFactNeighborY="-5482">
        <dgm:presLayoutVars>
          <dgm:bulletEnabled val="1"/>
        </dgm:presLayoutVars>
      </dgm:prSet>
      <dgm:spPr/>
      <dgm:t>
        <a:bodyPr/>
        <a:lstStyle/>
        <a:p>
          <a:pPr latinLnBrk="1"/>
          <a:endParaRPr lang="ko-KR" altLang="en-US"/>
        </a:p>
      </dgm:t>
    </dgm:pt>
    <dgm:pt modelId="{45BFADB9-32E1-4764-A8DE-D61DCA263758}" type="pres">
      <dgm:prSet presAssocID="{232EE1DC-D0C4-4A34-9C45-AAA916EBE6F2}" presName="sibTrans" presStyleCnt="0"/>
      <dgm:spPr/>
      <dgm:t>
        <a:bodyPr/>
        <a:lstStyle/>
        <a:p>
          <a:pPr latinLnBrk="1"/>
          <a:endParaRPr lang="ko-KR" altLang="en-US"/>
        </a:p>
      </dgm:t>
    </dgm:pt>
    <dgm:pt modelId="{2C8C43BD-4037-4C93-96D9-F0EB6A72AB55}" type="pres">
      <dgm:prSet presAssocID="{C0A5FD6F-E659-429B-A644-B86BD829CDA1}" presName="node" presStyleLbl="node1" presStyleIdx="5" presStyleCnt="6" custLinFactNeighborX="-4907" custLinFactNeighborY="30091">
        <dgm:presLayoutVars>
          <dgm:bulletEnabled val="1"/>
        </dgm:presLayoutVars>
      </dgm:prSet>
      <dgm:spPr/>
      <dgm:t>
        <a:bodyPr/>
        <a:lstStyle/>
        <a:p>
          <a:pPr latinLnBrk="1"/>
          <a:endParaRPr lang="ko-KR" altLang="en-US"/>
        </a:p>
      </dgm:t>
    </dgm:pt>
  </dgm:ptLst>
  <dgm:cxnLst>
    <dgm:cxn modelId="{107CF2E2-9D2E-44AD-A181-C3D1E4B05D9F}" srcId="{08736941-DA6A-4D49-B1D7-8270434AA75F}" destId="{5AC1969C-33E8-4DDD-9824-182EE13D94E4}" srcOrd="1" destOrd="0" parTransId="{EFA952FE-65B7-4F9C-B81B-F80EB858A214}" sibTransId="{AE07FA74-E76C-47E0-83EE-C19725D998B1}"/>
    <dgm:cxn modelId="{7EE7D61D-811E-45CB-9731-EA06AFAFABE7}" type="presOf" srcId="{C0A5FD6F-E659-429B-A644-B86BD829CDA1}" destId="{2C8C43BD-4037-4C93-96D9-F0EB6A72AB55}" srcOrd="0" destOrd="0" presId="urn:microsoft.com/office/officeart/2005/8/layout/default"/>
    <dgm:cxn modelId="{9AA951B5-353A-4365-8B07-8F2CEA2E65DA}" type="presOf" srcId="{2234A29A-FDDE-4B7C-A6DA-F68D2BA96723}" destId="{6DF7DCBC-0630-4C84-B544-38A29CB136AB}" srcOrd="0" destOrd="0" presId="urn:microsoft.com/office/officeart/2005/8/layout/default"/>
    <dgm:cxn modelId="{27DB8152-DC92-42B5-90BE-222AFB2714BF}" srcId="{08736941-DA6A-4D49-B1D7-8270434AA75F}" destId="{2B9E9284-953F-43DB-9102-8E0BAC4801E0}" srcOrd="0" destOrd="0" parTransId="{163100F3-AECC-435B-BAA4-D0C6A7CCDCE7}" sibTransId="{41B35989-5F55-49FE-B59F-5B0E519E48B6}"/>
    <dgm:cxn modelId="{E9AD8732-5161-4B45-9CCE-646826611CED}" type="presOf" srcId="{2B9E9284-953F-43DB-9102-8E0BAC4801E0}" destId="{F7C9D3BA-5BA1-40F0-8A60-603C11465777}" srcOrd="0" destOrd="0" presId="urn:microsoft.com/office/officeart/2005/8/layout/default"/>
    <dgm:cxn modelId="{6F525AA3-48EC-458B-BD3E-BDC73AF5197A}" srcId="{08736941-DA6A-4D49-B1D7-8270434AA75F}" destId="{C0A5FD6F-E659-429B-A644-B86BD829CDA1}" srcOrd="5" destOrd="0" parTransId="{9593F77B-88C3-4F28-9268-C11B67779C79}" sibTransId="{48C18971-89A4-48F4-83D3-5B6BF411E80C}"/>
    <dgm:cxn modelId="{73E84E4A-AF62-4913-9047-92E1104A6C97}" srcId="{08736941-DA6A-4D49-B1D7-8270434AA75F}" destId="{C591720D-127E-4B8B-A438-3018ED5FE6B9}" srcOrd="2" destOrd="0" parTransId="{5D69BD79-CEC8-4AD3-B0A2-121DFD817A43}" sibTransId="{0DAEEBD0-84DA-4CCE-99A0-1447D0593767}"/>
    <dgm:cxn modelId="{1F33A33F-4D3E-4A0A-8D15-69FC3395D0E2}" srcId="{08736941-DA6A-4D49-B1D7-8270434AA75F}" destId="{0F3B005C-55D1-49A9-9F92-895F69233F0B}" srcOrd="3" destOrd="0" parTransId="{78D4FC3E-00F8-4110-AB60-86D2FF515814}" sibTransId="{08D4F463-4A1D-4DFE-BF69-A3AAE55BB19A}"/>
    <dgm:cxn modelId="{7449DB0D-6A23-4D7F-A6E5-B796A2B1A9BA}" type="presOf" srcId="{C591720D-127E-4B8B-A438-3018ED5FE6B9}" destId="{20FD20D8-E5C8-4D39-9552-03327033DC14}" srcOrd="0" destOrd="0" presId="urn:microsoft.com/office/officeart/2005/8/layout/default"/>
    <dgm:cxn modelId="{102D41AF-C200-4AA8-B036-5E7235082FDB}" type="presOf" srcId="{5AC1969C-33E8-4DDD-9824-182EE13D94E4}" destId="{570CF9B0-5408-479A-83A8-C5695C0EA74A}" srcOrd="0" destOrd="0" presId="urn:microsoft.com/office/officeart/2005/8/layout/default"/>
    <dgm:cxn modelId="{28CC0B3F-6744-41E8-B7D2-B80AA2DE4B48}" type="presOf" srcId="{08736941-DA6A-4D49-B1D7-8270434AA75F}" destId="{F247B774-B987-40B5-8BE0-6329D8D95ACD}" srcOrd="0" destOrd="0" presId="urn:microsoft.com/office/officeart/2005/8/layout/default"/>
    <dgm:cxn modelId="{8CBFCF25-3D34-469E-9157-D500EA52F256}" type="presOf" srcId="{0F3B005C-55D1-49A9-9F92-895F69233F0B}" destId="{437D9D72-4DEB-4B8A-B524-227FDF19423A}" srcOrd="0" destOrd="0" presId="urn:microsoft.com/office/officeart/2005/8/layout/default"/>
    <dgm:cxn modelId="{18F16EA1-6044-4F03-8D7E-08ACD55AE1D5}" srcId="{08736941-DA6A-4D49-B1D7-8270434AA75F}" destId="{2234A29A-FDDE-4B7C-A6DA-F68D2BA96723}" srcOrd="4" destOrd="0" parTransId="{1113F6A3-55EF-4771-8B23-0FF0C42E0C55}" sibTransId="{232EE1DC-D0C4-4A34-9C45-AAA916EBE6F2}"/>
    <dgm:cxn modelId="{02A81ADF-31FE-435A-A171-19C0BA54489B}" type="presParOf" srcId="{F247B774-B987-40B5-8BE0-6329D8D95ACD}" destId="{F7C9D3BA-5BA1-40F0-8A60-603C11465777}" srcOrd="0" destOrd="0" presId="urn:microsoft.com/office/officeart/2005/8/layout/default"/>
    <dgm:cxn modelId="{FCE556AB-8923-4737-8E3B-597ACF2FEFC1}" type="presParOf" srcId="{F247B774-B987-40B5-8BE0-6329D8D95ACD}" destId="{C5AAD067-7124-4FDE-96FC-4DFECC4DB71B}" srcOrd="1" destOrd="0" presId="urn:microsoft.com/office/officeart/2005/8/layout/default"/>
    <dgm:cxn modelId="{1F534067-D590-4973-A502-294E3ACB1DE5}" type="presParOf" srcId="{F247B774-B987-40B5-8BE0-6329D8D95ACD}" destId="{570CF9B0-5408-479A-83A8-C5695C0EA74A}" srcOrd="2" destOrd="0" presId="urn:microsoft.com/office/officeart/2005/8/layout/default"/>
    <dgm:cxn modelId="{F2D445E3-FBBE-47ED-AB23-92D6F4218869}" type="presParOf" srcId="{F247B774-B987-40B5-8BE0-6329D8D95ACD}" destId="{36CDC3D5-FD8F-4DF1-AB12-A42A816E880F}" srcOrd="3" destOrd="0" presId="urn:microsoft.com/office/officeart/2005/8/layout/default"/>
    <dgm:cxn modelId="{EFAF999B-FEC3-4A2C-A11E-2CD5AB63E53A}" type="presParOf" srcId="{F247B774-B987-40B5-8BE0-6329D8D95ACD}" destId="{20FD20D8-E5C8-4D39-9552-03327033DC14}" srcOrd="4" destOrd="0" presId="urn:microsoft.com/office/officeart/2005/8/layout/default"/>
    <dgm:cxn modelId="{85A0EF89-7D84-43FF-BFE6-AD22D4E25E13}" type="presParOf" srcId="{F247B774-B987-40B5-8BE0-6329D8D95ACD}" destId="{936E997E-28C7-404C-8870-4B9FBC84C124}" srcOrd="5" destOrd="0" presId="urn:microsoft.com/office/officeart/2005/8/layout/default"/>
    <dgm:cxn modelId="{FD457494-8C4B-4A15-BBFC-E6F8E23E419D}" type="presParOf" srcId="{F247B774-B987-40B5-8BE0-6329D8D95ACD}" destId="{437D9D72-4DEB-4B8A-B524-227FDF19423A}" srcOrd="6" destOrd="0" presId="urn:microsoft.com/office/officeart/2005/8/layout/default"/>
    <dgm:cxn modelId="{659F9722-2764-417E-9C79-7179514893A2}" type="presParOf" srcId="{F247B774-B987-40B5-8BE0-6329D8D95ACD}" destId="{DF497DEC-9EEE-4E7D-91D3-C32B9F54F8E3}" srcOrd="7" destOrd="0" presId="urn:microsoft.com/office/officeart/2005/8/layout/default"/>
    <dgm:cxn modelId="{5AE66119-7AE4-45D3-9EB7-17B1DCCC7412}" type="presParOf" srcId="{F247B774-B987-40B5-8BE0-6329D8D95ACD}" destId="{6DF7DCBC-0630-4C84-B544-38A29CB136AB}" srcOrd="8" destOrd="0" presId="urn:microsoft.com/office/officeart/2005/8/layout/default"/>
    <dgm:cxn modelId="{718BB1AD-1FCB-43BA-AE1D-9B99B6228770}" type="presParOf" srcId="{F247B774-B987-40B5-8BE0-6329D8D95ACD}" destId="{45BFADB9-32E1-4764-A8DE-D61DCA263758}" srcOrd="9" destOrd="0" presId="urn:microsoft.com/office/officeart/2005/8/layout/default"/>
    <dgm:cxn modelId="{712BA67D-33A8-4104-9F90-8029572C4BE1}" type="presParOf" srcId="{F247B774-B987-40B5-8BE0-6329D8D95ACD}" destId="{2C8C43BD-4037-4C93-96D9-F0EB6A72AB55}" srcOrd="10" destOrd="0" presId="urn:microsoft.com/office/officeart/2005/8/layout/default"/>
  </dgm:cxnLst>
  <dgm:bg/>
  <dgm:whole/>
  <dgm:extLst>
    <a:ext uri="http://schemas.microsoft.com/office/drawing/2008/diagram">
      <dsp:dataModelExt xmlns:dsp="http://schemas.microsoft.com/office/drawing/2008/diagram" relId="rId12" minVer="http://schemas.openxmlformats.org/drawingml/2006/diagram"/>
    </a:ext>
  </dgm:extLst>
</dgm:dataModel>
</file>

<file path=ppt/diagrams/data14.xml><?xml version="1.0" encoding="utf-8"?>
<dgm:dataModel xmlns:dgm="http://schemas.openxmlformats.org/drawingml/2006/diagram" xmlns:a="http://schemas.openxmlformats.org/drawingml/2006/main">
  <dgm:ptLst>
    <dgm:pt modelId="{BCAD3EDB-0BB4-4744-A607-BBA6DC71851A}" type="doc">
      <dgm:prSet loTypeId="urn:microsoft.com/office/officeart/2005/8/layout/matrix3" loCatId="matrix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pPr latinLnBrk="1"/>
          <a:endParaRPr lang="ko-KR" altLang="en-US"/>
        </a:p>
      </dgm:t>
    </dgm:pt>
    <dgm:pt modelId="{4A1D1F22-0B64-46D4-BFDB-E8CD657B49BE}">
      <dgm:prSet phldrT="[텍스트]"/>
      <dgm:spPr>
        <a:solidFill>
          <a:schemeClr val="accent6">
            <a:lumMod val="75000"/>
          </a:schemeClr>
        </a:solidFill>
      </dgm:spPr>
      <dgm:t>
        <a:bodyPr/>
        <a:lstStyle/>
        <a:p>
          <a:pPr latinLnBrk="1"/>
          <a:r>
            <a:rPr lang="ko-KR" altLang="en-US" dirty="0" smtClean="0"/>
            <a:t>대내외 데이터 수집</a:t>
          </a:r>
          <a:endParaRPr lang="ko-KR" altLang="en-US" dirty="0"/>
        </a:p>
      </dgm:t>
    </dgm:pt>
    <dgm:pt modelId="{DE2121F3-FA97-4603-B968-D67B8A875363}" type="parTrans" cxnId="{D0F7B4FB-7C16-46B2-B355-2AF762FAE87F}">
      <dgm:prSet/>
      <dgm:spPr/>
      <dgm:t>
        <a:bodyPr/>
        <a:lstStyle/>
        <a:p>
          <a:pPr latinLnBrk="1"/>
          <a:endParaRPr lang="ko-KR" altLang="en-US"/>
        </a:p>
      </dgm:t>
    </dgm:pt>
    <dgm:pt modelId="{67A9D441-65F3-4900-8B2B-86278629A73C}" type="sibTrans" cxnId="{D0F7B4FB-7C16-46B2-B355-2AF762FAE87F}">
      <dgm:prSet/>
      <dgm:spPr/>
      <dgm:t>
        <a:bodyPr/>
        <a:lstStyle/>
        <a:p>
          <a:pPr latinLnBrk="1"/>
          <a:endParaRPr lang="ko-KR" altLang="en-US"/>
        </a:p>
      </dgm:t>
    </dgm:pt>
    <dgm:pt modelId="{99901AF6-9F76-4ABD-9B05-3989851644DB}">
      <dgm:prSet phldrT="[텍스트]"/>
      <dgm:spPr>
        <a:solidFill>
          <a:srgbClr val="002060"/>
        </a:solidFill>
      </dgm:spPr>
      <dgm:t>
        <a:bodyPr/>
        <a:lstStyle/>
        <a:p>
          <a:pPr latinLnBrk="1"/>
          <a:r>
            <a:rPr lang="en-US" altLang="ko-KR" dirty="0" smtClean="0"/>
            <a:t>  </a:t>
          </a:r>
          <a:r>
            <a:rPr lang="ko-KR" altLang="en-US" dirty="0" smtClean="0"/>
            <a:t>모든 조직과  의사결정 프로세스내 통합 </a:t>
          </a:r>
          <a:endParaRPr lang="ko-KR" altLang="en-US" dirty="0"/>
        </a:p>
      </dgm:t>
    </dgm:pt>
    <dgm:pt modelId="{69776BD9-8DDF-40B9-A773-F7AB25E04C2E}" type="parTrans" cxnId="{97403531-B83B-442D-A3DB-DAC7FC57AB72}">
      <dgm:prSet/>
      <dgm:spPr/>
      <dgm:t>
        <a:bodyPr/>
        <a:lstStyle/>
        <a:p>
          <a:pPr latinLnBrk="1"/>
          <a:endParaRPr lang="ko-KR" altLang="en-US"/>
        </a:p>
      </dgm:t>
    </dgm:pt>
    <dgm:pt modelId="{26E81B7C-3607-4ADA-B8E3-44C41147F9B7}" type="sibTrans" cxnId="{97403531-B83B-442D-A3DB-DAC7FC57AB72}">
      <dgm:prSet/>
      <dgm:spPr/>
      <dgm:t>
        <a:bodyPr/>
        <a:lstStyle/>
        <a:p>
          <a:pPr latinLnBrk="1"/>
          <a:endParaRPr lang="ko-KR" altLang="en-US"/>
        </a:p>
      </dgm:t>
    </dgm:pt>
    <dgm:pt modelId="{1F305515-C747-42C2-ABBD-FD8A3348D64F}">
      <dgm:prSet phldrT="[텍스트]"/>
      <dgm:spPr>
        <a:solidFill>
          <a:srgbClr val="00B050"/>
        </a:solidFill>
      </dgm:spPr>
      <dgm:t>
        <a:bodyPr/>
        <a:lstStyle/>
        <a:p>
          <a:pPr marL="0" marR="0" indent="0" defTabSz="914400" eaLnBrk="1" fontAlgn="auto" latinLnBrk="1" hangingPunct="1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en-US" altLang="ko-KR" dirty="0" smtClean="0"/>
            <a:t>MIS </a:t>
          </a:r>
          <a:endParaRPr lang="ko-KR" altLang="en-US" dirty="0" smtClean="0"/>
        </a:p>
        <a:p>
          <a:pPr defTabSz="1111250" latinLnBrk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ko-KR" altLang="en-US" dirty="0"/>
        </a:p>
      </dgm:t>
    </dgm:pt>
    <dgm:pt modelId="{8EF14EE1-3034-4B84-9B09-E31740605269}" type="parTrans" cxnId="{F7C1CFA1-35DB-4ABD-AA98-11367263BCA7}">
      <dgm:prSet/>
      <dgm:spPr/>
      <dgm:t>
        <a:bodyPr/>
        <a:lstStyle/>
        <a:p>
          <a:pPr latinLnBrk="1"/>
          <a:endParaRPr lang="ko-KR" altLang="en-US"/>
        </a:p>
      </dgm:t>
    </dgm:pt>
    <dgm:pt modelId="{A61EB916-D1B5-453D-9D5F-5BEF8188D7BF}" type="sibTrans" cxnId="{F7C1CFA1-35DB-4ABD-AA98-11367263BCA7}">
      <dgm:prSet/>
      <dgm:spPr/>
      <dgm:t>
        <a:bodyPr/>
        <a:lstStyle/>
        <a:p>
          <a:pPr latinLnBrk="1"/>
          <a:endParaRPr lang="ko-KR" altLang="en-US"/>
        </a:p>
      </dgm:t>
    </dgm:pt>
    <dgm:pt modelId="{CE9F5107-683C-4665-AC7D-BC015D406952}">
      <dgm:prSet phldrT="[텍스트]"/>
      <dgm:spPr/>
      <dgm:t>
        <a:bodyPr/>
        <a:lstStyle/>
        <a:p>
          <a:pPr latinLnBrk="1"/>
          <a:r>
            <a:rPr lang="en-US" altLang="ko-KR" dirty="0" smtClean="0"/>
            <a:t>AI </a:t>
          </a:r>
          <a:r>
            <a:rPr lang="ko-KR" altLang="en-US" dirty="0" smtClean="0"/>
            <a:t>적용</a:t>
          </a:r>
          <a:r>
            <a:rPr lang="en-US" altLang="ko-KR" dirty="0" smtClean="0"/>
            <a:t> </a:t>
          </a:r>
          <a:r>
            <a:rPr lang="ko-KR" altLang="en-US" dirty="0" smtClean="0"/>
            <a:t>성과 평가 </a:t>
          </a:r>
          <a:endParaRPr lang="ko-KR" altLang="en-US" dirty="0"/>
        </a:p>
      </dgm:t>
    </dgm:pt>
    <dgm:pt modelId="{EFE5E48D-D5A3-46F2-800F-EC61D8C45EF8}" type="parTrans" cxnId="{55D8DD2D-06C2-452E-8E3A-2DE02A7267BB}">
      <dgm:prSet/>
      <dgm:spPr/>
      <dgm:t>
        <a:bodyPr/>
        <a:lstStyle/>
        <a:p>
          <a:pPr latinLnBrk="1"/>
          <a:endParaRPr lang="ko-KR" altLang="en-US"/>
        </a:p>
      </dgm:t>
    </dgm:pt>
    <dgm:pt modelId="{89A2944C-35E6-4649-93EC-225944B9D7CF}" type="sibTrans" cxnId="{55D8DD2D-06C2-452E-8E3A-2DE02A7267BB}">
      <dgm:prSet/>
      <dgm:spPr/>
      <dgm:t>
        <a:bodyPr/>
        <a:lstStyle/>
        <a:p>
          <a:pPr latinLnBrk="1"/>
          <a:endParaRPr lang="ko-KR" altLang="en-US"/>
        </a:p>
      </dgm:t>
    </dgm:pt>
    <dgm:pt modelId="{8A854014-83D5-4BCD-9035-F81C316293EC}" type="pres">
      <dgm:prSet presAssocID="{BCAD3EDB-0BB4-4744-A607-BBA6DC71851A}" presName="matrix" presStyleCnt="0">
        <dgm:presLayoutVars>
          <dgm:chMax val="1"/>
          <dgm:dir/>
          <dgm:resizeHandles val="exact"/>
        </dgm:presLayoutVars>
      </dgm:prSet>
      <dgm:spPr/>
    </dgm:pt>
    <dgm:pt modelId="{BF69A787-02E8-466D-8EE4-F5DFCF5F7BCD}" type="pres">
      <dgm:prSet presAssocID="{BCAD3EDB-0BB4-4744-A607-BBA6DC71851A}" presName="diamond" presStyleLbl="bgShp" presStyleIdx="0" presStyleCnt="1"/>
      <dgm:spPr/>
    </dgm:pt>
    <dgm:pt modelId="{B73F88FB-2A4A-4C27-83BB-EAF6F92E9A23}" type="pres">
      <dgm:prSet presAssocID="{BCAD3EDB-0BB4-4744-A607-BBA6DC71851A}" presName="quad1" presStyleLbl="node1" presStyleIdx="0" presStyleCnt="4">
        <dgm:presLayoutVars>
          <dgm:chMax val="0"/>
          <dgm:chPref val="0"/>
          <dgm:bulletEnabled val="1"/>
        </dgm:presLayoutVars>
      </dgm:prSet>
      <dgm:spPr/>
    </dgm:pt>
    <dgm:pt modelId="{14EEB99F-D071-4FB2-A8F2-8C73541797A2}" type="pres">
      <dgm:prSet presAssocID="{BCAD3EDB-0BB4-4744-A607-BBA6DC71851A}" presName="quad2" presStyleLbl="node1" presStyleIdx="1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pPr latinLnBrk="1"/>
          <a:endParaRPr lang="ko-KR" altLang="en-US"/>
        </a:p>
      </dgm:t>
    </dgm:pt>
    <dgm:pt modelId="{69FB94D6-6F2F-4EBC-83FD-A8235B9A2305}" type="pres">
      <dgm:prSet presAssocID="{BCAD3EDB-0BB4-4744-A607-BBA6DC71851A}" presName="quad3" presStyleLbl="node1" presStyleIdx="2" presStyleCnt="4">
        <dgm:presLayoutVars>
          <dgm:chMax val="0"/>
          <dgm:chPref val="0"/>
          <dgm:bulletEnabled val="1"/>
        </dgm:presLayoutVars>
      </dgm:prSet>
      <dgm:spPr/>
    </dgm:pt>
    <dgm:pt modelId="{1E8FA470-2EEA-443E-99F4-B5127B5504C5}" type="pres">
      <dgm:prSet presAssocID="{BCAD3EDB-0BB4-4744-A607-BBA6DC71851A}" presName="quad4" presStyleLbl="node1" presStyleIdx="3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pPr latinLnBrk="1"/>
          <a:endParaRPr lang="ko-KR" altLang="en-US"/>
        </a:p>
      </dgm:t>
    </dgm:pt>
  </dgm:ptLst>
  <dgm:cxnLst>
    <dgm:cxn modelId="{D0F7B4FB-7C16-46B2-B355-2AF762FAE87F}" srcId="{BCAD3EDB-0BB4-4744-A607-BBA6DC71851A}" destId="{4A1D1F22-0B64-46D4-BFDB-E8CD657B49BE}" srcOrd="0" destOrd="0" parTransId="{DE2121F3-FA97-4603-B968-D67B8A875363}" sibTransId="{67A9D441-65F3-4900-8B2B-86278629A73C}"/>
    <dgm:cxn modelId="{DD8470ED-8BF7-4D61-93FD-8E65FDD97220}" type="presOf" srcId="{CE9F5107-683C-4665-AC7D-BC015D406952}" destId="{1E8FA470-2EEA-443E-99F4-B5127B5504C5}" srcOrd="0" destOrd="0" presId="urn:microsoft.com/office/officeart/2005/8/layout/matrix3"/>
    <dgm:cxn modelId="{8E3DCDAE-27B7-4183-BCAE-15D02FFAA727}" type="presOf" srcId="{1F305515-C747-42C2-ABBD-FD8A3348D64F}" destId="{69FB94D6-6F2F-4EBC-83FD-A8235B9A2305}" srcOrd="0" destOrd="0" presId="urn:microsoft.com/office/officeart/2005/8/layout/matrix3"/>
    <dgm:cxn modelId="{55D8DD2D-06C2-452E-8E3A-2DE02A7267BB}" srcId="{BCAD3EDB-0BB4-4744-A607-BBA6DC71851A}" destId="{CE9F5107-683C-4665-AC7D-BC015D406952}" srcOrd="3" destOrd="0" parTransId="{EFE5E48D-D5A3-46F2-800F-EC61D8C45EF8}" sibTransId="{89A2944C-35E6-4649-93EC-225944B9D7CF}"/>
    <dgm:cxn modelId="{DFFBE7B1-5C60-4177-AB30-46893B283E74}" type="presOf" srcId="{4A1D1F22-0B64-46D4-BFDB-E8CD657B49BE}" destId="{B73F88FB-2A4A-4C27-83BB-EAF6F92E9A23}" srcOrd="0" destOrd="0" presId="urn:microsoft.com/office/officeart/2005/8/layout/matrix3"/>
    <dgm:cxn modelId="{B4104290-E2B9-4773-833C-B7EFD37C9C73}" type="presOf" srcId="{99901AF6-9F76-4ABD-9B05-3989851644DB}" destId="{14EEB99F-D071-4FB2-A8F2-8C73541797A2}" srcOrd="0" destOrd="0" presId="urn:microsoft.com/office/officeart/2005/8/layout/matrix3"/>
    <dgm:cxn modelId="{F7C1CFA1-35DB-4ABD-AA98-11367263BCA7}" srcId="{BCAD3EDB-0BB4-4744-A607-BBA6DC71851A}" destId="{1F305515-C747-42C2-ABBD-FD8A3348D64F}" srcOrd="2" destOrd="0" parTransId="{8EF14EE1-3034-4B84-9B09-E31740605269}" sibTransId="{A61EB916-D1B5-453D-9D5F-5BEF8188D7BF}"/>
    <dgm:cxn modelId="{76FA269A-1E58-4A05-9027-0E577E75BE98}" type="presOf" srcId="{BCAD3EDB-0BB4-4744-A607-BBA6DC71851A}" destId="{8A854014-83D5-4BCD-9035-F81C316293EC}" srcOrd="0" destOrd="0" presId="urn:microsoft.com/office/officeart/2005/8/layout/matrix3"/>
    <dgm:cxn modelId="{97403531-B83B-442D-A3DB-DAC7FC57AB72}" srcId="{BCAD3EDB-0BB4-4744-A607-BBA6DC71851A}" destId="{99901AF6-9F76-4ABD-9B05-3989851644DB}" srcOrd="1" destOrd="0" parTransId="{69776BD9-8DDF-40B9-A773-F7AB25E04C2E}" sibTransId="{26E81B7C-3607-4ADA-B8E3-44C41147F9B7}"/>
    <dgm:cxn modelId="{6796BC41-4B42-4031-848E-1C4A28A9249E}" type="presParOf" srcId="{8A854014-83D5-4BCD-9035-F81C316293EC}" destId="{BF69A787-02E8-466D-8EE4-F5DFCF5F7BCD}" srcOrd="0" destOrd="0" presId="urn:microsoft.com/office/officeart/2005/8/layout/matrix3"/>
    <dgm:cxn modelId="{D3DE4C46-F8F2-4B05-B066-920E1E5B1788}" type="presParOf" srcId="{8A854014-83D5-4BCD-9035-F81C316293EC}" destId="{B73F88FB-2A4A-4C27-83BB-EAF6F92E9A23}" srcOrd="1" destOrd="0" presId="urn:microsoft.com/office/officeart/2005/8/layout/matrix3"/>
    <dgm:cxn modelId="{EF7C04C2-FCCB-4A27-A47F-CB0F4D787539}" type="presParOf" srcId="{8A854014-83D5-4BCD-9035-F81C316293EC}" destId="{14EEB99F-D071-4FB2-A8F2-8C73541797A2}" srcOrd="2" destOrd="0" presId="urn:microsoft.com/office/officeart/2005/8/layout/matrix3"/>
    <dgm:cxn modelId="{E0008194-B317-4B9F-A04D-235D4A777B6A}" type="presParOf" srcId="{8A854014-83D5-4BCD-9035-F81C316293EC}" destId="{69FB94D6-6F2F-4EBC-83FD-A8235B9A2305}" srcOrd="3" destOrd="0" presId="urn:microsoft.com/office/officeart/2005/8/layout/matrix3"/>
    <dgm:cxn modelId="{71ECB3CD-E019-458A-8246-64C3F4A3AD96}" type="presParOf" srcId="{8A854014-83D5-4BCD-9035-F81C316293EC}" destId="{1E8FA470-2EEA-443E-99F4-B5127B5504C5}" srcOrd="4" destOrd="0" presId="urn:microsoft.com/office/officeart/2005/8/layout/matrix3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15.xml><?xml version="1.0" encoding="utf-8"?>
<dgm:dataModel xmlns:dgm="http://schemas.openxmlformats.org/drawingml/2006/diagram" xmlns:a="http://schemas.openxmlformats.org/drawingml/2006/main">
  <dgm:ptLst>
    <dgm:pt modelId="{CDEFDBE6-FAEE-4623-8B01-B2F0740E6335}" type="doc">
      <dgm:prSet loTypeId="urn:microsoft.com/office/officeart/2005/8/layout/radial6" loCatId="cycle" qsTypeId="urn:microsoft.com/office/officeart/2005/8/quickstyle/simple1" qsCatId="simple" csTypeId="urn:microsoft.com/office/officeart/2005/8/colors/colorful1" csCatId="colorful" phldr="1"/>
      <dgm:spPr/>
      <dgm:t>
        <a:bodyPr/>
        <a:lstStyle/>
        <a:p>
          <a:pPr latinLnBrk="1"/>
          <a:endParaRPr lang="ko-KR" altLang="en-US"/>
        </a:p>
      </dgm:t>
    </dgm:pt>
    <dgm:pt modelId="{5A26C122-2D9D-4EA4-9EB6-5A1D80F22CC6}">
      <dgm:prSet phldrT="[텍스트]"/>
      <dgm:spPr>
        <a:solidFill>
          <a:srgbClr val="0070C0"/>
        </a:solidFill>
      </dgm:spPr>
      <dgm:t>
        <a:bodyPr/>
        <a:lstStyle/>
        <a:p>
          <a:pPr latinLnBrk="1"/>
          <a:r>
            <a:rPr lang="ko-KR" altLang="en-US" dirty="0"/>
            <a:t>공동 </a:t>
          </a:r>
          <a:endParaRPr lang="en-US" altLang="ko-KR" dirty="0"/>
        </a:p>
        <a:p>
          <a:pPr latinLnBrk="1"/>
          <a:r>
            <a:rPr lang="ko-KR" altLang="en-US" dirty="0"/>
            <a:t>활용 </a:t>
          </a:r>
        </a:p>
      </dgm:t>
    </dgm:pt>
    <dgm:pt modelId="{637EF487-784B-4383-BDE8-1CE220158FFF}" type="parTrans" cxnId="{CBCB4EE4-0CDC-462A-8504-792D24220CC5}">
      <dgm:prSet/>
      <dgm:spPr/>
      <dgm:t>
        <a:bodyPr/>
        <a:lstStyle/>
        <a:p>
          <a:pPr latinLnBrk="1"/>
          <a:endParaRPr lang="ko-KR" altLang="en-US"/>
        </a:p>
      </dgm:t>
    </dgm:pt>
    <dgm:pt modelId="{C120DBC9-B047-432F-8BE0-2D430F31E759}" type="sibTrans" cxnId="{CBCB4EE4-0CDC-462A-8504-792D24220CC5}">
      <dgm:prSet/>
      <dgm:spPr/>
      <dgm:t>
        <a:bodyPr/>
        <a:lstStyle/>
        <a:p>
          <a:pPr latinLnBrk="1"/>
          <a:endParaRPr lang="ko-KR" altLang="en-US"/>
        </a:p>
      </dgm:t>
    </dgm:pt>
    <dgm:pt modelId="{DBC30E30-2392-43B5-827C-CECFBAE1B85F}">
      <dgm:prSet phldrT="[텍스트]"/>
      <dgm:spPr>
        <a:solidFill>
          <a:srgbClr val="FF0000"/>
        </a:solidFill>
      </dgm:spPr>
      <dgm:t>
        <a:bodyPr/>
        <a:lstStyle/>
        <a:p>
          <a:pPr latinLnBrk="1"/>
          <a:r>
            <a:rPr lang="en-US" altLang="ko-KR" dirty="0"/>
            <a:t>R&amp;D </a:t>
          </a:r>
          <a:endParaRPr lang="ko-KR" altLang="en-US" dirty="0"/>
        </a:p>
      </dgm:t>
    </dgm:pt>
    <dgm:pt modelId="{B3A574BC-5886-4439-93CD-D4339F155A00}" type="parTrans" cxnId="{BE6294CA-7FBF-4121-970E-FD089AB3C5B9}">
      <dgm:prSet/>
      <dgm:spPr/>
      <dgm:t>
        <a:bodyPr/>
        <a:lstStyle/>
        <a:p>
          <a:pPr latinLnBrk="1"/>
          <a:endParaRPr lang="ko-KR" altLang="en-US"/>
        </a:p>
      </dgm:t>
    </dgm:pt>
    <dgm:pt modelId="{AF05BA23-3C82-4DFB-996A-980CE6727235}" type="sibTrans" cxnId="{BE6294CA-7FBF-4121-970E-FD089AB3C5B9}">
      <dgm:prSet/>
      <dgm:spPr/>
      <dgm:t>
        <a:bodyPr/>
        <a:lstStyle/>
        <a:p>
          <a:pPr latinLnBrk="1"/>
          <a:endParaRPr lang="ko-KR" altLang="en-US"/>
        </a:p>
      </dgm:t>
    </dgm:pt>
    <dgm:pt modelId="{B8C3A90C-1B85-497C-B6B7-BFA8AE88421B}">
      <dgm:prSet phldrT="[텍스트]"/>
      <dgm:spPr/>
      <dgm:t>
        <a:bodyPr/>
        <a:lstStyle/>
        <a:p>
          <a:pPr latinLnBrk="1"/>
          <a:r>
            <a:rPr lang="ko-KR" altLang="en-US" dirty="0"/>
            <a:t>컨설팅</a:t>
          </a:r>
          <a:r>
            <a:rPr lang="en-US" altLang="ko-KR" dirty="0"/>
            <a:t>/</a:t>
          </a:r>
          <a:r>
            <a:rPr lang="ko-KR" altLang="en-US" dirty="0"/>
            <a:t>교육 </a:t>
          </a:r>
        </a:p>
      </dgm:t>
    </dgm:pt>
    <dgm:pt modelId="{8FF6866C-5FD3-4CA1-87E6-310B768129B5}" type="parTrans" cxnId="{06D47444-E322-4B04-A773-59C32A6A8106}">
      <dgm:prSet/>
      <dgm:spPr/>
      <dgm:t>
        <a:bodyPr/>
        <a:lstStyle/>
        <a:p>
          <a:pPr latinLnBrk="1"/>
          <a:endParaRPr lang="ko-KR" altLang="en-US"/>
        </a:p>
      </dgm:t>
    </dgm:pt>
    <dgm:pt modelId="{6270BD6F-3040-45F6-B2C4-800BE12D7E31}" type="sibTrans" cxnId="{06D47444-E322-4B04-A773-59C32A6A8106}">
      <dgm:prSet/>
      <dgm:spPr/>
      <dgm:t>
        <a:bodyPr/>
        <a:lstStyle/>
        <a:p>
          <a:pPr latinLnBrk="1"/>
          <a:endParaRPr lang="ko-KR" altLang="en-US"/>
        </a:p>
      </dgm:t>
    </dgm:pt>
    <dgm:pt modelId="{3942325C-C3CD-4DC5-B168-005794F01A34}">
      <dgm:prSet phldrT="[텍스트]"/>
      <dgm:spPr/>
      <dgm:t>
        <a:bodyPr/>
        <a:lstStyle/>
        <a:p>
          <a:pPr latinLnBrk="1"/>
          <a:r>
            <a:rPr lang="ko-KR" altLang="en-US" dirty="0"/>
            <a:t>성공사례</a:t>
          </a:r>
          <a:r>
            <a:rPr lang="en-US" altLang="ko-KR" dirty="0"/>
            <a:t> </a:t>
          </a:r>
          <a:r>
            <a:rPr lang="ko-KR" altLang="en-US" dirty="0"/>
            <a:t>공유 </a:t>
          </a:r>
        </a:p>
      </dgm:t>
    </dgm:pt>
    <dgm:pt modelId="{7EB9BD1A-1BB6-4D63-BA93-DF3F9708E0B7}" type="parTrans" cxnId="{77B9C2F1-61B8-4C90-A18C-DCCEAC709906}">
      <dgm:prSet/>
      <dgm:spPr/>
      <dgm:t>
        <a:bodyPr/>
        <a:lstStyle/>
        <a:p>
          <a:pPr latinLnBrk="1"/>
          <a:endParaRPr lang="ko-KR" altLang="en-US"/>
        </a:p>
      </dgm:t>
    </dgm:pt>
    <dgm:pt modelId="{0680BB01-8281-486C-AAA2-A2BDC3F4C465}" type="sibTrans" cxnId="{77B9C2F1-61B8-4C90-A18C-DCCEAC709906}">
      <dgm:prSet/>
      <dgm:spPr/>
      <dgm:t>
        <a:bodyPr/>
        <a:lstStyle/>
        <a:p>
          <a:pPr latinLnBrk="1"/>
          <a:endParaRPr lang="ko-KR" altLang="en-US"/>
        </a:p>
      </dgm:t>
    </dgm:pt>
    <dgm:pt modelId="{6DC100C7-8C93-4CCC-AEEF-871802014ACD}">
      <dgm:prSet phldrT="[텍스트]"/>
      <dgm:spPr/>
      <dgm:t>
        <a:bodyPr/>
        <a:lstStyle/>
        <a:p>
          <a:pPr latinLnBrk="1"/>
          <a:r>
            <a:rPr lang="ko-KR" altLang="en-US" dirty="0"/>
            <a:t>구매 </a:t>
          </a:r>
        </a:p>
      </dgm:t>
    </dgm:pt>
    <dgm:pt modelId="{937622BF-114B-4156-AEA5-F3F61AF8033D}" type="parTrans" cxnId="{E93C1CC5-D842-4A39-BC6B-54AC607A2B51}">
      <dgm:prSet/>
      <dgm:spPr/>
      <dgm:t>
        <a:bodyPr/>
        <a:lstStyle/>
        <a:p>
          <a:pPr latinLnBrk="1"/>
          <a:endParaRPr lang="ko-KR" altLang="en-US"/>
        </a:p>
      </dgm:t>
    </dgm:pt>
    <dgm:pt modelId="{9953F1DB-0EA9-4141-80D8-72F33E01ABFA}" type="sibTrans" cxnId="{E93C1CC5-D842-4A39-BC6B-54AC607A2B51}">
      <dgm:prSet/>
      <dgm:spPr/>
      <dgm:t>
        <a:bodyPr/>
        <a:lstStyle/>
        <a:p>
          <a:pPr latinLnBrk="1"/>
          <a:endParaRPr lang="ko-KR" altLang="en-US"/>
        </a:p>
      </dgm:t>
    </dgm:pt>
    <dgm:pt modelId="{28940A80-91CF-4AAB-9F48-40C573E4B88E}">
      <dgm:prSet phldrT="[텍스트]"/>
      <dgm:spPr>
        <a:solidFill>
          <a:srgbClr val="0070C0"/>
        </a:solidFill>
      </dgm:spPr>
      <dgm:t>
        <a:bodyPr/>
        <a:lstStyle/>
        <a:p>
          <a:pPr latinLnBrk="1"/>
          <a:endParaRPr lang="ko-KR" altLang="en-US"/>
        </a:p>
      </dgm:t>
    </dgm:pt>
    <dgm:pt modelId="{E77D6A4F-BDE7-4EA0-80C1-E78E206F818D}" type="parTrans" cxnId="{1B2ABE80-B5EC-4D9C-BE75-252AE22506A3}">
      <dgm:prSet/>
      <dgm:spPr/>
      <dgm:t>
        <a:bodyPr/>
        <a:lstStyle/>
        <a:p>
          <a:pPr latinLnBrk="1"/>
          <a:endParaRPr lang="ko-KR" altLang="en-US"/>
        </a:p>
      </dgm:t>
    </dgm:pt>
    <dgm:pt modelId="{ECAF2704-9ECA-4009-A282-2FF276C6549B}" type="sibTrans" cxnId="{1B2ABE80-B5EC-4D9C-BE75-252AE22506A3}">
      <dgm:prSet/>
      <dgm:spPr/>
      <dgm:t>
        <a:bodyPr/>
        <a:lstStyle/>
        <a:p>
          <a:pPr latinLnBrk="1"/>
          <a:endParaRPr lang="ko-KR" altLang="en-US"/>
        </a:p>
      </dgm:t>
    </dgm:pt>
    <dgm:pt modelId="{68EB89C6-4580-4FC5-BCDB-65379D5C1D24}" type="pres">
      <dgm:prSet presAssocID="{CDEFDBE6-FAEE-4623-8B01-B2F0740E6335}" presName="Name0" presStyleCnt="0">
        <dgm:presLayoutVars>
          <dgm:chMax val="1"/>
          <dgm:dir/>
          <dgm:animLvl val="ctr"/>
          <dgm:resizeHandles val="exact"/>
        </dgm:presLayoutVars>
      </dgm:prSet>
      <dgm:spPr/>
      <dgm:t>
        <a:bodyPr/>
        <a:lstStyle/>
        <a:p>
          <a:pPr latinLnBrk="1"/>
          <a:endParaRPr lang="ko-KR" altLang="en-US"/>
        </a:p>
      </dgm:t>
    </dgm:pt>
    <dgm:pt modelId="{78AFB8C2-B0A3-4726-9670-7C7EB8A8113B}" type="pres">
      <dgm:prSet presAssocID="{5A26C122-2D9D-4EA4-9EB6-5A1D80F22CC6}" presName="centerShape" presStyleLbl="node0" presStyleIdx="0" presStyleCnt="1"/>
      <dgm:spPr/>
      <dgm:t>
        <a:bodyPr/>
        <a:lstStyle/>
        <a:p>
          <a:pPr latinLnBrk="1"/>
          <a:endParaRPr lang="ko-KR" altLang="en-US"/>
        </a:p>
      </dgm:t>
    </dgm:pt>
    <dgm:pt modelId="{C4ADA477-43E7-471E-BDE8-E2F5B30E9905}" type="pres">
      <dgm:prSet presAssocID="{DBC30E30-2392-43B5-827C-CECFBAE1B85F}" presName="node" presStyleLbl="node1" presStyleIdx="0" presStyleCnt="4">
        <dgm:presLayoutVars>
          <dgm:bulletEnabled val="1"/>
        </dgm:presLayoutVars>
      </dgm:prSet>
      <dgm:spPr/>
      <dgm:t>
        <a:bodyPr/>
        <a:lstStyle/>
        <a:p>
          <a:pPr latinLnBrk="1"/>
          <a:endParaRPr lang="ko-KR" altLang="en-US"/>
        </a:p>
      </dgm:t>
    </dgm:pt>
    <dgm:pt modelId="{1ECECF14-712E-457E-8204-C3800BA40A0F}" type="pres">
      <dgm:prSet presAssocID="{DBC30E30-2392-43B5-827C-CECFBAE1B85F}" presName="dummy" presStyleCnt="0"/>
      <dgm:spPr/>
    </dgm:pt>
    <dgm:pt modelId="{72CBF231-9553-4A05-9F3C-870905086DF0}" type="pres">
      <dgm:prSet presAssocID="{AF05BA23-3C82-4DFB-996A-980CE6727235}" presName="sibTrans" presStyleLbl="sibTrans2D1" presStyleIdx="0" presStyleCnt="4"/>
      <dgm:spPr/>
      <dgm:t>
        <a:bodyPr/>
        <a:lstStyle/>
        <a:p>
          <a:pPr latinLnBrk="1"/>
          <a:endParaRPr lang="ko-KR" altLang="en-US"/>
        </a:p>
      </dgm:t>
    </dgm:pt>
    <dgm:pt modelId="{E76C41B8-1B67-475E-9A60-BEB8DF177F38}" type="pres">
      <dgm:prSet presAssocID="{B8C3A90C-1B85-497C-B6B7-BFA8AE88421B}" presName="node" presStyleLbl="node1" presStyleIdx="1" presStyleCnt="4">
        <dgm:presLayoutVars>
          <dgm:bulletEnabled val="1"/>
        </dgm:presLayoutVars>
      </dgm:prSet>
      <dgm:spPr/>
      <dgm:t>
        <a:bodyPr/>
        <a:lstStyle/>
        <a:p>
          <a:pPr latinLnBrk="1"/>
          <a:endParaRPr lang="ko-KR" altLang="en-US"/>
        </a:p>
      </dgm:t>
    </dgm:pt>
    <dgm:pt modelId="{6C109454-9ACA-45D5-B09C-5865E9DAB297}" type="pres">
      <dgm:prSet presAssocID="{B8C3A90C-1B85-497C-B6B7-BFA8AE88421B}" presName="dummy" presStyleCnt="0"/>
      <dgm:spPr/>
    </dgm:pt>
    <dgm:pt modelId="{177B4673-B7DC-4A44-88A4-1097522D2FDB}" type="pres">
      <dgm:prSet presAssocID="{6270BD6F-3040-45F6-B2C4-800BE12D7E31}" presName="sibTrans" presStyleLbl="sibTrans2D1" presStyleIdx="1" presStyleCnt="4"/>
      <dgm:spPr/>
      <dgm:t>
        <a:bodyPr/>
        <a:lstStyle/>
        <a:p>
          <a:pPr latinLnBrk="1"/>
          <a:endParaRPr lang="ko-KR" altLang="en-US"/>
        </a:p>
      </dgm:t>
    </dgm:pt>
    <dgm:pt modelId="{3261E6CE-1056-474E-A6AC-273E528FED1E}" type="pres">
      <dgm:prSet presAssocID="{3942325C-C3CD-4DC5-B168-005794F01A34}" presName="node" presStyleLbl="node1" presStyleIdx="2" presStyleCnt="4">
        <dgm:presLayoutVars>
          <dgm:bulletEnabled val="1"/>
        </dgm:presLayoutVars>
      </dgm:prSet>
      <dgm:spPr/>
      <dgm:t>
        <a:bodyPr/>
        <a:lstStyle/>
        <a:p>
          <a:pPr latinLnBrk="1"/>
          <a:endParaRPr lang="ko-KR" altLang="en-US"/>
        </a:p>
      </dgm:t>
    </dgm:pt>
    <dgm:pt modelId="{BA39F5D6-3ACE-49EC-B9FA-1CD2452D04DC}" type="pres">
      <dgm:prSet presAssocID="{3942325C-C3CD-4DC5-B168-005794F01A34}" presName="dummy" presStyleCnt="0"/>
      <dgm:spPr/>
    </dgm:pt>
    <dgm:pt modelId="{EC16D23A-7AF3-46D3-BCCC-EB0332359D9A}" type="pres">
      <dgm:prSet presAssocID="{0680BB01-8281-486C-AAA2-A2BDC3F4C465}" presName="sibTrans" presStyleLbl="sibTrans2D1" presStyleIdx="2" presStyleCnt="4"/>
      <dgm:spPr/>
      <dgm:t>
        <a:bodyPr/>
        <a:lstStyle/>
        <a:p>
          <a:pPr latinLnBrk="1"/>
          <a:endParaRPr lang="ko-KR" altLang="en-US"/>
        </a:p>
      </dgm:t>
    </dgm:pt>
    <dgm:pt modelId="{ED99553B-0A46-4880-9C21-6EF644FD40C8}" type="pres">
      <dgm:prSet presAssocID="{6DC100C7-8C93-4CCC-AEEF-871802014ACD}" presName="node" presStyleLbl="node1" presStyleIdx="3" presStyleCnt="4">
        <dgm:presLayoutVars>
          <dgm:bulletEnabled val="1"/>
        </dgm:presLayoutVars>
      </dgm:prSet>
      <dgm:spPr/>
      <dgm:t>
        <a:bodyPr/>
        <a:lstStyle/>
        <a:p>
          <a:pPr latinLnBrk="1"/>
          <a:endParaRPr lang="ko-KR" altLang="en-US"/>
        </a:p>
      </dgm:t>
    </dgm:pt>
    <dgm:pt modelId="{6AA3773E-DAD7-487B-AA0F-C05E0237FAAF}" type="pres">
      <dgm:prSet presAssocID="{6DC100C7-8C93-4CCC-AEEF-871802014ACD}" presName="dummy" presStyleCnt="0"/>
      <dgm:spPr/>
    </dgm:pt>
    <dgm:pt modelId="{9194766E-85F3-40D1-B70B-33BF2132D925}" type="pres">
      <dgm:prSet presAssocID="{9953F1DB-0EA9-4141-80D8-72F33E01ABFA}" presName="sibTrans" presStyleLbl="sibTrans2D1" presStyleIdx="3" presStyleCnt="4"/>
      <dgm:spPr/>
      <dgm:t>
        <a:bodyPr/>
        <a:lstStyle/>
        <a:p>
          <a:pPr latinLnBrk="1"/>
          <a:endParaRPr lang="ko-KR" altLang="en-US"/>
        </a:p>
      </dgm:t>
    </dgm:pt>
  </dgm:ptLst>
  <dgm:cxnLst>
    <dgm:cxn modelId="{1B2ABE80-B5EC-4D9C-BE75-252AE22506A3}" srcId="{CDEFDBE6-FAEE-4623-8B01-B2F0740E6335}" destId="{28940A80-91CF-4AAB-9F48-40C573E4B88E}" srcOrd="1" destOrd="0" parTransId="{E77D6A4F-BDE7-4EA0-80C1-E78E206F818D}" sibTransId="{ECAF2704-9ECA-4009-A282-2FF276C6549B}"/>
    <dgm:cxn modelId="{DFC5A4A5-563A-4212-B0D9-18FE2F4A64B7}" type="presOf" srcId="{DBC30E30-2392-43B5-827C-CECFBAE1B85F}" destId="{C4ADA477-43E7-471E-BDE8-E2F5B30E9905}" srcOrd="0" destOrd="0" presId="urn:microsoft.com/office/officeart/2005/8/layout/radial6"/>
    <dgm:cxn modelId="{46C2C5E4-ACCF-41E1-92FD-293955005BD2}" type="presOf" srcId="{CDEFDBE6-FAEE-4623-8B01-B2F0740E6335}" destId="{68EB89C6-4580-4FC5-BCDB-65379D5C1D24}" srcOrd="0" destOrd="0" presId="urn:microsoft.com/office/officeart/2005/8/layout/radial6"/>
    <dgm:cxn modelId="{8655EEB8-F18A-4DE1-9263-61243D656240}" type="presOf" srcId="{0680BB01-8281-486C-AAA2-A2BDC3F4C465}" destId="{EC16D23A-7AF3-46D3-BCCC-EB0332359D9A}" srcOrd="0" destOrd="0" presId="urn:microsoft.com/office/officeart/2005/8/layout/radial6"/>
    <dgm:cxn modelId="{FEF5F808-243B-49DD-AC04-3E0C8B5C7981}" type="presOf" srcId="{AF05BA23-3C82-4DFB-996A-980CE6727235}" destId="{72CBF231-9553-4A05-9F3C-870905086DF0}" srcOrd="0" destOrd="0" presId="urn:microsoft.com/office/officeart/2005/8/layout/radial6"/>
    <dgm:cxn modelId="{2F1E75C7-EEC3-4E66-A1BA-37D9F5E5A92A}" type="presOf" srcId="{6DC100C7-8C93-4CCC-AEEF-871802014ACD}" destId="{ED99553B-0A46-4880-9C21-6EF644FD40C8}" srcOrd="0" destOrd="0" presId="urn:microsoft.com/office/officeart/2005/8/layout/radial6"/>
    <dgm:cxn modelId="{431DD325-3D03-463F-B7E1-3BBE518E30B9}" type="presOf" srcId="{3942325C-C3CD-4DC5-B168-005794F01A34}" destId="{3261E6CE-1056-474E-A6AC-273E528FED1E}" srcOrd="0" destOrd="0" presId="urn:microsoft.com/office/officeart/2005/8/layout/radial6"/>
    <dgm:cxn modelId="{3D5CE8FD-CA94-4D8D-9E44-55231807061A}" type="presOf" srcId="{5A26C122-2D9D-4EA4-9EB6-5A1D80F22CC6}" destId="{78AFB8C2-B0A3-4726-9670-7C7EB8A8113B}" srcOrd="0" destOrd="0" presId="urn:microsoft.com/office/officeart/2005/8/layout/radial6"/>
    <dgm:cxn modelId="{C645ED76-F158-4C18-9001-18FD2EEEA589}" type="presOf" srcId="{9953F1DB-0EA9-4141-80D8-72F33E01ABFA}" destId="{9194766E-85F3-40D1-B70B-33BF2132D925}" srcOrd="0" destOrd="0" presId="urn:microsoft.com/office/officeart/2005/8/layout/radial6"/>
    <dgm:cxn modelId="{A4CF6896-FE1F-415F-A07F-7597194C83E2}" type="presOf" srcId="{6270BD6F-3040-45F6-B2C4-800BE12D7E31}" destId="{177B4673-B7DC-4A44-88A4-1097522D2FDB}" srcOrd="0" destOrd="0" presId="urn:microsoft.com/office/officeart/2005/8/layout/radial6"/>
    <dgm:cxn modelId="{E93C1CC5-D842-4A39-BC6B-54AC607A2B51}" srcId="{5A26C122-2D9D-4EA4-9EB6-5A1D80F22CC6}" destId="{6DC100C7-8C93-4CCC-AEEF-871802014ACD}" srcOrd="3" destOrd="0" parTransId="{937622BF-114B-4156-AEA5-F3F61AF8033D}" sibTransId="{9953F1DB-0EA9-4141-80D8-72F33E01ABFA}"/>
    <dgm:cxn modelId="{BE6294CA-7FBF-4121-970E-FD089AB3C5B9}" srcId="{5A26C122-2D9D-4EA4-9EB6-5A1D80F22CC6}" destId="{DBC30E30-2392-43B5-827C-CECFBAE1B85F}" srcOrd="0" destOrd="0" parTransId="{B3A574BC-5886-4439-93CD-D4339F155A00}" sibTransId="{AF05BA23-3C82-4DFB-996A-980CE6727235}"/>
    <dgm:cxn modelId="{77B9C2F1-61B8-4C90-A18C-DCCEAC709906}" srcId="{5A26C122-2D9D-4EA4-9EB6-5A1D80F22CC6}" destId="{3942325C-C3CD-4DC5-B168-005794F01A34}" srcOrd="2" destOrd="0" parTransId="{7EB9BD1A-1BB6-4D63-BA93-DF3F9708E0B7}" sibTransId="{0680BB01-8281-486C-AAA2-A2BDC3F4C465}"/>
    <dgm:cxn modelId="{06D47444-E322-4B04-A773-59C32A6A8106}" srcId="{5A26C122-2D9D-4EA4-9EB6-5A1D80F22CC6}" destId="{B8C3A90C-1B85-497C-B6B7-BFA8AE88421B}" srcOrd="1" destOrd="0" parTransId="{8FF6866C-5FD3-4CA1-87E6-310B768129B5}" sibTransId="{6270BD6F-3040-45F6-B2C4-800BE12D7E31}"/>
    <dgm:cxn modelId="{CBCB4EE4-0CDC-462A-8504-792D24220CC5}" srcId="{CDEFDBE6-FAEE-4623-8B01-B2F0740E6335}" destId="{5A26C122-2D9D-4EA4-9EB6-5A1D80F22CC6}" srcOrd="0" destOrd="0" parTransId="{637EF487-784B-4383-BDE8-1CE220158FFF}" sibTransId="{C120DBC9-B047-432F-8BE0-2D430F31E759}"/>
    <dgm:cxn modelId="{BA8D8DAD-FCCF-4508-8195-080441235266}" type="presOf" srcId="{B8C3A90C-1B85-497C-B6B7-BFA8AE88421B}" destId="{E76C41B8-1B67-475E-9A60-BEB8DF177F38}" srcOrd="0" destOrd="0" presId="urn:microsoft.com/office/officeart/2005/8/layout/radial6"/>
    <dgm:cxn modelId="{4B03E9BB-543C-449B-9038-E32A8CA496AF}" type="presParOf" srcId="{68EB89C6-4580-4FC5-BCDB-65379D5C1D24}" destId="{78AFB8C2-B0A3-4726-9670-7C7EB8A8113B}" srcOrd="0" destOrd="0" presId="urn:microsoft.com/office/officeart/2005/8/layout/radial6"/>
    <dgm:cxn modelId="{85082819-BC63-4E7D-886B-95E3E50E7850}" type="presParOf" srcId="{68EB89C6-4580-4FC5-BCDB-65379D5C1D24}" destId="{C4ADA477-43E7-471E-BDE8-E2F5B30E9905}" srcOrd="1" destOrd="0" presId="urn:microsoft.com/office/officeart/2005/8/layout/radial6"/>
    <dgm:cxn modelId="{A25DEF95-C501-476B-9C93-1B9454DD90D9}" type="presParOf" srcId="{68EB89C6-4580-4FC5-BCDB-65379D5C1D24}" destId="{1ECECF14-712E-457E-8204-C3800BA40A0F}" srcOrd="2" destOrd="0" presId="urn:microsoft.com/office/officeart/2005/8/layout/radial6"/>
    <dgm:cxn modelId="{8628E2E5-FDBA-4CFD-99F3-A5C404784E5D}" type="presParOf" srcId="{68EB89C6-4580-4FC5-BCDB-65379D5C1D24}" destId="{72CBF231-9553-4A05-9F3C-870905086DF0}" srcOrd="3" destOrd="0" presId="urn:microsoft.com/office/officeart/2005/8/layout/radial6"/>
    <dgm:cxn modelId="{870E30EA-31C7-4CA6-814C-E5BF82272676}" type="presParOf" srcId="{68EB89C6-4580-4FC5-BCDB-65379D5C1D24}" destId="{E76C41B8-1B67-475E-9A60-BEB8DF177F38}" srcOrd="4" destOrd="0" presId="urn:microsoft.com/office/officeart/2005/8/layout/radial6"/>
    <dgm:cxn modelId="{9E4D1B61-6328-4AFC-B5E4-2B7F5A1194E0}" type="presParOf" srcId="{68EB89C6-4580-4FC5-BCDB-65379D5C1D24}" destId="{6C109454-9ACA-45D5-B09C-5865E9DAB297}" srcOrd="5" destOrd="0" presId="urn:microsoft.com/office/officeart/2005/8/layout/radial6"/>
    <dgm:cxn modelId="{144414E2-B196-4A4C-B123-5DAB66DBEC22}" type="presParOf" srcId="{68EB89C6-4580-4FC5-BCDB-65379D5C1D24}" destId="{177B4673-B7DC-4A44-88A4-1097522D2FDB}" srcOrd="6" destOrd="0" presId="urn:microsoft.com/office/officeart/2005/8/layout/radial6"/>
    <dgm:cxn modelId="{E631767F-C722-47A8-96D8-1A94B589C810}" type="presParOf" srcId="{68EB89C6-4580-4FC5-BCDB-65379D5C1D24}" destId="{3261E6CE-1056-474E-A6AC-273E528FED1E}" srcOrd="7" destOrd="0" presId="urn:microsoft.com/office/officeart/2005/8/layout/radial6"/>
    <dgm:cxn modelId="{7C120F02-A4E0-4608-A6A4-9C182C8454F3}" type="presParOf" srcId="{68EB89C6-4580-4FC5-BCDB-65379D5C1D24}" destId="{BA39F5D6-3ACE-49EC-B9FA-1CD2452D04DC}" srcOrd="8" destOrd="0" presId="urn:microsoft.com/office/officeart/2005/8/layout/radial6"/>
    <dgm:cxn modelId="{0C0BC06F-777C-48FF-B407-ABF1AAFE76AB}" type="presParOf" srcId="{68EB89C6-4580-4FC5-BCDB-65379D5C1D24}" destId="{EC16D23A-7AF3-46D3-BCCC-EB0332359D9A}" srcOrd="9" destOrd="0" presId="urn:microsoft.com/office/officeart/2005/8/layout/radial6"/>
    <dgm:cxn modelId="{C44EB585-B458-4C4F-B4C5-BC0E54088F0B}" type="presParOf" srcId="{68EB89C6-4580-4FC5-BCDB-65379D5C1D24}" destId="{ED99553B-0A46-4880-9C21-6EF644FD40C8}" srcOrd="10" destOrd="0" presId="urn:microsoft.com/office/officeart/2005/8/layout/radial6"/>
    <dgm:cxn modelId="{04EF1083-3DA4-4D2A-9617-599C13CA2952}" type="presParOf" srcId="{68EB89C6-4580-4FC5-BCDB-65379D5C1D24}" destId="{6AA3773E-DAD7-487B-AA0F-C05E0237FAAF}" srcOrd="11" destOrd="0" presId="urn:microsoft.com/office/officeart/2005/8/layout/radial6"/>
    <dgm:cxn modelId="{94A3A3DF-1564-4344-9E0A-614EC01CD44C}" type="presParOf" srcId="{68EB89C6-4580-4FC5-BCDB-65379D5C1D24}" destId="{9194766E-85F3-40D1-B70B-33BF2132D925}" srcOrd="12" destOrd="0" presId="urn:microsoft.com/office/officeart/2005/8/layout/radial6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  <a:ext uri="{C62137D5-CB1D-491B-B009-E17868A290BF}">
      <dgm14:recolorImg xmlns:dgm14="http://schemas.microsoft.com/office/drawing/2010/diagram" val="1"/>
    </a:ext>
  </dgm:extLst>
</dgm:dataModel>
</file>

<file path=ppt/diagrams/data16.xml><?xml version="1.0" encoding="utf-8"?>
<dgm:dataModel xmlns:dgm="http://schemas.openxmlformats.org/drawingml/2006/diagram" xmlns:a="http://schemas.openxmlformats.org/drawingml/2006/main">
  <dgm:ptLst>
    <dgm:pt modelId="{10C94DA2-9B07-4FB6-842C-216623B6C4AE}" type="doc">
      <dgm:prSet loTypeId="urn:microsoft.com/office/officeart/2005/8/layout/cycle2" loCatId="cycle" qsTypeId="urn:microsoft.com/office/officeart/2005/8/quickstyle/simple1" qsCatId="simple" csTypeId="urn:microsoft.com/office/officeart/2005/8/colors/accent1_4" csCatId="accent1" phldr="1"/>
      <dgm:spPr/>
      <dgm:t>
        <a:bodyPr/>
        <a:lstStyle/>
        <a:p>
          <a:pPr latinLnBrk="1"/>
          <a:endParaRPr lang="ko-KR" altLang="en-US"/>
        </a:p>
      </dgm:t>
    </dgm:pt>
    <dgm:pt modelId="{437491ED-A6C9-4990-8B23-1A4586BC2730}">
      <dgm:prSet phldrT="[텍스트]" custT="1"/>
      <dgm:spPr/>
      <dgm:t>
        <a:bodyPr/>
        <a:lstStyle/>
        <a:p>
          <a:pPr latinLnBrk="1"/>
          <a:r>
            <a:rPr lang="ko-KR" altLang="en-US" sz="1600" dirty="0" smtClean="0"/>
            <a:t>성공사례 탐구 </a:t>
          </a:r>
          <a:endParaRPr lang="ko-KR" altLang="en-US" sz="1600" dirty="0"/>
        </a:p>
      </dgm:t>
    </dgm:pt>
    <dgm:pt modelId="{1A047F12-6A43-4B39-936F-B719CDDB0A1E}" type="parTrans" cxnId="{08644AE1-9E46-40B0-BE56-B838E229A214}">
      <dgm:prSet/>
      <dgm:spPr/>
      <dgm:t>
        <a:bodyPr/>
        <a:lstStyle/>
        <a:p>
          <a:pPr latinLnBrk="1"/>
          <a:endParaRPr lang="ko-KR" altLang="en-US" sz="1600"/>
        </a:p>
      </dgm:t>
    </dgm:pt>
    <dgm:pt modelId="{C7A93A09-38BE-45DB-854F-5152A6061BE3}" type="sibTrans" cxnId="{08644AE1-9E46-40B0-BE56-B838E229A214}">
      <dgm:prSet custT="1"/>
      <dgm:spPr/>
      <dgm:t>
        <a:bodyPr/>
        <a:lstStyle/>
        <a:p>
          <a:pPr latinLnBrk="1"/>
          <a:endParaRPr lang="ko-KR" altLang="en-US" sz="1600"/>
        </a:p>
      </dgm:t>
    </dgm:pt>
    <dgm:pt modelId="{3626838A-3F04-40AF-A2BB-9A5E573D3E75}">
      <dgm:prSet phldrT="[텍스트]" custT="1"/>
      <dgm:spPr/>
      <dgm:t>
        <a:bodyPr/>
        <a:lstStyle/>
        <a:p>
          <a:pPr marL="0" marR="0" indent="0" defTabSz="914400" eaLnBrk="1" fontAlgn="auto" latinLnBrk="1" hangingPunct="1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ko-KR" altLang="en-US" sz="1600" dirty="0" smtClean="0"/>
            <a:t>정부 지원 탐구 </a:t>
          </a:r>
        </a:p>
        <a:p>
          <a:pPr latinLnBrk="1"/>
          <a:endParaRPr lang="ko-KR" altLang="en-US" sz="1600" dirty="0"/>
        </a:p>
      </dgm:t>
    </dgm:pt>
    <dgm:pt modelId="{D09AB51B-7373-47AE-837D-4168D4FF7996}" type="parTrans" cxnId="{7A3F3B22-5284-47CD-9419-F755D407E8A1}">
      <dgm:prSet/>
      <dgm:spPr/>
      <dgm:t>
        <a:bodyPr/>
        <a:lstStyle/>
        <a:p>
          <a:pPr latinLnBrk="1"/>
          <a:endParaRPr lang="ko-KR" altLang="en-US" sz="1600"/>
        </a:p>
      </dgm:t>
    </dgm:pt>
    <dgm:pt modelId="{6E0156BC-2969-4EC9-872F-45B827ADE8C3}" type="sibTrans" cxnId="{7A3F3B22-5284-47CD-9419-F755D407E8A1}">
      <dgm:prSet custT="1"/>
      <dgm:spPr/>
      <dgm:t>
        <a:bodyPr/>
        <a:lstStyle/>
        <a:p>
          <a:pPr latinLnBrk="1"/>
          <a:endParaRPr lang="ko-KR" altLang="en-US" sz="1600"/>
        </a:p>
      </dgm:t>
    </dgm:pt>
    <dgm:pt modelId="{3743B129-0745-45A8-BE6A-4DDCD6FEEF91}">
      <dgm:prSet phldrT="[텍스트]" custT="1"/>
      <dgm:spPr/>
      <dgm:t>
        <a:bodyPr/>
        <a:lstStyle/>
        <a:p>
          <a:pPr marL="0" marR="0" indent="0" defTabSz="622300" eaLnBrk="1" fontAlgn="auto" latinLnBrk="1" hangingPunct="1">
            <a:lnSpc>
              <a:spcPct val="90000"/>
            </a:lnSpc>
            <a:spcBef>
              <a:spcPct val="0"/>
            </a:spcBef>
            <a:spcAft>
              <a:spcPct val="35000"/>
            </a:spcAft>
            <a:buClrTx/>
            <a:buSzTx/>
            <a:buFontTx/>
            <a:buNone/>
            <a:tabLst/>
            <a:defRPr/>
          </a:pPr>
          <a:r>
            <a:rPr lang="ko-KR" altLang="en-US" sz="1600" dirty="0" err="1" smtClean="0"/>
            <a:t>협단체</a:t>
          </a:r>
          <a:r>
            <a:rPr lang="ko-KR" altLang="en-US" sz="1600" dirty="0" smtClean="0"/>
            <a:t> 통한  </a:t>
          </a:r>
          <a:r>
            <a:rPr lang="ko-KR" altLang="en-US" sz="1600" dirty="0" err="1" smtClean="0"/>
            <a:t>기업공동</a:t>
          </a:r>
          <a:r>
            <a:rPr lang="en-US" altLang="ko-KR" sz="1600" dirty="0" smtClean="0"/>
            <a:t> </a:t>
          </a:r>
          <a:r>
            <a:rPr lang="ko-KR" altLang="en-US" sz="1600" dirty="0" smtClean="0"/>
            <a:t>제안 </a:t>
          </a:r>
        </a:p>
        <a:p>
          <a:pPr defTabSz="622300" latinLnBrk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ko-KR" altLang="en-US" sz="1600" dirty="0"/>
        </a:p>
      </dgm:t>
    </dgm:pt>
    <dgm:pt modelId="{B3DA3FBF-E56F-41F5-92FF-02EA378C5716}" type="parTrans" cxnId="{FBEC91EF-2A08-4D7E-A57D-7D8768396111}">
      <dgm:prSet/>
      <dgm:spPr/>
      <dgm:t>
        <a:bodyPr/>
        <a:lstStyle/>
        <a:p>
          <a:pPr latinLnBrk="1"/>
          <a:endParaRPr lang="ko-KR" altLang="en-US" sz="1600"/>
        </a:p>
      </dgm:t>
    </dgm:pt>
    <dgm:pt modelId="{4F5FEA1D-BA8C-4CA2-A272-8CCDB914657D}" type="sibTrans" cxnId="{FBEC91EF-2A08-4D7E-A57D-7D8768396111}">
      <dgm:prSet custT="1"/>
      <dgm:spPr/>
      <dgm:t>
        <a:bodyPr/>
        <a:lstStyle/>
        <a:p>
          <a:pPr latinLnBrk="1"/>
          <a:endParaRPr lang="ko-KR" altLang="en-US" sz="1600"/>
        </a:p>
      </dgm:t>
    </dgm:pt>
    <dgm:pt modelId="{54F413FF-1FEE-4BC8-BC07-6E28BCF42900}">
      <dgm:prSet phldrT="[텍스트]" custT="1"/>
      <dgm:spPr/>
      <dgm:t>
        <a:bodyPr/>
        <a:lstStyle/>
        <a:p>
          <a:pPr latinLnBrk="1"/>
          <a:r>
            <a:rPr lang="en-US" altLang="ko-KR" sz="1600" dirty="0" smtClean="0"/>
            <a:t>AI SW</a:t>
          </a:r>
          <a:r>
            <a:rPr lang="ko-KR" altLang="en-US" sz="1600" dirty="0" smtClean="0"/>
            <a:t> 기업과</a:t>
          </a:r>
          <a:r>
            <a:rPr lang="en-US" altLang="ko-KR" sz="1600" dirty="0" smtClean="0"/>
            <a:t> </a:t>
          </a:r>
          <a:r>
            <a:rPr lang="ko-KR" altLang="en-US" sz="1600" dirty="0" smtClean="0"/>
            <a:t>공동 제안 </a:t>
          </a:r>
          <a:endParaRPr lang="ko-KR" altLang="en-US" sz="1600" dirty="0"/>
        </a:p>
      </dgm:t>
    </dgm:pt>
    <dgm:pt modelId="{D142B771-F736-4E07-A0BB-39BF261A6D60}" type="parTrans" cxnId="{D9B9334E-2588-4E27-AF6F-1BDEB8A3DE5D}">
      <dgm:prSet/>
      <dgm:spPr/>
      <dgm:t>
        <a:bodyPr/>
        <a:lstStyle/>
        <a:p>
          <a:pPr latinLnBrk="1"/>
          <a:endParaRPr lang="ko-KR" altLang="en-US" sz="1600"/>
        </a:p>
      </dgm:t>
    </dgm:pt>
    <dgm:pt modelId="{0CD734CE-1FFC-4BBC-814C-C9CC7D82F6F2}" type="sibTrans" cxnId="{D9B9334E-2588-4E27-AF6F-1BDEB8A3DE5D}">
      <dgm:prSet custT="1"/>
      <dgm:spPr/>
      <dgm:t>
        <a:bodyPr/>
        <a:lstStyle/>
        <a:p>
          <a:pPr latinLnBrk="1"/>
          <a:endParaRPr lang="ko-KR" altLang="en-US" sz="1600"/>
        </a:p>
      </dgm:t>
    </dgm:pt>
    <dgm:pt modelId="{21D93B5F-1228-4DE5-AB8B-510B8CFDAD0D}">
      <dgm:prSet phldrT="[텍스트]" custT="1"/>
      <dgm:spPr/>
      <dgm:t>
        <a:bodyPr/>
        <a:lstStyle/>
        <a:p>
          <a:pPr latinLnBrk="1"/>
          <a:r>
            <a:rPr lang="ko-KR" altLang="en-US" sz="1600" dirty="0" smtClean="0"/>
            <a:t>내부 </a:t>
          </a:r>
          <a:r>
            <a:rPr lang="en-US" altLang="ko-KR" sz="1600" dirty="0" smtClean="0"/>
            <a:t>AI   R&amp;D </a:t>
          </a:r>
          <a:endParaRPr lang="ko-KR" altLang="en-US" sz="1600" dirty="0"/>
        </a:p>
      </dgm:t>
    </dgm:pt>
    <dgm:pt modelId="{20BFE3EC-46FC-4062-849C-A28AD71815AD}" type="parTrans" cxnId="{3C648ECA-B073-4162-976F-730FFF7FEE6F}">
      <dgm:prSet/>
      <dgm:spPr/>
      <dgm:t>
        <a:bodyPr/>
        <a:lstStyle/>
        <a:p>
          <a:pPr latinLnBrk="1"/>
          <a:endParaRPr lang="ko-KR" altLang="en-US" sz="1600"/>
        </a:p>
      </dgm:t>
    </dgm:pt>
    <dgm:pt modelId="{9BD81F05-E47A-45F0-9CCB-10BD54471321}" type="sibTrans" cxnId="{3C648ECA-B073-4162-976F-730FFF7FEE6F}">
      <dgm:prSet custT="1"/>
      <dgm:spPr/>
      <dgm:t>
        <a:bodyPr/>
        <a:lstStyle/>
        <a:p>
          <a:pPr latinLnBrk="1"/>
          <a:endParaRPr lang="ko-KR" altLang="en-US" sz="1600"/>
        </a:p>
      </dgm:t>
    </dgm:pt>
    <dgm:pt modelId="{058EEAF9-A2CD-48FB-8C75-8CCA01EA0A04}" type="pres">
      <dgm:prSet presAssocID="{10C94DA2-9B07-4FB6-842C-216623B6C4AE}" presName="cycle" presStyleCnt="0">
        <dgm:presLayoutVars>
          <dgm:dir/>
          <dgm:resizeHandles val="exact"/>
        </dgm:presLayoutVars>
      </dgm:prSet>
      <dgm:spPr/>
    </dgm:pt>
    <dgm:pt modelId="{A3354B5E-545C-4E41-9ABA-D027F433D980}" type="pres">
      <dgm:prSet presAssocID="{437491ED-A6C9-4990-8B23-1A4586BC2730}" presName="node" presStyleLbl="node1" presStyleIdx="0" presStyleCnt="5">
        <dgm:presLayoutVars>
          <dgm:bulletEnabled val="1"/>
        </dgm:presLayoutVars>
      </dgm:prSet>
      <dgm:spPr/>
    </dgm:pt>
    <dgm:pt modelId="{8FCE1B19-4435-4508-B2AD-12DE6E16E317}" type="pres">
      <dgm:prSet presAssocID="{C7A93A09-38BE-45DB-854F-5152A6061BE3}" presName="sibTrans" presStyleLbl="sibTrans2D1" presStyleIdx="0" presStyleCnt="5"/>
      <dgm:spPr/>
    </dgm:pt>
    <dgm:pt modelId="{402950EB-AD77-423C-B515-23BC8F2A6C1F}" type="pres">
      <dgm:prSet presAssocID="{C7A93A09-38BE-45DB-854F-5152A6061BE3}" presName="connectorText" presStyleLbl="sibTrans2D1" presStyleIdx="0" presStyleCnt="5"/>
      <dgm:spPr/>
    </dgm:pt>
    <dgm:pt modelId="{BADD34A3-75CD-4CA2-BE88-6B6ED250A385}" type="pres">
      <dgm:prSet presAssocID="{3626838A-3F04-40AF-A2BB-9A5E573D3E75}" presName="node" presStyleLbl="node1" presStyleIdx="1" presStyleCnt="5">
        <dgm:presLayoutVars>
          <dgm:bulletEnabled val="1"/>
        </dgm:presLayoutVars>
      </dgm:prSet>
      <dgm:spPr/>
    </dgm:pt>
    <dgm:pt modelId="{68F7DD61-30D0-4B62-8996-03E33F5B2836}" type="pres">
      <dgm:prSet presAssocID="{6E0156BC-2969-4EC9-872F-45B827ADE8C3}" presName="sibTrans" presStyleLbl="sibTrans2D1" presStyleIdx="1" presStyleCnt="5"/>
      <dgm:spPr/>
    </dgm:pt>
    <dgm:pt modelId="{B694560C-87FB-4840-9AEC-DB0D08A7076E}" type="pres">
      <dgm:prSet presAssocID="{6E0156BC-2969-4EC9-872F-45B827ADE8C3}" presName="connectorText" presStyleLbl="sibTrans2D1" presStyleIdx="1" presStyleCnt="5"/>
      <dgm:spPr/>
    </dgm:pt>
    <dgm:pt modelId="{9CBEBF81-C1C0-492B-AC17-08CE02096B99}" type="pres">
      <dgm:prSet presAssocID="{3743B129-0745-45A8-BE6A-4DDCD6FEEF91}" presName="node" presStyleLbl="node1" presStyleIdx="2" presStyleCnt="5">
        <dgm:presLayoutVars>
          <dgm:bulletEnabled val="1"/>
        </dgm:presLayoutVars>
      </dgm:prSet>
      <dgm:spPr/>
      <dgm:t>
        <a:bodyPr/>
        <a:lstStyle/>
        <a:p>
          <a:pPr latinLnBrk="1"/>
          <a:endParaRPr lang="ko-KR" altLang="en-US"/>
        </a:p>
      </dgm:t>
    </dgm:pt>
    <dgm:pt modelId="{A90880D2-8FC5-40CF-9DDC-0DF657D5F5FB}" type="pres">
      <dgm:prSet presAssocID="{4F5FEA1D-BA8C-4CA2-A272-8CCDB914657D}" presName="sibTrans" presStyleLbl="sibTrans2D1" presStyleIdx="2" presStyleCnt="5"/>
      <dgm:spPr/>
    </dgm:pt>
    <dgm:pt modelId="{9B8281C0-5CB3-4475-8FCD-621A2E5CC25C}" type="pres">
      <dgm:prSet presAssocID="{4F5FEA1D-BA8C-4CA2-A272-8CCDB914657D}" presName="connectorText" presStyleLbl="sibTrans2D1" presStyleIdx="2" presStyleCnt="5"/>
      <dgm:spPr/>
    </dgm:pt>
    <dgm:pt modelId="{14894E34-DA92-4EAE-B8DF-BF8424E4A405}" type="pres">
      <dgm:prSet presAssocID="{54F413FF-1FEE-4BC8-BC07-6E28BCF42900}" presName="node" presStyleLbl="node1" presStyleIdx="3" presStyleCnt="5">
        <dgm:presLayoutVars>
          <dgm:bulletEnabled val="1"/>
        </dgm:presLayoutVars>
      </dgm:prSet>
      <dgm:spPr/>
    </dgm:pt>
    <dgm:pt modelId="{054CC715-37F3-4CDC-94FD-F284109EAACA}" type="pres">
      <dgm:prSet presAssocID="{0CD734CE-1FFC-4BBC-814C-C9CC7D82F6F2}" presName="sibTrans" presStyleLbl="sibTrans2D1" presStyleIdx="3" presStyleCnt="5"/>
      <dgm:spPr/>
    </dgm:pt>
    <dgm:pt modelId="{218EE5B9-485E-43D7-B91F-DF0C55139643}" type="pres">
      <dgm:prSet presAssocID="{0CD734CE-1FFC-4BBC-814C-C9CC7D82F6F2}" presName="connectorText" presStyleLbl="sibTrans2D1" presStyleIdx="3" presStyleCnt="5"/>
      <dgm:spPr/>
    </dgm:pt>
    <dgm:pt modelId="{00CE0F48-E1CB-455B-AE46-7684F6982520}" type="pres">
      <dgm:prSet presAssocID="{21D93B5F-1228-4DE5-AB8B-510B8CFDAD0D}" presName="node" presStyleLbl="node1" presStyleIdx="4" presStyleCnt="5">
        <dgm:presLayoutVars>
          <dgm:bulletEnabled val="1"/>
        </dgm:presLayoutVars>
      </dgm:prSet>
      <dgm:spPr/>
      <dgm:t>
        <a:bodyPr/>
        <a:lstStyle/>
        <a:p>
          <a:pPr latinLnBrk="1"/>
          <a:endParaRPr lang="ko-KR" altLang="en-US"/>
        </a:p>
      </dgm:t>
    </dgm:pt>
    <dgm:pt modelId="{EBC8AA6E-41BE-47ED-8A8D-CF36552B9C42}" type="pres">
      <dgm:prSet presAssocID="{9BD81F05-E47A-45F0-9CCB-10BD54471321}" presName="sibTrans" presStyleLbl="sibTrans2D1" presStyleIdx="4" presStyleCnt="5"/>
      <dgm:spPr/>
    </dgm:pt>
    <dgm:pt modelId="{EBB78351-0BDC-4DC3-810B-FFFB8F85D380}" type="pres">
      <dgm:prSet presAssocID="{9BD81F05-E47A-45F0-9CCB-10BD54471321}" presName="connectorText" presStyleLbl="sibTrans2D1" presStyleIdx="4" presStyleCnt="5"/>
      <dgm:spPr/>
    </dgm:pt>
  </dgm:ptLst>
  <dgm:cxnLst>
    <dgm:cxn modelId="{D3C18B77-CCBC-40D7-BBCF-61C3757D074F}" type="presOf" srcId="{437491ED-A6C9-4990-8B23-1A4586BC2730}" destId="{A3354B5E-545C-4E41-9ABA-D027F433D980}" srcOrd="0" destOrd="0" presId="urn:microsoft.com/office/officeart/2005/8/layout/cycle2"/>
    <dgm:cxn modelId="{FBEC91EF-2A08-4D7E-A57D-7D8768396111}" srcId="{10C94DA2-9B07-4FB6-842C-216623B6C4AE}" destId="{3743B129-0745-45A8-BE6A-4DDCD6FEEF91}" srcOrd="2" destOrd="0" parTransId="{B3DA3FBF-E56F-41F5-92FF-02EA378C5716}" sibTransId="{4F5FEA1D-BA8C-4CA2-A272-8CCDB914657D}"/>
    <dgm:cxn modelId="{A30DFE57-3CAE-4563-B741-42E9BE484465}" type="presOf" srcId="{4F5FEA1D-BA8C-4CA2-A272-8CCDB914657D}" destId="{A90880D2-8FC5-40CF-9DDC-0DF657D5F5FB}" srcOrd="0" destOrd="0" presId="urn:microsoft.com/office/officeart/2005/8/layout/cycle2"/>
    <dgm:cxn modelId="{C3D066F8-E95E-46FB-8BA8-453B6DD4935F}" type="presOf" srcId="{C7A93A09-38BE-45DB-854F-5152A6061BE3}" destId="{402950EB-AD77-423C-B515-23BC8F2A6C1F}" srcOrd="1" destOrd="0" presId="urn:microsoft.com/office/officeart/2005/8/layout/cycle2"/>
    <dgm:cxn modelId="{59D7444F-96BD-4060-A740-4223DD94D841}" type="presOf" srcId="{0CD734CE-1FFC-4BBC-814C-C9CC7D82F6F2}" destId="{218EE5B9-485E-43D7-B91F-DF0C55139643}" srcOrd="1" destOrd="0" presId="urn:microsoft.com/office/officeart/2005/8/layout/cycle2"/>
    <dgm:cxn modelId="{799FDE8A-7708-4E12-942E-C078C9FD33BC}" type="presOf" srcId="{54F413FF-1FEE-4BC8-BC07-6E28BCF42900}" destId="{14894E34-DA92-4EAE-B8DF-BF8424E4A405}" srcOrd="0" destOrd="0" presId="urn:microsoft.com/office/officeart/2005/8/layout/cycle2"/>
    <dgm:cxn modelId="{7A3F3B22-5284-47CD-9419-F755D407E8A1}" srcId="{10C94DA2-9B07-4FB6-842C-216623B6C4AE}" destId="{3626838A-3F04-40AF-A2BB-9A5E573D3E75}" srcOrd="1" destOrd="0" parTransId="{D09AB51B-7373-47AE-837D-4168D4FF7996}" sibTransId="{6E0156BC-2969-4EC9-872F-45B827ADE8C3}"/>
    <dgm:cxn modelId="{4E6B3968-A322-4C04-B677-253ECF3B9998}" type="presOf" srcId="{9BD81F05-E47A-45F0-9CCB-10BD54471321}" destId="{EBC8AA6E-41BE-47ED-8A8D-CF36552B9C42}" srcOrd="0" destOrd="0" presId="urn:microsoft.com/office/officeart/2005/8/layout/cycle2"/>
    <dgm:cxn modelId="{3C648ECA-B073-4162-976F-730FFF7FEE6F}" srcId="{10C94DA2-9B07-4FB6-842C-216623B6C4AE}" destId="{21D93B5F-1228-4DE5-AB8B-510B8CFDAD0D}" srcOrd="4" destOrd="0" parTransId="{20BFE3EC-46FC-4062-849C-A28AD71815AD}" sibTransId="{9BD81F05-E47A-45F0-9CCB-10BD54471321}"/>
    <dgm:cxn modelId="{D9B9334E-2588-4E27-AF6F-1BDEB8A3DE5D}" srcId="{10C94DA2-9B07-4FB6-842C-216623B6C4AE}" destId="{54F413FF-1FEE-4BC8-BC07-6E28BCF42900}" srcOrd="3" destOrd="0" parTransId="{D142B771-F736-4E07-A0BB-39BF261A6D60}" sibTransId="{0CD734CE-1FFC-4BBC-814C-C9CC7D82F6F2}"/>
    <dgm:cxn modelId="{FDB27ECD-99C2-431F-966A-05C383E054AF}" type="presOf" srcId="{C7A93A09-38BE-45DB-854F-5152A6061BE3}" destId="{8FCE1B19-4435-4508-B2AD-12DE6E16E317}" srcOrd="0" destOrd="0" presId="urn:microsoft.com/office/officeart/2005/8/layout/cycle2"/>
    <dgm:cxn modelId="{09CEA4F6-7DB7-4D83-8D78-CBF7C9B90F02}" type="presOf" srcId="{6E0156BC-2969-4EC9-872F-45B827ADE8C3}" destId="{68F7DD61-30D0-4B62-8996-03E33F5B2836}" srcOrd="0" destOrd="0" presId="urn:microsoft.com/office/officeart/2005/8/layout/cycle2"/>
    <dgm:cxn modelId="{08644AE1-9E46-40B0-BE56-B838E229A214}" srcId="{10C94DA2-9B07-4FB6-842C-216623B6C4AE}" destId="{437491ED-A6C9-4990-8B23-1A4586BC2730}" srcOrd="0" destOrd="0" parTransId="{1A047F12-6A43-4B39-936F-B719CDDB0A1E}" sibTransId="{C7A93A09-38BE-45DB-854F-5152A6061BE3}"/>
    <dgm:cxn modelId="{BD179CA9-D2EE-484F-8732-5754B4156094}" type="presOf" srcId="{10C94DA2-9B07-4FB6-842C-216623B6C4AE}" destId="{058EEAF9-A2CD-48FB-8C75-8CCA01EA0A04}" srcOrd="0" destOrd="0" presId="urn:microsoft.com/office/officeart/2005/8/layout/cycle2"/>
    <dgm:cxn modelId="{B549AA16-0EB5-4A6A-87E0-FA97BBD3EF98}" type="presOf" srcId="{9BD81F05-E47A-45F0-9CCB-10BD54471321}" destId="{EBB78351-0BDC-4DC3-810B-FFFB8F85D380}" srcOrd="1" destOrd="0" presId="urn:microsoft.com/office/officeart/2005/8/layout/cycle2"/>
    <dgm:cxn modelId="{05705D70-6322-46AC-95EE-5AD55C203370}" type="presOf" srcId="{3743B129-0745-45A8-BE6A-4DDCD6FEEF91}" destId="{9CBEBF81-C1C0-492B-AC17-08CE02096B99}" srcOrd="0" destOrd="0" presId="urn:microsoft.com/office/officeart/2005/8/layout/cycle2"/>
    <dgm:cxn modelId="{35D6FB95-EEBA-4D20-B5E2-8BE9C3B2272C}" type="presOf" srcId="{6E0156BC-2969-4EC9-872F-45B827ADE8C3}" destId="{B694560C-87FB-4840-9AEC-DB0D08A7076E}" srcOrd="1" destOrd="0" presId="urn:microsoft.com/office/officeart/2005/8/layout/cycle2"/>
    <dgm:cxn modelId="{E971663D-B442-4AE0-A8D6-D52236508F9B}" type="presOf" srcId="{21D93B5F-1228-4DE5-AB8B-510B8CFDAD0D}" destId="{00CE0F48-E1CB-455B-AE46-7684F6982520}" srcOrd="0" destOrd="0" presId="urn:microsoft.com/office/officeart/2005/8/layout/cycle2"/>
    <dgm:cxn modelId="{7CEB90A1-57C1-4EB0-A4E9-17EF7CE0D897}" type="presOf" srcId="{4F5FEA1D-BA8C-4CA2-A272-8CCDB914657D}" destId="{9B8281C0-5CB3-4475-8FCD-621A2E5CC25C}" srcOrd="1" destOrd="0" presId="urn:microsoft.com/office/officeart/2005/8/layout/cycle2"/>
    <dgm:cxn modelId="{89111C5B-652D-4DDA-918F-6D7EB42BCC9A}" type="presOf" srcId="{0CD734CE-1FFC-4BBC-814C-C9CC7D82F6F2}" destId="{054CC715-37F3-4CDC-94FD-F284109EAACA}" srcOrd="0" destOrd="0" presId="urn:microsoft.com/office/officeart/2005/8/layout/cycle2"/>
    <dgm:cxn modelId="{CDF752FF-9F28-4210-BA10-9AAB14D2253C}" type="presOf" srcId="{3626838A-3F04-40AF-A2BB-9A5E573D3E75}" destId="{BADD34A3-75CD-4CA2-BE88-6B6ED250A385}" srcOrd="0" destOrd="0" presId="urn:microsoft.com/office/officeart/2005/8/layout/cycle2"/>
    <dgm:cxn modelId="{E60D0278-C5FF-4A6D-B12B-DCA050C4213A}" type="presParOf" srcId="{058EEAF9-A2CD-48FB-8C75-8CCA01EA0A04}" destId="{A3354B5E-545C-4E41-9ABA-D027F433D980}" srcOrd="0" destOrd="0" presId="urn:microsoft.com/office/officeart/2005/8/layout/cycle2"/>
    <dgm:cxn modelId="{C40CE36D-8666-4B23-BD8D-F13D95CDA349}" type="presParOf" srcId="{058EEAF9-A2CD-48FB-8C75-8CCA01EA0A04}" destId="{8FCE1B19-4435-4508-B2AD-12DE6E16E317}" srcOrd="1" destOrd="0" presId="urn:microsoft.com/office/officeart/2005/8/layout/cycle2"/>
    <dgm:cxn modelId="{F52B627E-0664-4C7A-ADA3-A9040D0435D5}" type="presParOf" srcId="{8FCE1B19-4435-4508-B2AD-12DE6E16E317}" destId="{402950EB-AD77-423C-B515-23BC8F2A6C1F}" srcOrd="0" destOrd="0" presId="urn:microsoft.com/office/officeart/2005/8/layout/cycle2"/>
    <dgm:cxn modelId="{1C3EF3BB-D34B-4F8C-871C-3714C9FEA1F2}" type="presParOf" srcId="{058EEAF9-A2CD-48FB-8C75-8CCA01EA0A04}" destId="{BADD34A3-75CD-4CA2-BE88-6B6ED250A385}" srcOrd="2" destOrd="0" presId="urn:microsoft.com/office/officeart/2005/8/layout/cycle2"/>
    <dgm:cxn modelId="{AB9B8A52-EC45-468E-AC4A-9BA5283DD65E}" type="presParOf" srcId="{058EEAF9-A2CD-48FB-8C75-8CCA01EA0A04}" destId="{68F7DD61-30D0-4B62-8996-03E33F5B2836}" srcOrd="3" destOrd="0" presId="urn:microsoft.com/office/officeart/2005/8/layout/cycle2"/>
    <dgm:cxn modelId="{93A364F3-14CF-4058-BACC-D195BEDC8044}" type="presParOf" srcId="{68F7DD61-30D0-4B62-8996-03E33F5B2836}" destId="{B694560C-87FB-4840-9AEC-DB0D08A7076E}" srcOrd="0" destOrd="0" presId="urn:microsoft.com/office/officeart/2005/8/layout/cycle2"/>
    <dgm:cxn modelId="{8AE0BF0F-41DF-4D77-8A8B-2ED6CC0CBB4F}" type="presParOf" srcId="{058EEAF9-A2CD-48FB-8C75-8CCA01EA0A04}" destId="{9CBEBF81-C1C0-492B-AC17-08CE02096B99}" srcOrd="4" destOrd="0" presId="urn:microsoft.com/office/officeart/2005/8/layout/cycle2"/>
    <dgm:cxn modelId="{0E9EA361-5FF7-44BE-A281-C3238BF4B1D4}" type="presParOf" srcId="{058EEAF9-A2CD-48FB-8C75-8CCA01EA0A04}" destId="{A90880D2-8FC5-40CF-9DDC-0DF657D5F5FB}" srcOrd="5" destOrd="0" presId="urn:microsoft.com/office/officeart/2005/8/layout/cycle2"/>
    <dgm:cxn modelId="{9FFBDACE-2BC4-4AC7-AF98-A523D609AD41}" type="presParOf" srcId="{A90880D2-8FC5-40CF-9DDC-0DF657D5F5FB}" destId="{9B8281C0-5CB3-4475-8FCD-621A2E5CC25C}" srcOrd="0" destOrd="0" presId="urn:microsoft.com/office/officeart/2005/8/layout/cycle2"/>
    <dgm:cxn modelId="{78CFA17E-154A-4A2F-BC57-BD44F1AA42DE}" type="presParOf" srcId="{058EEAF9-A2CD-48FB-8C75-8CCA01EA0A04}" destId="{14894E34-DA92-4EAE-B8DF-BF8424E4A405}" srcOrd="6" destOrd="0" presId="urn:microsoft.com/office/officeart/2005/8/layout/cycle2"/>
    <dgm:cxn modelId="{E29D39D9-3077-4DB3-8B0D-2FA969A07003}" type="presParOf" srcId="{058EEAF9-A2CD-48FB-8C75-8CCA01EA0A04}" destId="{054CC715-37F3-4CDC-94FD-F284109EAACA}" srcOrd="7" destOrd="0" presId="urn:microsoft.com/office/officeart/2005/8/layout/cycle2"/>
    <dgm:cxn modelId="{4B5898E1-E67D-4792-83D0-C4D56ECF2209}" type="presParOf" srcId="{054CC715-37F3-4CDC-94FD-F284109EAACA}" destId="{218EE5B9-485E-43D7-B91F-DF0C55139643}" srcOrd="0" destOrd="0" presId="urn:microsoft.com/office/officeart/2005/8/layout/cycle2"/>
    <dgm:cxn modelId="{86E4B377-B0B4-47B0-AA27-77DB9B7A0928}" type="presParOf" srcId="{058EEAF9-A2CD-48FB-8C75-8CCA01EA0A04}" destId="{00CE0F48-E1CB-455B-AE46-7684F6982520}" srcOrd="8" destOrd="0" presId="urn:microsoft.com/office/officeart/2005/8/layout/cycle2"/>
    <dgm:cxn modelId="{5929EA27-0F4E-4C1B-9A1B-9B3510469AB3}" type="presParOf" srcId="{058EEAF9-A2CD-48FB-8C75-8CCA01EA0A04}" destId="{EBC8AA6E-41BE-47ED-8A8D-CF36552B9C42}" srcOrd="9" destOrd="0" presId="urn:microsoft.com/office/officeart/2005/8/layout/cycle2"/>
    <dgm:cxn modelId="{50809428-8B19-4290-A9F7-346F3D84374B}" type="presParOf" srcId="{EBC8AA6E-41BE-47ED-8A8D-CF36552B9C42}" destId="{EBB78351-0BDC-4DC3-810B-FFFB8F85D380}" srcOrd="0" destOrd="0" presId="urn:microsoft.com/office/officeart/2005/8/layout/cycle2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17.xml><?xml version="1.0" encoding="utf-8"?>
<dgm:dataModel xmlns:dgm="http://schemas.openxmlformats.org/drawingml/2006/diagram" xmlns:a="http://schemas.openxmlformats.org/drawingml/2006/main">
  <dgm:ptLst>
    <dgm:pt modelId="{58636AF7-DC63-4F5F-A47D-20CBA18E8923}" type="doc">
      <dgm:prSet loTypeId="urn:microsoft.com/office/officeart/2005/8/layout/matrix1" loCatId="matrix" qsTypeId="urn:microsoft.com/office/officeart/2005/8/quickstyle/simple3" qsCatId="simple" csTypeId="urn:microsoft.com/office/officeart/2005/8/colors/accent1_4" csCatId="accent1" phldr="1"/>
      <dgm:spPr/>
      <dgm:t>
        <a:bodyPr/>
        <a:lstStyle/>
        <a:p>
          <a:pPr latinLnBrk="1"/>
          <a:endParaRPr lang="ko-KR" altLang="en-US"/>
        </a:p>
      </dgm:t>
    </dgm:pt>
    <dgm:pt modelId="{16F0F6DB-1EBE-4346-9CDB-478B1BE995A3}">
      <dgm:prSet phldrT="[텍스트]" custT="1"/>
      <dgm:spPr/>
      <dgm:t>
        <a:bodyPr/>
        <a:lstStyle/>
        <a:p>
          <a:pPr algn="l" latinLnBrk="1"/>
          <a:r>
            <a:rPr lang="ko-KR" altLang="en-US" sz="2400" dirty="0"/>
            <a:t>기술</a:t>
          </a:r>
          <a:r>
            <a:rPr lang="en-US" altLang="ko-KR" sz="2400" dirty="0"/>
            <a:t>/</a:t>
          </a:r>
          <a:r>
            <a:rPr lang="ko-KR" altLang="en-US" sz="2400" dirty="0"/>
            <a:t>비즈니스의 융합</a:t>
          </a:r>
          <a:r>
            <a:rPr lang="en-US" altLang="ko-KR" sz="2400" dirty="0"/>
            <a:t>&amp; </a:t>
          </a:r>
          <a:r>
            <a:rPr lang="ko-KR" altLang="en-US" sz="2400" dirty="0"/>
            <a:t>소통 </a:t>
          </a:r>
          <a:r>
            <a:rPr lang="en-US" altLang="ko-KR" sz="2400" dirty="0"/>
            <a:t>(</a:t>
          </a:r>
          <a:r>
            <a:rPr lang="en-US" altLang="ko-KR" sz="2400" dirty="0" err="1"/>
            <a:t>Iot</a:t>
          </a:r>
          <a:r>
            <a:rPr lang="en-US" altLang="ko-KR" sz="2400" dirty="0"/>
            <a:t>)</a:t>
          </a:r>
          <a:r>
            <a:rPr lang="ko-KR" altLang="en-US" sz="2400" dirty="0"/>
            <a:t>  </a:t>
          </a:r>
        </a:p>
      </dgm:t>
    </dgm:pt>
    <dgm:pt modelId="{F17169C0-D448-44B7-9D6A-9ACBA48A179A}" type="parTrans" cxnId="{B6F556AB-84F3-4406-8100-DC0A151AB413}">
      <dgm:prSet/>
      <dgm:spPr/>
      <dgm:t>
        <a:bodyPr/>
        <a:lstStyle/>
        <a:p>
          <a:pPr algn="l" latinLnBrk="1"/>
          <a:endParaRPr lang="ko-KR" altLang="en-US"/>
        </a:p>
      </dgm:t>
    </dgm:pt>
    <dgm:pt modelId="{89C722FE-F3FC-4D7A-B9D0-BCBFB16F02A7}" type="sibTrans" cxnId="{B6F556AB-84F3-4406-8100-DC0A151AB413}">
      <dgm:prSet/>
      <dgm:spPr/>
      <dgm:t>
        <a:bodyPr/>
        <a:lstStyle/>
        <a:p>
          <a:pPr algn="l" latinLnBrk="1"/>
          <a:endParaRPr lang="ko-KR" altLang="en-US"/>
        </a:p>
      </dgm:t>
    </dgm:pt>
    <dgm:pt modelId="{FDA03EBA-EBF1-4FF0-ACEC-5559B6A92763}">
      <dgm:prSet phldrT="[텍스트]" custT="1"/>
      <dgm:spPr/>
      <dgm:t>
        <a:bodyPr/>
        <a:lstStyle/>
        <a:p>
          <a:pPr algn="l" latinLnBrk="1">
            <a:buNone/>
          </a:pPr>
          <a:endParaRPr lang="en-US" altLang="ko-KR" sz="2000" dirty="0" smtClean="0"/>
        </a:p>
        <a:p>
          <a:pPr algn="l" latinLnBrk="1">
            <a:buNone/>
          </a:pPr>
          <a:endParaRPr lang="en-US" altLang="ko-KR" sz="2000" dirty="0" smtClean="0"/>
        </a:p>
        <a:p>
          <a:pPr algn="l" latinLnBrk="1">
            <a:buFont typeface="Arial" panose="020B0604020202020204" pitchFamily="34" charset="0"/>
            <a:buChar char="•"/>
          </a:pPr>
          <a:endParaRPr lang="en-US" altLang="ko-KR" sz="2400" b="1" dirty="0" smtClean="0"/>
        </a:p>
        <a:p>
          <a:pPr algn="l" latinLnBrk="1">
            <a:buFont typeface="Arial" panose="020B0604020202020204" pitchFamily="34" charset="0"/>
            <a:buChar char="•"/>
          </a:pPr>
          <a:endParaRPr lang="en-US" altLang="ko-KR" sz="2400" b="1" dirty="0" smtClean="0"/>
        </a:p>
        <a:p>
          <a:pPr algn="l" latinLnBrk="1">
            <a:buFont typeface="Arial" panose="020B0604020202020204" pitchFamily="34" charset="0"/>
            <a:buChar char="•"/>
          </a:pPr>
          <a:r>
            <a:rPr lang="ko-KR" altLang="en-US" sz="2000" b="1" dirty="0" smtClean="0"/>
            <a:t> 다양한 </a:t>
          </a:r>
          <a:r>
            <a:rPr lang="ko-KR" altLang="en-US" sz="2000" b="1" dirty="0" err="1" smtClean="0"/>
            <a:t>초극자</a:t>
          </a:r>
          <a:r>
            <a:rPr lang="ko-KR" altLang="en-US" sz="2000" b="1" dirty="0" smtClean="0"/>
            <a:t> 반도체</a:t>
          </a:r>
          <a:endParaRPr lang="en-US" altLang="ko-KR" sz="2000" b="1" dirty="0" smtClean="0"/>
        </a:p>
        <a:p>
          <a:pPr algn="l" latinLnBrk="1">
            <a:buFont typeface="Arial" panose="020B0604020202020204" pitchFamily="34" charset="0"/>
            <a:buChar char="•"/>
          </a:pPr>
          <a:r>
            <a:rPr lang="ko-KR" altLang="en-US" sz="2000" b="1" dirty="0" smtClean="0"/>
            <a:t>고속 분산병렬정보처리기술</a:t>
          </a:r>
          <a:r>
            <a:rPr lang="en-US" altLang="ko-KR" sz="2000" b="1" dirty="0" smtClean="0"/>
            <a:t>/</a:t>
          </a:r>
          <a:r>
            <a:rPr lang="ko-KR" altLang="en-US" sz="2000" b="1" dirty="0" smtClean="0"/>
            <a:t>통계</a:t>
          </a:r>
          <a:endParaRPr lang="en-US" altLang="ko-KR" sz="2000" b="1" dirty="0" smtClean="0"/>
        </a:p>
        <a:p>
          <a:pPr algn="l" latinLnBrk="1">
            <a:buFont typeface="Arial" panose="020B0604020202020204" pitchFamily="34" charset="0"/>
            <a:buChar char="•"/>
          </a:pPr>
          <a:r>
            <a:rPr lang="ko-KR" altLang="en-US" sz="2000" b="1" dirty="0" smtClean="0"/>
            <a:t> 연산 초고속  양자컴퓨터</a:t>
          </a:r>
          <a:endParaRPr lang="en-US" altLang="ko-KR" sz="2000" b="1" dirty="0" smtClean="0"/>
        </a:p>
        <a:p>
          <a:pPr algn="l" latinLnBrk="1">
            <a:buFont typeface="Arial" panose="020B0604020202020204" pitchFamily="34" charset="0"/>
            <a:buChar char="•"/>
          </a:pPr>
          <a:r>
            <a:rPr lang="ko-KR" altLang="en-US" sz="2000" b="1" dirty="0" smtClean="0"/>
            <a:t>  </a:t>
          </a:r>
          <a:r>
            <a:rPr lang="ko-KR" altLang="en-US" sz="2000" b="1" dirty="0" err="1" smtClean="0"/>
            <a:t>클라우딩</a:t>
          </a:r>
          <a:r>
            <a:rPr lang="ko-KR" altLang="en-US" sz="2000" b="1" dirty="0" smtClean="0"/>
            <a:t> 시스템  </a:t>
          </a:r>
          <a:endParaRPr lang="en-US" altLang="ko-KR" sz="2000" b="1" dirty="0" smtClean="0"/>
        </a:p>
        <a:p>
          <a:pPr algn="l" latinLnBrk="1">
            <a:buFont typeface="Arial" panose="020B0604020202020204" pitchFamily="34" charset="0"/>
            <a:buChar char="•"/>
          </a:pPr>
          <a:r>
            <a:rPr lang="ko-KR" altLang="en-US" sz="2400" b="1" dirty="0" smtClean="0"/>
            <a:t>                   </a:t>
          </a:r>
          <a:endParaRPr lang="en-US" altLang="ko-KR" sz="2400" b="1" dirty="0" smtClean="0"/>
        </a:p>
        <a:p>
          <a:pPr algn="l" latinLnBrk="1">
            <a:buFont typeface="Arial" panose="020B0604020202020204" pitchFamily="34" charset="0"/>
            <a:buChar char="•"/>
          </a:pPr>
          <a:r>
            <a:rPr lang="en-US" altLang="ko-KR" sz="2400" b="1" dirty="0" smtClean="0"/>
            <a:t>&amp; </a:t>
          </a:r>
          <a:r>
            <a:rPr lang="ko-KR" altLang="en-US" sz="2400" b="1" dirty="0" smtClean="0"/>
            <a:t>로봇  </a:t>
          </a:r>
          <a:endParaRPr lang="ko-KR" altLang="en-US" sz="2400" b="1" dirty="0"/>
        </a:p>
      </dgm:t>
    </dgm:pt>
    <dgm:pt modelId="{C5F0E640-4D24-484F-8502-B30509EBC7B6}" type="parTrans" cxnId="{9606B885-AD5F-4EC9-93C5-376502E9502C}">
      <dgm:prSet/>
      <dgm:spPr/>
      <dgm:t>
        <a:bodyPr/>
        <a:lstStyle/>
        <a:p>
          <a:pPr algn="l" latinLnBrk="1"/>
          <a:endParaRPr lang="ko-KR" altLang="en-US"/>
        </a:p>
      </dgm:t>
    </dgm:pt>
    <dgm:pt modelId="{1F3912A4-FDB1-43E6-885A-83A366EA6266}" type="sibTrans" cxnId="{9606B885-AD5F-4EC9-93C5-376502E9502C}">
      <dgm:prSet/>
      <dgm:spPr/>
      <dgm:t>
        <a:bodyPr/>
        <a:lstStyle/>
        <a:p>
          <a:pPr algn="l" latinLnBrk="1"/>
          <a:endParaRPr lang="ko-KR" altLang="en-US"/>
        </a:p>
      </dgm:t>
    </dgm:pt>
    <dgm:pt modelId="{EDDD35CA-10F5-4AF5-91B6-D85775421E79}">
      <dgm:prSet phldrT="[텍스트]" custT="1"/>
      <dgm:spPr/>
      <dgm:t>
        <a:bodyPr/>
        <a:lstStyle/>
        <a:p>
          <a:pPr algn="l" latinLnBrk="1"/>
          <a:endParaRPr lang="en-US" altLang="ko-KR" sz="2400" b="1" dirty="0">
            <a:solidFill>
              <a:schemeClr val="tx1"/>
            </a:solidFill>
          </a:endParaRPr>
        </a:p>
      </dgm:t>
    </dgm:pt>
    <dgm:pt modelId="{D38B79F7-2B72-4B85-81BC-8298D8C5B726}" type="parTrans" cxnId="{FCE32A1A-F297-4183-B11C-D90DDA29385C}">
      <dgm:prSet/>
      <dgm:spPr/>
      <dgm:t>
        <a:bodyPr/>
        <a:lstStyle/>
        <a:p>
          <a:pPr algn="l" latinLnBrk="1"/>
          <a:endParaRPr lang="ko-KR" altLang="en-US"/>
        </a:p>
      </dgm:t>
    </dgm:pt>
    <dgm:pt modelId="{770083FC-EC2A-40E2-936E-FB6FE7BA8B25}" type="sibTrans" cxnId="{FCE32A1A-F297-4183-B11C-D90DDA29385C}">
      <dgm:prSet/>
      <dgm:spPr/>
      <dgm:t>
        <a:bodyPr/>
        <a:lstStyle/>
        <a:p>
          <a:pPr algn="l" latinLnBrk="1"/>
          <a:endParaRPr lang="ko-KR" altLang="en-US"/>
        </a:p>
      </dgm:t>
    </dgm:pt>
    <dgm:pt modelId="{C67B7F8B-D516-4882-A0BC-BC581CBFF602}">
      <dgm:prSet phldrT="[텍스트]" custT="1"/>
      <dgm:spPr/>
      <dgm:t>
        <a:bodyPr/>
        <a:lstStyle/>
        <a:p>
          <a:pPr marL="0" marR="0" lvl="0" indent="0" algn="l" defTabSz="914400" eaLnBrk="1" fontAlgn="auto" latinLnBrk="1" hangingPunct="1">
            <a:lnSpc>
              <a:spcPct val="9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ko-KR" altLang="en-US" sz="2400" b="1" smtClean="0"/>
            <a:t> </a:t>
          </a:r>
          <a:endParaRPr lang="en-US" altLang="ko-KR" sz="2400" b="1" smtClean="0"/>
        </a:p>
        <a:p>
          <a:pPr marL="0" marR="0" lvl="0" indent="0" algn="l" defTabSz="914400" eaLnBrk="1" fontAlgn="auto" latinLnBrk="1" hangingPunct="1">
            <a:lnSpc>
              <a:spcPct val="9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ko-KR" altLang="en-US" sz="2400" b="1" smtClean="0"/>
            <a:t>빅데이터 플렛폼</a:t>
          </a:r>
          <a:endParaRPr lang="en-US" altLang="ko-KR" sz="2400" b="1" smtClean="0"/>
        </a:p>
        <a:p>
          <a:pPr marL="0" marR="0" lvl="0" indent="0" algn="l" defTabSz="914400" eaLnBrk="1" fontAlgn="auto" latinLnBrk="1" hangingPunct="1">
            <a:lnSpc>
              <a:spcPct val="9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ko-KR" altLang="en-US" sz="1600" b="1" smtClean="0"/>
            <a:t>데이터</a:t>
          </a:r>
          <a:r>
            <a:rPr lang="en-US" altLang="ko-KR" sz="1600" b="1" smtClean="0"/>
            <a:t> </a:t>
          </a:r>
          <a:r>
            <a:rPr lang="ko-KR" altLang="en-US" sz="1600" b="1" smtClean="0"/>
            <a:t>처리 분석 기법 </a:t>
          </a:r>
          <a:r>
            <a:rPr lang="en-US" altLang="ko-KR" sz="1600" b="1" smtClean="0"/>
            <a:t>SW HW/</a:t>
          </a:r>
        </a:p>
        <a:p>
          <a:pPr marL="0" marR="0" lvl="0" indent="0" algn="l" defTabSz="914400" eaLnBrk="1" fontAlgn="auto" latinLnBrk="1" hangingPunct="1">
            <a:lnSpc>
              <a:spcPct val="9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ko-KR" altLang="en-US" sz="1600" b="1" smtClean="0"/>
            <a:t>통계패케지 </a:t>
          </a:r>
          <a:r>
            <a:rPr lang="en-US" altLang="ko-KR" sz="1600" b="1" smtClean="0"/>
            <a:t> </a:t>
          </a:r>
        </a:p>
        <a:p>
          <a:pPr marL="0" lvl="0" algn="l" defTabSz="1066800" latinLnBrk="1">
            <a:lnSpc>
              <a:spcPct val="100000"/>
            </a:lnSpc>
            <a:spcBef>
              <a:spcPct val="0"/>
            </a:spcBef>
            <a:spcAft>
              <a:spcPct val="35000"/>
            </a:spcAft>
            <a:buFont typeface="Arial" panose="020B0604020202020204" pitchFamily="34" charset="0"/>
            <a:buChar char="•"/>
          </a:pPr>
          <a:r>
            <a:rPr lang="en-US" altLang="ko-KR" sz="1600" b="1" smtClean="0"/>
            <a:t>- </a:t>
          </a:r>
          <a:r>
            <a:rPr lang="ko-KR" altLang="en-US" sz="1600" b="1" smtClean="0"/>
            <a:t>목표에 따라  발굴</a:t>
          </a:r>
          <a:r>
            <a:rPr lang="en-US" altLang="ko-KR" sz="1600" b="1" smtClean="0"/>
            <a:t>/</a:t>
          </a:r>
          <a:r>
            <a:rPr lang="ko-KR" altLang="en-US" sz="1600" b="1" smtClean="0"/>
            <a:t>수집</a:t>
          </a:r>
          <a:r>
            <a:rPr lang="en-US" altLang="ko-KR" sz="1600" b="1" smtClean="0"/>
            <a:t>- </a:t>
          </a:r>
          <a:r>
            <a:rPr lang="ko-KR" altLang="en-US" sz="1600" b="1" smtClean="0"/>
            <a:t>분산</a:t>
          </a:r>
          <a:r>
            <a:rPr lang="en-US" altLang="ko-KR" sz="1600" b="1" smtClean="0"/>
            <a:t>&amp; </a:t>
          </a:r>
          <a:r>
            <a:rPr lang="ko-KR" altLang="en-US" sz="1600" b="1" smtClean="0"/>
            <a:t>구조화</a:t>
          </a:r>
          <a:r>
            <a:rPr lang="en-US" altLang="ko-KR" sz="1600" b="1" smtClean="0"/>
            <a:t>&gt; </a:t>
          </a:r>
          <a:r>
            <a:rPr lang="ko-KR" altLang="en-US" sz="1600" b="1" smtClean="0"/>
            <a:t>저장관리 </a:t>
          </a:r>
          <a:r>
            <a:rPr lang="en-US" altLang="ko-KR" sz="1600" b="1" smtClean="0"/>
            <a:t> &gt;- </a:t>
          </a:r>
          <a:r>
            <a:rPr lang="ko-KR" altLang="en-US" sz="1600" b="1" smtClean="0"/>
            <a:t>가공</a:t>
          </a:r>
          <a:r>
            <a:rPr lang="en-US" altLang="ko-KR" sz="1600" b="1" smtClean="0"/>
            <a:t>/ </a:t>
          </a:r>
          <a:r>
            <a:rPr lang="ko-KR" altLang="en-US" sz="1600" b="1" smtClean="0"/>
            <a:t>분석 </a:t>
          </a:r>
          <a:r>
            <a:rPr lang="en-US" altLang="ko-KR" sz="1600" b="1" smtClean="0"/>
            <a:t>&amp;</a:t>
          </a:r>
          <a:r>
            <a:rPr lang="ko-KR" altLang="en-US" sz="1600" b="1" smtClean="0"/>
            <a:t>표현 기술 </a:t>
          </a:r>
          <a:endParaRPr lang="en-US" altLang="ko-KR" sz="1600" b="1" smtClean="0"/>
        </a:p>
        <a:p>
          <a:pPr marL="0" lvl="0" algn="l" defTabSz="1066800" latinLnBrk="1">
            <a:lnSpc>
              <a:spcPct val="100000"/>
            </a:lnSpc>
            <a:spcBef>
              <a:spcPct val="0"/>
            </a:spcBef>
            <a:spcAft>
              <a:spcPct val="35000"/>
            </a:spcAft>
            <a:buChar char="•"/>
          </a:pPr>
          <a:r>
            <a:rPr lang="en-US" altLang="ko-KR" sz="1600" b="1" smtClean="0">
              <a:effectLst/>
            </a:rPr>
            <a:t>By </a:t>
          </a:r>
          <a:r>
            <a:rPr lang="ko-KR" altLang="ko-KR" sz="1600" b="1" smtClean="0">
              <a:effectLst/>
            </a:rPr>
            <a:t>인공지능 </a:t>
          </a:r>
          <a:r>
            <a:rPr lang="en-US" altLang="ko-KR" sz="1600" b="1" smtClean="0">
              <a:effectLst/>
            </a:rPr>
            <a:t>(AI)&gt; </a:t>
          </a:r>
          <a:r>
            <a:rPr lang="ko-KR" altLang="ko-KR" sz="1600" b="1" smtClean="0">
              <a:effectLst/>
            </a:rPr>
            <a:t>목적형 테이터세트 </a:t>
          </a:r>
        </a:p>
        <a:p>
          <a:pPr marL="0" lvl="0" algn="l" defTabSz="1066800" latinLnBrk="1">
            <a:lnSpc>
              <a:spcPct val="100000"/>
            </a:lnSpc>
            <a:spcBef>
              <a:spcPct val="0"/>
            </a:spcBef>
            <a:spcAft>
              <a:spcPct val="35000"/>
            </a:spcAft>
            <a:buFont typeface="Arial" panose="020B0604020202020204" pitchFamily="34" charset="0"/>
            <a:buChar char="•"/>
          </a:pPr>
          <a:endParaRPr lang="en-US" altLang="ko-KR" sz="1600" b="1" smtClean="0"/>
        </a:p>
        <a:p>
          <a:pPr marL="0" lvl="0" algn="l" defTabSz="1066800" latinLnBrk="1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ko-KR" altLang="en-US" dirty="0"/>
        </a:p>
      </dgm:t>
    </dgm:pt>
    <dgm:pt modelId="{376B1CF9-5418-4EAA-BFDB-123257A7201C}" type="parTrans" cxnId="{669ACB74-4354-4E16-953B-E0B87CFD3C4D}">
      <dgm:prSet/>
      <dgm:spPr/>
      <dgm:t>
        <a:bodyPr/>
        <a:lstStyle/>
        <a:p>
          <a:pPr algn="l" latinLnBrk="1"/>
          <a:endParaRPr lang="ko-KR" altLang="en-US"/>
        </a:p>
      </dgm:t>
    </dgm:pt>
    <dgm:pt modelId="{5F69A5C2-8643-480E-B0D5-2EE1A85E5DDA}" type="sibTrans" cxnId="{669ACB74-4354-4E16-953B-E0B87CFD3C4D}">
      <dgm:prSet/>
      <dgm:spPr/>
      <dgm:t>
        <a:bodyPr/>
        <a:lstStyle/>
        <a:p>
          <a:pPr algn="l" latinLnBrk="1"/>
          <a:endParaRPr lang="ko-KR" altLang="en-US"/>
        </a:p>
      </dgm:t>
    </dgm:pt>
    <dgm:pt modelId="{CE55EFE1-DAC5-493B-8274-96998C9A09F3}">
      <dgm:prSet custT="1"/>
      <dgm:spPr/>
      <dgm:t>
        <a:bodyPr/>
        <a:lstStyle/>
        <a:p>
          <a:pPr algn="l" latinLnBrk="1">
            <a:spcBef>
              <a:spcPts val="0"/>
            </a:spcBef>
            <a:spcAft>
              <a:spcPts val="0"/>
            </a:spcAft>
          </a:pPr>
          <a:endParaRPr lang="ko-KR" altLang="ko-KR" sz="1800" b="1" dirty="0" smtClean="0">
            <a:effectLst/>
          </a:endParaRPr>
        </a:p>
      </dgm:t>
    </dgm:pt>
    <dgm:pt modelId="{BDE0B17D-F6F9-431B-B527-ABEB5E098C93}" type="parTrans" cxnId="{F2647148-593D-4025-99D1-44AA8F644911}">
      <dgm:prSet/>
      <dgm:spPr/>
      <dgm:t>
        <a:bodyPr/>
        <a:lstStyle/>
        <a:p>
          <a:pPr latinLnBrk="1"/>
          <a:endParaRPr lang="ko-KR" altLang="en-US"/>
        </a:p>
      </dgm:t>
    </dgm:pt>
    <dgm:pt modelId="{495FD1F3-6721-4929-94D4-4B93B2152D66}" type="sibTrans" cxnId="{F2647148-593D-4025-99D1-44AA8F644911}">
      <dgm:prSet/>
      <dgm:spPr/>
      <dgm:t>
        <a:bodyPr/>
        <a:lstStyle/>
        <a:p>
          <a:pPr latinLnBrk="1"/>
          <a:endParaRPr lang="ko-KR" altLang="en-US"/>
        </a:p>
      </dgm:t>
    </dgm:pt>
    <dgm:pt modelId="{41B3AA72-A929-4D7D-B7D4-1BFEB7B1D03F}">
      <dgm:prSet/>
      <dgm:spPr/>
      <dgm:t>
        <a:bodyPr/>
        <a:lstStyle/>
        <a:p>
          <a:pPr latinLnBrk="1"/>
          <a:endParaRPr lang="ko-KR" altLang="en-US"/>
        </a:p>
      </dgm:t>
    </dgm:pt>
    <dgm:pt modelId="{6BC630F7-C890-4E8E-ACED-3BE8552712D2}" type="parTrans" cxnId="{52C213DA-4879-4EF6-960F-B7C49ADDB913}">
      <dgm:prSet/>
      <dgm:spPr/>
      <dgm:t>
        <a:bodyPr/>
        <a:lstStyle/>
        <a:p>
          <a:pPr latinLnBrk="1"/>
          <a:endParaRPr lang="ko-KR" altLang="en-US"/>
        </a:p>
      </dgm:t>
    </dgm:pt>
    <dgm:pt modelId="{281BE1D7-1BDA-4CBD-946E-CF577F2960AD}" type="sibTrans" cxnId="{52C213DA-4879-4EF6-960F-B7C49ADDB913}">
      <dgm:prSet/>
      <dgm:spPr/>
      <dgm:t>
        <a:bodyPr/>
        <a:lstStyle/>
        <a:p>
          <a:pPr latinLnBrk="1"/>
          <a:endParaRPr lang="ko-KR" altLang="en-US"/>
        </a:p>
      </dgm:t>
    </dgm:pt>
    <dgm:pt modelId="{2FBF6791-83E2-404E-B19F-8BA179511115}">
      <dgm:prSet/>
      <dgm:spPr/>
      <dgm:t>
        <a:bodyPr/>
        <a:lstStyle/>
        <a:p>
          <a:pPr latinLnBrk="1"/>
          <a:endParaRPr lang="ko-KR" altLang="en-US"/>
        </a:p>
      </dgm:t>
    </dgm:pt>
    <dgm:pt modelId="{9C895A6E-4360-47DB-8DB8-AAF1CB0538DE}" type="parTrans" cxnId="{B73BBABE-B1A1-45D4-867D-322B48458CC9}">
      <dgm:prSet/>
      <dgm:spPr/>
      <dgm:t>
        <a:bodyPr/>
        <a:lstStyle/>
        <a:p>
          <a:pPr latinLnBrk="1"/>
          <a:endParaRPr lang="ko-KR" altLang="en-US"/>
        </a:p>
      </dgm:t>
    </dgm:pt>
    <dgm:pt modelId="{676D0B5D-56BD-4E9D-BE4E-432CC68B662B}" type="sibTrans" cxnId="{B73BBABE-B1A1-45D4-867D-322B48458CC9}">
      <dgm:prSet/>
      <dgm:spPr/>
      <dgm:t>
        <a:bodyPr/>
        <a:lstStyle/>
        <a:p>
          <a:pPr latinLnBrk="1"/>
          <a:endParaRPr lang="ko-KR" altLang="en-US"/>
        </a:p>
      </dgm:t>
    </dgm:pt>
    <dgm:pt modelId="{DED946C4-B2E3-434C-8872-6A19EAA75548}">
      <dgm:prSet custLinFactNeighborX="435" custLinFactNeighborY="-3676"/>
      <dgm:spPr/>
      <dgm:t>
        <a:bodyPr/>
        <a:lstStyle/>
        <a:p>
          <a:pPr latinLnBrk="1"/>
          <a:endParaRPr lang="ko-KR" altLang="en-US"/>
        </a:p>
      </dgm:t>
    </dgm:pt>
    <dgm:pt modelId="{746D32EE-7306-4DB1-9656-C8E5132358C5}" type="parTrans" cxnId="{FC0EA308-CDB8-40A9-8954-18922DAA25A2}">
      <dgm:prSet/>
      <dgm:spPr/>
      <dgm:t>
        <a:bodyPr/>
        <a:lstStyle/>
        <a:p>
          <a:pPr latinLnBrk="1"/>
          <a:endParaRPr lang="ko-KR" altLang="en-US"/>
        </a:p>
      </dgm:t>
    </dgm:pt>
    <dgm:pt modelId="{3FAE945A-0489-4667-9520-BB28E7D9D19A}" type="sibTrans" cxnId="{FC0EA308-CDB8-40A9-8954-18922DAA25A2}">
      <dgm:prSet/>
      <dgm:spPr/>
      <dgm:t>
        <a:bodyPr/>
        <a:lstStyle/>
        <a:p>
          <a:pPr latinLnBrk="1"/>
          <a:endParaRPr lang="ko-KR" altLang="en-US"/>
        </a:p>
      </dgm:t>
    </dgm:pt>
    <dgm:pt modelId="{57745AE7-17E0-4E2E-8508-CE6A5A0322FF}" type="pres">
      <dgm:prSet presAssocID="{58636AF7-DC63-4F5F-A47D-20CBA18E8923}" presName="diagram" presStyleCnt="0">
        <dgm:presLayoutVars>
          <dgm:chMax val="1"/>
          <dgm:dir/>
          <dgm:animLvl val="ctr"/>
          <dgm:resizeHandles val="exact"/>
        </dgm:presLayoutVars>
      </dgm:prSet>
      <dgm:spPr/>
      <dgm:t>
        <a:bodyPr/>
        <a:lstStyle/>
        <a:p>
          <a:pPr latinLnBrk="1"/>
          <a:endParaRPr lang="ko-KR" altLang="en-US"/>
        </a:p>
      </dgm:t>
    </dgm:pt>
    <dgm:pt modelId="{BBD63333-523D-4204-88D5-D8701BDADF45}" type="pres">
      <dgm:prSet presAssocID="{58636AF7-DC63-4F5F-A47D-20CBA18E8923}" presName="matrix" presStyleCnt="0"/>
      <dgm:spPr/>
      <dgm:t>
        <a:bodyPr/>
        <a:lstStyle/>
        <a:p>
          <a:pPr latinLnBrk="1"/>
          <a:endParaRPr lang="ko-KR" altLang="en-US"/>
        </a:p>
      </dgm:t>
    </dgm:pt>
    <dgm:pt modelId="{C0D94E88-886E-4997-AF59-7DDB7FDE9F13}" type="pres">
      <dgm:prSet presAssocID="{58636AF7-DC63-4F5F-A47D-20CBA18E8923}" presName="tile1" presStyleLbl="node1" presStyleIdx="0" presStyleCnt="4" custScaleX="102786" custLinFactNeighborX="5354" custLinFactNeighborY="7183"/>
      <dgm:spPr/>
      <dgm:t>
        <a:bodyPr/>
        <a:lstStyle/>
        <a:p>
          <a:pPr latinLnBrk="1"/>
          <a:endParaRPr lang="ko-KR" altLang="en-US"/>
        </a:p>
      </dgm:t>
    </dgm:pt>
    <dgm:pt modelId="{A6BC2A41-BF5E-43CB-9860-9CED9FB470FD}" type="pres">
      <dgm:prSet presAssocID="{58636AF7-DC63-4F5F-A47D-20CBA18E8923}" presName="tile1text" presStyleLbl="node1" presStyleIdx="0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pPr latinLnBrk="1"/>
          <a:endParaRPr lang="ko-KR" altLang="en-US"/>
        </a:p>
      </dgm:t>
    </dgm:pt>
    <dgm:pt modelId="{B7F82935-E5BA-4F50-8B43-4237D868BA85}" type="pres">
      <dgm:prSet presAssocID="{58636AF7-DC63-4F5F-A47D-20CBA18E8923}" presName="tile2" presStyleLbl="node1" presStyleIdx="1" presStyleCnt="4" custLinFactNeighborX="337" custLinFactNeighborY="5893"/>
      <dgm:spPr/>
      <dgm:t>
        <a:bodyPr/>
        <a:lstStyle/>
        <a:p>
          <a:pPr latinLnBrk="1"/>
          <a:endParaRPr lang="ko-KR" altLang="en-US"/>
        </a:p>
      </dgm:t>
    </dgm:pt>
    <dgm:pt modelId="{6C99ED75-B332-416E-981B-C77A92A71E67}" type="pres">
      <dgm:prSet presAssocID="{58636AF7-DC63-4F5F-A47D-20CBA18E8923}" presName="tile2text" presStyleLbl="node1" presStyleIdx="1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pPr latinLnBrk="1"/>
          <a:endParaRPr lang="ko-KR" altLang="en-US"/>
        </a:p>
      </dgm:t>
    </dgm:pt>
    <dgm:pt modelId="{794ED799-04A2-49E0-BBB2-5155F80CADA7}" type="pres">
      <dgm:prSet presAssocID="{58636AF7-DC63-4F5F-A47D-20CBA18E8923}" presName="tile3" presStyleLbl="node1" presStyleIdx="2" presStyleCnt="4" custLinFactNeighborX="2521" custLinFactNeighborY="7241"/>
      <dgm:spPr/>
      <dgm:t>
        <a:bodyPr/>
        <a:lstStyle/>
        <a:p>
          <a:pPr latinLnBrk="1"/>
          <a:endParaRPr lang="ko-KR" altLang="en-US"/>
        </a:p>
      </dgm:t>
    </dgm:pt>
    <dgm:pt modelId="{B268C11C-4815-40A6-B3B1-0668B0486E5C}" type="pres">
      <dgm:prSet presAssocID="{58636AF7-DC63-4F5F-A47D-20CBA18E8923}" presName="tile3text" presStyleLbl="node1" presStyleIdx="2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pPr latinLnBrk="1"/>
          <a:endParaRPr lang="ko-KR" altLang="en-US"/>
        </a:p>
      </dgm:t>
    </dgm:pt>
    <dgm:pt modelId="{0D086A8C-620C-43AD-8941-DAA5A1E56674}" type="pres">
      <dgm:prSet presAssocID="{58636AF7-DC63-4F5F-A47D-20CBA18E8923}" presName="tile4" presStyleLbl="node1" presStyleIdx="3" presStyleCnt="4" custLinFactNeighborX="582" custLinFactNeighborY="33749"/>
      <dgm:spPr/>
      <dgm:t>
        <a:bodyPr/>
        <a:lstStyle/>
        <a:p>
          <a:pPr latinLnBrk="1"/>
          <a:endParaRPr lang="ko-KR" altLang="en-US"/>
        </a:p>
      </dgm:t>
    </dgm:pt>
    <dgm:pt modelId="{41405C24-5BB7-4BED-8AAC-CE84503343FE}" type="pres">
      <dgm:prSet presAssocID="{58636AF7-DC63-4F5F-A47D-20CBA18E8923}" presName="tile4text" presStyleLbl="node1" presStyleIdx="3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pPr latinLnBrk="1"/>
          <a:endParaRPr lang="ko-KR" altLang="en-US"/>
        </a:p>
      </dgm:t>
    </dgm:pt>
    <dgm:pt modelId="{EE128795-9B30-413D-9BB3-8D461267661D}" type="pres">
      <dgm:prSet presAssocID="{58636AF7-DC63-4F5F-A47D-20CBA18E8923}" presName="centerTile" presStyleLbl="fgShp" presStyleIdx="0" presStyleCnt="1">
        <dgm:presLayoutVars>
          <dgm:chMax val="0"/>
          <dgm:chPref val="0"/>
        </dgm:presLayoutVars>
      </dgm:prSet>
      <dgm:spPr/>
      <dgm:t>
        <a:bodyPr/>
        <a:lstStyle/>
        <a:p>
          <a:pPr latinLnBrk="1"/>
          <a:endParaRPr lang="ko-KR" altLang="en-US"/>
        </a:p>
      </dgm:t>
    </dgm:pt>
  </dgm:ptLst>
  <dgm:cxnLst>
    <dgm:cxn modelId="{FC0EA308-CDB8-40A9-8954-18922DAA25A2}" srcId="{58636AF7-DC63-4F5F-A47D-20CBA18E8923}" destId="{DED946C4-B2E3-434C-8872-6A19EAA75548}" srcOrd="3" destOrd="0" parTransId="{746D32EE-7306-4DB1-9656-C8E5132358C5}" sibTransId="{3FAE945A-0489-4667-9520-BB28E7D9D19A}"/>
    <dgm:cxn modelId="{FA276219-F11D-4F55-8C1B-48E158D19E30}" type="presOf" srcId="{58636AF7-DC63-4F5F-A47D-20CBA18E8923}" destId="{57745AE7-17E0-4E2E-8508-CE6A5A0322FF}" srcOrd="0" destOrd="0" presId="urn:microsoft.com/office/officeart/2005/8/layout/matrix1"/>
    <dgm:cxn modelId="{9606B885-AD5F-4EC9-93C5-376502E9502C}" srcId="{16F0F6DB-1EBE-4346-9CDB-478B1BE995A3}" destId="{FDA03EBA-EBF1-4FF0-ACEC-5559B6A92763}" srcOrd="0" destOrd="0" parTransId="{C5F0E640-4D24-484F-8502-B30509EBC7B6}" sibTransId="{1F3912A4-FDB1-43E6-885A-83A366EA6266}"/>
    <dgm:cxn modelId="{C17CE763-FDCD-4405-A5E7-24883BA40C7D}" type="presOf" srcId="{C67B7F8B-D516-4882-A0BC-BC581CBFF602}" destId="{794ED799-04A2-49E0-BBB2-5155F80CADA7}" srcOrd="0" destOrd="0" presId="urn:microsoft.com/office/officeart/2005/8/layout/matrix1"/>
    <dgm:cxn modelId="{B73BBABE-B1A1-45D4-867D-322B48458CC9}" srcId="{58636AF7-DC63-4F5F-A47D-20CBA18E8923}" destId="{2FBF6791-83E2-404E-B19F-8BA179511115}" srcOrd="2" destOrd="0" parTransId="{9C895A6E-4360-47DB-8DB8-AAF1CB0538DE}" sibTransId="{676D0B5D-56BD-4E9D-BE4E-432CC68B662B}"/>
    <dgm:cxn modelId="{B2BB7A70-119F-4E46-83B6-E27605630FE1}" type="presOf" srcId="{EDDD35CA-10F5-4AF5-91B6-D85775421E79}" destId="{6C99ED75-B332-416E-981B-C77A92A71E67}" srcOrd="1" destOrd="0" presId="urn:microsoft.com/office/officeart/2005/8/layout/matrix1"/>
    <dgm:cxn modelId="{CD62905B-7340-4B84-87EA-1377265CE4D0}" type="presOf" srcId="{EDDD35CA-10F5-4AF5-91B6-D85775421E79}" destId="{B7F82935-E5BA-4F50-8B43-4237D868BA85}" srcOrd="0" destOrd="0" presId="urn:microsoft.com/office/officeart/2005/8/layout/matrix1"/>
    <dgm:cxn modelId="{669ACB74-4354-4E16-953B-E0B87CFD3C4D}" srcId="{16F0F6DB-1EBE-4346-9CDB-478B1BE995A3}" destId="{C67B7F8B-D516-4882-A0BC-BC581CBFF602}" srcOrd="2" destOrd="0" parTransId="{376B1CF9-5418-4EAA-BFDB-123257A7201C}" sibTransId="{5F69A5C2-8643-480E-B0D5-2EE1A85E5DDA}"/>
    <dgm:cxn modelId="{4DE33E1F-B8CC-42E5-8485-CD28531793C4}" type="presOf" srcId="{CE55EFE1-DAC5-493B-8274-96998C9A09F3}" destId="{41405C24-5BB7-4BED-8AAC-CE84503343FE}" srcOrd="1" destOrd="0" presId="urn:microsoft.com/office/officeart/2005/8/layout/matrix1"/>
    <dgm:cxn modelId="{2E5FD638-BB59-44CE-973A-C284B5ACC0EB}" type="presOf" srcId="{C67B7F8B-D516-4882-A0BC-BC581CBFF602}" destId="{B268C11C-4815-40A6-B3B1-0668B0486E5C}" srcOrd="1" destOrd="0" presId="urn:microsoft.com/office/officeart/2005/8/layout/matrix1"/>
    <dgm:cxn modelId="{F2647148-593D-4025-99D1-44AA8F644911}" srcId="{16F0F6DB-1EBE-4346-9CDB-478B1BE995A3}" destId="{CE55EFE1-DAC5-493B-8274-96998C9A09F3}" srcOrd="3" destOrd="0" parTransId="{BDE0B17D-F6F9-431B-B527-ABEB5E098C93}" sibTransId="{495FD1F3-6721-4929-94D4-4B93B2152D66}"/>
    <dgm:cxn modelId="{FD45E7DB-91D4-4A82-A36B-6B6AA8491C23}" type="presOf" srcId="{CE55EFE1-DAC5-493B-8274-96998C9A09F3}" destId="{0D086A8C-620C-43AD-8941-DAA5A1E56674}" srcOrd="0" destOrd="0" presId="urn:microsoft.com/office/officeart/2005/8/layout/matrix1"/>
    <dgm:cxn modelId="{790ADE9B-1CD3-4604-9603-287EF10FB0C8}" type="presOf" srcId="{16F0F6DB-1EBE-4346-9CDB-478B1BE995A3}" destId="{EE128795-9B30-413D-9BB3-8D461267661D}" srcOrd="0" destOrd="0" presId="urn:microsoft.com/office/officeart/2005/8/layout/matrix1"/>
    <dgm:cxn modelId="{447D6518-47F7-4CAA-A0AB-D499108342A6}" type="presOf" srcId="{FDA03EBA-EBF1-4FF0-ACEC-5559B6A92763}" destId="{A6BC2A41-BF5E-43CB-9860-9CED9FB470FD}" srcOrd="1" destOrd="0" presId="urn:microsoft.com/office/officeart/2005/8/layout/matrix1"/>
    <dgm:cxn modelId="{FCE32A1A-F297-4183-B11C-D90DDA29385C}" srcId="{16F0F6DB-1EBE-4346-9CDB-478B1BE995A3}" destId="{EDDD35CA-10F5-4AF5-91B6-D85775421E79}" srcOrd="1" destOrd="0" parTransId="{D38B79F7-2B72-4B85-81BC-8298D8C5B726}" sibTransId="{770083FC-EC2A-40E2-936E-FB6FE7BA8B25}"/>
    <dgm:cxn modelId="{E18AF4B8-64CA-4C66-9E74-90CA5B7A068B}" type="presOf" srcId="{FDA03EBA-EBF1-4FF0-ACEC-5559B6A92763}" destId="{C0D94E88-886E-4997-AF59-7DDB7FDE9F13}" srcOrd="0" destOrd="0" presId="urn:microsoft.com/office/officeart/2005/8/layout/matrix1"/>
    <dgm:cxn modelId="{B6F556AB-84F3-4406-8100-DC0A151AB413}" srcId="{58636AF7-DC63-4F5F-A47D-20CBA18E8923}" destId="{16F0F6DB-1EBE-4346-9CDB-478B1BE995A3}" srcOrd="0" destOrd="0" parTransId="{F17169C0-D448-44B7-9D6A-9ACBA48A179A}" sibTransId="{89C722FE-F3FC-4D7A-B9D0-BCBFB16F02A7}"/>
    <dgm:cxn modelId="{52C213DA-4879-4EF6-960F-B7C49ADDB913}" srcId="{58636AF7-DC63-4F5F-A47D-20CBA18E8923}" destId="{41B3AA72-A929-4D7D-B7D4-1BFEB7B1D03F}" srcOrd="1" destOrd="0" parTransId="{6BC630F7-C890-4E8E-ACED-3BE8552712D2}" sibTransId="{281BE1D7-1BDA-4CBD-946E-CF577F2960AD}"/>
    <dgm:cxn modelId="{2E670228-7330-4F12-9168-B75861834447}" type="presParOf" srcId="{57745AE7-17E0-4E2E-8508-CE6A5A0322FF}" destId="{BBD63333-523D-4204-88D5-D8701BDADF45}" srcOrd="0" destOrd="0" presId="urn:microsoft.com/office/officeart/2005/8/layout/matrix1"/>
    <dgm:cxn modelId="{30F395AF-9ABE-4E3E-AFBC-FB8884BF0163}" type="presParOf" srcId="{BBD63333-523D-4204-88D5-D8701BDADF45}" destId="{C0D94E88-886E-4997-AF59-7DDB7FDE9F13}" srcOrd="0" destOrd="0" presId="urn:microsoft.com/office/officeart/2005/8/layout/matrix1"/>
    <dgm:cxn modelId="{33150562-0584-431C-A20E-C06B87EB7DD2}" type="presParOf" srcId="{BBD63333-523D-4204-88D5-D8701BDADF45}" destId="{A6BC2A41-BF5E-43CB-9860-9CED9FB470FD}" srcOrd="1" destOrd="0" presId="urn:microsoft.com/office/officeart/2005/8/layout/matrix1"/>
    <dgm:cxn modelId="{94385E34-772B-4682-BC17-E946DE720E0A}" type="presParOf" srcId="{BBD63333-523D-4204-88D5-D8701BDADF45}" destId="{B7F82935-E5BA-4F50-8B43-4237D868BA85}" srcOrd="2" destOrd="0" presId="urn:microsoft.com/office/officeart/2005/8/layout/matrix1"/>
    <dgm:cxn modelId="{D8B70B85-41F0-4927-99E5-D8D7EEA9483C}" type="presParOf" srcId="{BBD63333-523D-4204-88D5-D8701BDADF45}" destId="{6C99ED75-B332-416E-981B-C77A92A71E67}" srcOrd="3" destOrd="0" presId="urn:microsoft.com/office/officeart/2005/8/layout/matrix1"/>
    <dgm:cxn modelId="{AE3B23B0-459D-4390-A7D9-09E25B6D9F06}" type="presParOf" srcId="{BBD63333-523D-4204-88D5-D8701BDADF45}" destId="{794ED799-04A2-49E0-BBB2-5155F80CADA7}" srcOrd="4" destOrd="0" presId="urn:microsoft.com/office/officeart/2005/8/layout/matrix1"/>
    <dgm:cxn modelId="{032CB8C0-8A85-494E-B047-9B180ABB0427}" type="presParOf" srcId="{BBD63333-523D-4204-88D5-D8701BDADF45}" destId="{B268C11C-4815-40A6-B3B1-0668B0486E5C}" srcOrd="5" destOrd="0" presId="urn:microsoft.com/office/officeart/2005/8/layout/matrix1"/>
    <dgm:cxn modelId="{93BD12B7-596B-403A-B744-BD1726C878BF}" type="presParOf" srcId="{BBD63333-523D-4204-88D5-D8701BDADF45}" destId="{0D086A8C-620C-43AD-8941-DAA5A1E56674}" srcOrd="6" destOrd="0" presId="urn:microsoft.com/office/officeart/2005/8/layout/matrix1"/>
    <dgm:cxn modelId="{D3A6D4F2-0669-4856-9952-07C67EBC1B73}" type="presParOf" srcId="{BBD63333-523D-4204-88D5-D8701BDADF45}" destId="{41405C24-5BB7-4BED-8AAC-CE84503343FE}" srcOrd="7" destOrd="0" presId="urn:microsoft.com/office/officeart/2005/8/layout/matrix1"/>
    <dgm:cxn modelId="{A699B4CB-1792-4D55-A401-5D67A966BEB2}" type="presParOf" srcId="{57745AE7-17E0-4E2E-8508-CE6A5A0322FF}" destId="{EE128795-9B30-413D-9BB3-8D461267661D}" srcOrd="1" destOrd="0" presId="urn:microsoft.com/office/officeart/2005/8/layout/matrix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18.xml><?xml version="1.0" encoding="utf-8"?>
<dgm:dataModel xmlns:dgm="http://schemas.openxmlformats.org/drawingml/2006/diagram" xmlns:a="http://schemas.openxmlformats.org/drawingml/2006/main">
  <dgm:ptLst>
    <dgm:pt modelId="{6EFF3DF7-D03E-4365-973A-E1AE97154EDB}" type="doc">
      <dgm:prSet loTypeId="urn:microsoft.com/office/officeart/2008/layout/VerticalCurvedList" loCatId="list" qsTypeId="urn:microsoft.com/office/officeart/2005/8/quickstyle/simple1" qsCatId="simple" csTypeId="urn:microsoft.com/office/officeart/2005/8/colors/colorful3" csCatId="colorful" phldr="1"/>
      <dgm:spPr/>
      <dgm:t>
        <a:bodyPr/>
        <a:lstStyle/>
        <a:p>
          <a:pPr latinLnBrk="1"/>
          <a:endParaRPr lang="ko-KR" altLang="en-US"/>
        </a:p>
      </dgm:t>
    </dgm:pt>
    <dgm:pt modelId="{7DB7EE34-29D5-43E3-9F4F-E70FDA11A2C3}">
      <dgm:prSet phldrT="[텍스트]">
        <dgm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dgm:style>
      </dgm:prSet>
      <dgm:spPr/>
      <dgm:t>
        <a:bodyPr/>
        <a:lstStyle/>
        <a:p>
          <a:pPr latinLnBrk="1"/>
          <a:r>
            <a:rPr lang="ko-KR" altLang="en-US" dirty="0"/>
            <a:t>조직화 </a:t>
          </a:r>
          <a:r>
            <a:rPr lang="en-US" altLang="ko-KR" dirty="0"/>
            <a:t>: </a:t>
          </a:r>
          <a:r>
            <a:rPr lang="ko-KR" altLang="en-US" dirty="0"/>
            <a:t>정부부처</a:t>
          </a:r>
          <a:r>
            <a:rPr lang="en-US" altLang="ko-KR" dirty="0"/>
            <a:t>/</a:t>
          </a:r>
          <a:r>
            <a:rPr lang="ko-KR" altLang="en-US" dirty="0"/>
            <a:t>공익조직 확산</a:t>
          </a:r>
          <a:r>
            <a:rPr lang="en-US" altLang="ko-KR" dirty="0"/>
            <a:t> </a:t>
          </a:r>
          <a:endParaRPr lang="ko-KR" altLang="en-US" dirty="0"/>
        </a:p>
      </dgm:t>
    </dgm:pt>
    <dgm:pt modelId="{EC56DFB4-5C78-44D1-B709-90A2D57429C7}" type="parTrans" cxnId="{C70D9FD4-1469-48B3-A295-6646DB973CDE}">
      <dgm:prSet/>
      <dgm:spPr/>
      <dgm:t>
        <a:bodyPr/>
        <a:lstStyle/>
        <a:p>
          <a:pPr latinLnBrk="1"/>
          <a:endParaRPr lang="ko-KR" altLang="en-US"/>
        </a:p>
      </dgm:t>
    </dgm:pt>
    <dgm:pt modelId="{32540DC8-A46E-4FE3-8886-9D743FC81931}" type="sibTrans" cxnId="{C70D9FD4-1469-48B3-A295-6646DB973CDE}">
      <dgm:prSet/>
      <dgm:spPr/>
      <dgm:t>
        <a:bodyPr/>
        <a:lstStyle/>
        <a:p>
          <a:pPr latinLnBrk="1"/>
          <a:endParaRPr lang="ko-KR" altLang="en-US"/>
        </a:p>
      </dgm:t>
    </dgm:pt>
    <dgm:pt modelId="{87A55065-E1BB-43C7-B30A-BF2B6D8ECA4C}">
      <dgm:prSet phldrT="[텍스트]"/>
      <dgm:spPr>
        <a:solidFill>
          <a:srgbClr val="0070C0"/>
        </a:solidFill>
      </dgm:spPr>
      <dgm:t>
        <a:bodyPr/>
        <a:lstStyle/>
        <a:p>
          <a:pPr latinLnBrk="1"/>
          <a:r>
            <a:rPr lang="ko-KR" altLang="en-US" dirty="0"/>
            <a:t>지원 정책 질과 양 </a:t>
          </a:r>
        </a:p>
      </dgm:t>
    </dgm:pt>
    <dgm:pt modelId="{C6E81E06-F943-4959-9D86-74443D4DF552}" type="parTrans" cxnId="{44A713B3-4DCB-4EEB-B914-02F94406148F}">
      <dgm:prSet/>
      <dgm:spPr/>
      <dgm:t>
        <a:bodyPr/>
        <a:lstStyle/>
        <a:p>
          <a:pPr latinLnBrk="1"/>
          <a:endParaRPr lang="ko-KR" altLang="en-US"/>
        </a:p>
      </dgm:t>
    </dgm:pt>
    <dgm:pt modelId="{3D7D3E7C-553B-4ABC-9C69-EA72D516B032}" type="sibTrans" cxnId="{44A713B3-4DCB-4EEB-B914-02F94406148F}">
      <dgm:prSet/>
      <dgm:spPr/>
      <dgm:t>
        <a:bodyPr/>
        <a:lstStyle/>
        <a:p>
          <a:pPr latinLnBrk="1"/>
          <a:endParaRPr lang="ko-KR" altLang="en-US"/>
        </a:p>
      </dgm:t>
    </dgm:pt>
    <dgm:pt modelId="{5D4D1E6E-ED49-43A8-B623-2198E0C4D053}">
      <dgm:prSet phldrT="[텍스트]"/>
      <dgm:spPr/>
      <dgm:t>
        <a:bodyPr/>
        <a:lstStyle/>
        <a:p>
          <a:pPr latinLnBrk="1"/>
          <a:r>
            <a:rPr lang="ko-KR" altLang="en-US" dirty="0"/>
            <a:t>활용 인프라</a:t>
          </a:r>
          <a:r>
            <a:rPr lang="en-US" altLang="ko-KR" dirty="0"/>
            <a:t>(</a:t>
          </a:r>
          <a:r>
            <a:rPr lang="ko-KR" altLang="en-US" dirty="0"/>
            <a:t>교육</a:t>
          </a:r>
          <a:r>
            <a:rPr lang="en-US" altLang="ko-KR" dirty="0"/>
            <a:t>/</a:t>
          </a:r>
          <a:r>
            <a:rPr lang="ko-KR" altLang="en-US" dirty="0"/>
            <a:t>스마트시티 </a:t>
          </a:r>
          <a:r>
            <a:rPr lang="en-US" altLang="ko-KR" dirty="0"/>
            <a:t>/</a:t>
          </a:r>
          <a:r>
            <a:rPr lang="ko-KR" altLang="en-US" dirty="0" err="1"/>
            <a:t>플렛폼</a:t>
          </a:r>
          <a:r>
            <a:rPr lang="ko-KR" altLang="en-US" dirty="0"/>
            <a:t> 등</a:t>
          </a:r>
          <a:r>
            <a:rPr lang="en-US" altLang="ko-KR" dirty="0"/>
            <a:t>)</a:t>
          </a:r>
          <a:r>
            <a:rPr lang="ko-KR" altLang="en-US" dirty="0"/>
            <a:t> </a:t>
          </a:r>
        </a:p>
      </dgm:t>
    </dgm:pt>
    <dgm:pt modelId="{C1661454-0688-4949-AFCF-CD935D59ED01}" type="parTrans" cxnId="{111A1C2C-10EF-4410-B102-71F0D484D22F}">
      <dgm:prSet/>
      <dgm:spPr/>
      <dgm:t>
        <a:bodyPr/>
        <a:lstStyle/>
        <a:p>
          <a:pPr latinLnBrk="1"/>
          <a:endParaRPr lang="ko-KR" altLang="en-US"/>
        </a:p>
      </dgm:t>
    </dgm:pt>
    <dgm:pt modelId="{54F148A0-D36D-4B8E-9223-5A6485552647}" type="sibTrans" cxnId="{111A1C2C-10EF-4410-B102-71F0D484D22F}">
      <dgm:prSet/>
      <dgm:spPr/>
      <dgm:t>
        <a:bodyPr/>
        <a:lstStyle/>
        <a:p>
          <a:pPr latinLnBrk="1"/>
          <a:endParaRPr lang="ko-KR" altLang="en-US"/>
        </a:p>
      </dgm:t>
    </dgm:pt>
    <dgm:pt modelId="{DC736583-E425-4B2D-A2B7-1EA04BE5CC99}" type="pres">
      <dgm:prSet presAssocID="{6EFF3DF7-D03E-4365-973A-E1AE97154EDB}" presName="Name0" presStyleCnt="0">
        <dgm:presLayoutVars>
          <dgm:chMax val="7"/>
          <dgm:chPref val="7"/>
          <dgm:dir/>
        </dgm:presLayoutVars>
      </dgm:prSet>
      <dgm:spPr/>
      <dgm:t>
        <a:bodyPr/>
        <a:lstStyle/>
        <a:p>
          <a:pPr latinLnBrk="1"/>
          <a:endParaRPr lang="ko-KR" altLang="en-US"/>
        </a:p>
      </dgm:t>
    </dgm:pt>
    <dgm:pt modelId="{ED53718C-A826-41BB-A157-B6795E56FC61}" type="pres">
      <dgm:prSet presAssocID="{6EFF3DF7-D03E-4365-973A-E1AE97154EDB}" presName="Name1" presStyleCnt="0"/>
      <dgm:spPr/>
    </dgm:pt>
    <dgm:pt modelId="{4BE10FAE-0194-4705-BFE3-1FFBD56CDEA5}" type="pres">
      <dgm:prSet presAssocID="{6EFF3DF7-D03E-4365-973A-E1AE97154EDB}" presName="cycle" presStyleCnt="0"/>
      <dgm:spPr/>
    </dgm:pt>
    <dgm:pt modelId="{08CED735-93C2-4033-A3C4-CA419B7AA7C4}" type="pres">
      <dgm:prSet presAssocID="{6EFF3DF7-D03E-4365-973A-E1AE97154EDB}" presName="srcNode" presStyleLbl="node1" presStyleIdx="0" presStyleCnt="3"/>
      <dgm:spPr/>
    </dgm:pt>
    <dgm:pt modelId="{57503038-1E9B-4A95-B5B5-CDDC70DEF0C8}" type="pres">
      <dgm:prSet presAssocID="{6EFF3DF7-D03E-4365-973A-E1AE97154EDB}" presName="conn" presStyleLbl="parChTrans1D2" presStyleIdx="0" presStyleCnt="1"/>
      <dgm:spPr/>
      <dgm:t>
        <a:bodyPr/>
        <a:lstStyle/>
        <a:p>
          <a:pPr latinLnBrk="1"/>
          <a:endParaRPr lang="ko-KR" altLang="en-US"/>
        </a:p>
      </dgm:t>
    </dgm:pt>
    <dgm:pt modelId="{CAED5BAD-029E-4A5A-86C6-4219B6B4B7D7}" type="pres">
      <dgm:prSet presAssocID="{6EFF3DF7-D03E-4365-973A-E1AE97154EDB}" presName="extraNode" presStyleLbl="node1" presStyleIdx="0" presStyleCnt="3"/>
      <dgm:spPr/>
    </dgm:pt>
    <dgm:pt modelId="{B5EBA70D-091A-4A19-886F-6078B5A5831E}" type="pres">
      <dgm:prSet presAssocID="{6EFF3DF7-D03E-4365-973A-E1AE97154EDB}" presName="dstNode" presStyleLbl="node1" presStyleIdx="0" presStyleCnt="3"/>
      <dgm:spPr/>
    </dgm:pt>
    <dgm:pt modelId="{69ACD03A-742A-4D4E-96C5-5166F52D1E09}" type="pres">
      <dgm:prSet presAssocID="{7DB7EE34-29D5-43E3-9F4F-E70FDA11A2C3}" presName="text_1" presStyleLbl="node1" presStyleIdx="0" presStyleCnt="3" custLinFactNeighborY="-1250">
        <dgm:presLayoutVars>
          <dgm:bulletEnabled val="1"/>
        </dgm:presLayoutVars>
      </dgm:prSet>
      <dgm:spPr/>
      <dgm:t>
        <a:bodyPr/>
        <a:lstStyle/>
        <a:p>
          <a:pPr latinLnBrk="1"/>
          <a:endParaRPr lang="ko-KR" altLang="en-US"/>
        </a:p>
      </dgm:t>
    </dgm:pt>
    <dgm:pt modelId="{2F769BAC-93F2-4A34-A6AF-3F6988982BBD}" type="pres">
      <dgm:prSet presAssocID="{7DB7EE34-29D5-43E3-9F4F-E70FDA11A2C3}" presName="accent_1" presStyleCnt="0"/>
      <dgm:spPr/>
    </dgm:pt>
    <dgm:pt modelId="{E465EB2C-3D0C-4AC0-8FE7-220720700130}" type="pres">
      <dgm:prSet presAssocID="{7DB7EE34-29D5-43E3-9F4F-E70FDA11A2C3}" presName="accentRepeatNode" presStyleLbl="solidFgAcc1" presStyleIdx="0" presStyleCnt="3" custLinFactNeighborX="2019" custLinFactNeighborY="-6507"/>
      <dgm:spPr/>
    </dgm:pt>
    <dgm:pt modelId="{7E894A97-E817-4821-94D9-775AE3A34B9B}" type="pres">
      <dgm:prSet presAssocID="{87A55065-E1BB-43C7-B30A-BF2B6D8ECA4C}" presName="text_2" presStyleLbl="node1" presStyleIdx="1" presStyleCnt="3">
        <dgm:presLayoutVars>
          <dgm:bulletEnabled val="1"/>
        </dgm:presLayoutVars>
      </dgm:prSet>
      <dgm:spPr/>
      <dgm:t>
        <a:bodyPr/>
        <a:lstStyle/>
        <a:p>
          <a:pPr latinLnBrk="1"/>
          <a:endParaRPr lang="ko-KR" altLang="en-US"/>
        </a:p>
      </dgm:t>
    </dgm:pt>
    <dgm:pt modelId="{50140A6C-53F0-452B-96FF-AB5CD5F14C23}" type="pres">
      <dgm:prSet presAssocID="{87A55065-E1BB-43C7-B30A-BF2B6D8ECA4C}" presName="accent_2" presStyleCnt="0"/>
      <dgm:spPr/>
    </dgm:pt>
    <dgm:pt modelId="{7F102B11-372A-46A6-BD0F-B572CCCFA797}" type="pres">
      <dgm:prSet presAssocID="{87A55065-E1BB-43C7-B30A-BF2B6D8ECA4C}" presName="accentRepeatNode" presStyleLbl="solidFgAcc1" presStyleIdx="1" presStyleCnt="3"/>
      <dgm:spPr/>
    </dgm:pt>
    <dgm:pt modelId="{35F5DB9A-71DD-4EC2-872B-5DED884CFEFE}" type="pres">
      <dgm:prSet presAssocID="{5D4D1E6E-ED49-43A8-B623-2198E0C4D053}" presName="text_3" presStyleLbl="node1" presStyleIdx="2" presStyleCnt="3">
        <dgm:presLayoutVars>
          <dgm:bulletEnabled val="1"/>
        </dgm:presLayoutVars>
      </dgm:prSet>
      <dgm:spPr/>
      <dgm:t>
        <a:bodyPr/>
        <a:lstStyle/>
        <a:p>
          <a:pPr latinLnBrk="1"/>
          <a:endParaRPr lang="ko-KR" altLang="en-US"/>
        </a:p>
      </dgm:t>
    </dgm:pt>
    <dgm:pt modelId="{E1DB5953-F0DF-4167-856A-4F420B920D79}" type="pres">
      <dgm:prSet presAssocID="{5D4D1E6E-ED49-43A8-B623-2198E0C4D053}" presName="accent_3" presStyleCnt="0"/>
      <dgm:spPr/>
    </dgm:pt>
    <dgm:pt modelId="{A788E3CA-FDD6-4B69-ABE7-BE059A1418B4}" type="pres">
      <dgm:prSet presAssocID="{5D4D1E6E-ED49-43A8-B623-2198E0C4D053}" presName="accentRepeatNode" presStyleLbl="solidFgAcc1" presStyleIdx="2" presStyleCnt="3"/>
      <dgm:spPr/>
    </dgm:pt>
  </dgm:ptLst>
  <dgm:cxnLst>
    <dgm:cxn modelId="{6426A7D1-0CF2-4ABB-9ADE-AB8D88A3F81C}" type="presOf" srcId="{5D4D1E6E-ED49-43A8-B623-2198E0C4D053}" destId="{35F5DB9A-71DD-4EC2-872B-5DED884CFEFE}" srcOrd="0" destOrd="0" presId="urn:microsoft.com/office/officeart/2008/layout/VerticalCurvedList"/>
    <dgm:cxn modelId="{9D3766A8-D105-453A-86A7-DA888BB9E2AD}" type="presOf" srcId="{32540DC8-A46E-4FE3-8886-9D743FC81931}" destId="{57503038-1E9B-4A95-B5B5-CDDC70DEF0C8}" srcOrd="0" destOrd="0" presId="urn:microsoft.com/office/officeart/2008/layout/VerticalCurvedList"/>
    <dgm:cxn modelId="{44A713B3-4DCB-4EEB-B914-02F94406148F}" srcId="{6EFF3DF7-D03E-4365-973A-E1AE97154EDB}" destId="{87A55065-E1BB-43C7-B30A-BF2B6D8ECA4C}" srcOrd="1" destOrd="0" parTransId="{C6E81E06-F943-4959-9D86-74443D4DF552}" sibTransId="{3D7D3E7C-553B-4ABC-9C69-EA72D516B032}"/>
    <dgm:cxn modelId="{99AC5879-1CFA-48A1-B0E2-5D95BD368354}" type="presOf" srcId="{6EFF3DF7-D03E-4365-973A-E1AE97154EDB}" destId="{DC736583-E425-4B2D-A2B7-1EA04BE5CC99}" srcOrd="0" destOrd="0" presId="urn:microsoft.com/office/officeart/2008/layout/VerticalCurvedList"/>
    <dgm:cxn modelId="{3BC031D6-10E4-41F7-8A87-13B40E016EE6}" type="presOf" srcId="{7DB7EE34-29D5-43E3-9F4F-E70FDA11A2C3}" destId="{69ACD03A-742A-4D4E-96C5-5166F52D1E09}" srcOrd="0" destOrd="0" presId="urn:microsoft.com/office/officeart/2008/layout/VerticalCurvedList"/>
    <dgm:cxn modelId="{C70D9FD4-1469-48B3-A295-6646DB973CDE}" srcId="{6EFF3DF7-D03E-4365-973A-E1AE97154EDB}" destId="{7DB7EE34-29D5-43E3-9F4F-E70FDA11A2C3}" srcOrd="0" destOrd="0" parTransId="{EC56DFB4-5C78-44D1-B709-90A2D57429C7}" sibTransId="{32540DC8-A46E-4FE3-8886-9D743FC81931}"/>
    <dgm:cxn modelId="{78DD5E50-9174-4CC4-8F2A-7FBC08CD42B3}" type="presOf" srcId="{87A55065-E1BB-43C7-B30A-BF2B6D8ECA4C}" destId="{7E894A97-E817-4821-94D9-775AE3A34B9B}" srcOrd="0" destOrd="0" presId="urn:microsoft.com/office/officeart/2008/layout/VerticalCurvedList"/>
    <dgm:cxn modelId="{111A1C2C-10EF-4410-B102-71F0D484D22F}" srcId="{6EFF3DF7-D03E-4365-973A-E1AE97154EDB}" destId="{5D4D1E6E-ED49-43A8-B623-2198E0C4D053}" srcOrd="2" destOrd="0" parTransId="{C1661454-0688-4949-AFCF-CD935D59ED01}" sibTransId="{54F148A0-D36D-4B8E-9223-5A6485552647}"/>
    <dgm:cxn modelId="{CDEDF0BB-25D9-45F4-ACEC-381F486CDF68}" type="presParOf" srcId="{DC736583-E425-4B2D-A2B7-1EA04BE5CC99}" destId="{ED53718C-A826-41BB-A157-B6795E56FC61}" srcOrd="0" destOrd="0" presId="urn:microsoft.com/office/officeart/2008/layout/VerticalCurvedList"/>
    <dgm:cxn modelId="{231BC5EB-CE7B-40D3-9ABC-72C59D52857F}" type="presParOf" srcId="{ED53718C-A826-41BB-A157-B6795E56FC61}" destId="{4BE10FAE-0194-4705-BFE3-1FFBD56CDEA5}" srcOrd="0" destOrd="0" presId="urn:microsoft.com/office/officeart/2008/layout/VerticalCurvedList"/>
    <dgm:cxn modelId="{190ED062-E3BE-4B23-8949-F1E6F46399DE}" type="presParOf" srcId="{4BE10FAE-0194-4705-BFE3-1FFBD56CDEA5}" destId="{08CED735-93C2-4033-A3C4-CA419B7AA7C4}" srcOrd="0" destOrd="0" presId="urn:microsoft.com/office/officeart/2008/layout/VerticalCurvedList"/>
    <dgm:cxn modelId="{34DB59F1-CBC4-4632-AC1E-494DFABECDDE}" type="presParOf" srcId="{4BE10FAE-0194-4705-BFE3-1FFBD56CDEA5}" destId="{57503038-1E9B-4A95-B5B5-CDDC70DEF0C8}" srcOrd="1" destOrd="0" presId="urn:microsoft.com/office/officeart/2008/layout/VerticalCurvedList"/>
    <dgm:cxn modelId="{543C6BF4-4C39-408D-8DD8-C3937F1C4700}" type="presParOf" srcId="{4BE10FAE-0194-4705-BFE3-1FFBD56CDEA5}" destId="{CAED5BAD-029E-4A5A-86C6-4219B6B4B7D7}" srcOrd="2" destOrd="0" presId="urn:microsoft.com/office/officeart/2008/layout/VerticalCurvedList"/>
    <dgm:cxn modelId="{01F1E471-9D7D-45B1-8374-D59F3C871733}" type="presParOf" srcId="{4BE10FAE-0194-4705-BFE3-1FFBD56CDEA5}" destId="{B5EBA70D-091A-4A19-886F-6078B5A5831E}" srcOrd="3" destOrd="0" presId="urn:microsoft.com/office/officeart/2008/layout/VerticalCurvedList"/>
    <dgm:cxn modelId="{9F951D9D-99AA-47ED-8951-74F7329B1CC2}" type="presParOf" srcId="{ED53718C-A826-41BB-A157-B6795E56FC61}" destId="{69ACD03A-742A-4D4E-96C5-5166F52D1E09}" srcOrd="1" destOrd="0" presId="urn:microsoft.com/office/officeart/2008/layout/VerticalCurvedList"/>
    <dgm:cxn modelId="{0F258201-1E16-462F-B4FA-9D9E59062C82}" type="presParOf" srcId="{ED53718C-A826-41BB-A157-B6795E56FC61}" destId="{2F769BAC-93F2-4A34-A6AF-3F6988982BBD}" srcOrd="2" destOrd="0" presId="urn:microsoft.com/office/officeart/2008/layout/VerticalCurvedList"/>
    <dgm:cxn modelId="{572D8BB8-83B5-41F1-8613-6CDD8CAA69E3}" type="presParOf" srcId="{2F769BAC-93F2-4A34-A6AF-3F6988982BBD}" destId="{E465EB2C-3D0C-4AC0-8FE7-220720700130}" srcOrd="0" destOrd="0" presId="urn:microsoft.com/office/officeart/2008/layout/VerticalCurvedList"/>
    <dgm:cxn modelId="{EF9D97C9-FB3F-46AF-B5EB-CDB696B8AEAA}" type="presParOf" srcId="{ED53718C-A826-41BB-A157-B6795E56FC61}" destId="{7E894A97-E817-4821-94D9-775AE3A34B9B}" srcOrd="3" destOrd="0" presId="urn:microsoft.com/office/officeart/2008/layout/VerticalCurvedList"/>
    <dgm:cxn modelId="{AF7C10FD-0D01-4018-BCEF-3D8C729AA4FF}" type="presParOf" srcId="{ED53718C-A826-41BB-A157-B6795E56FC61}" destId="{50140A6C-53F0-452B-96FF-AB5CD5F14C23}" srcOrd="4" destOrd="0" presId="urn:microsoft.com/office/officeart/2008/layout/VerticalCurvedList"/>
    <dgm:cxn modelId="{EF5462EA-DC71-40D1-B1EF-5EA4F35011C9}" type="presParOf" srcId="{50140A6C-53F0-452B-96FF-AB5CD5F14C23}" destId="{7F102B11-372A-46A6-BD0F-B572CCCFA797}" srcOrd="0" destOrd="0" presId="urn:microsoft.com/office/officeart/2008/layout/VerticalCurvedList"/>
    <dgm:cxn modelId="{B6B13EF9-0D12-4E25-880A-94D7C8851162}" type="presParOf" srcId="{ED53718C-A826-41BB-A157-B6795E56FC61}" destId="{35F5DB9A-71DD-4EC2-872B-5DED884CFEFE}" srcOrd="5" destOrd="0" presId="urn:microsoft.com/office/officeart/2008/layout/VerticalCurvedList"/>
    <dgm:cxn modelId="{D4E20E65-AED2-44AC-B11F-F2B402CB30FD}" type="presParOf" srcId="{ED53718C-A826-41BB-A157-B6795E56FC61}" destId="{E1DB5953-F0DF-4167-856A-4F420B920D79}" srcOrd="6" destOrd="0" presId="urn:microsoft.com/office/officeart/2008/layout/VerticalCurvedList"/>
    <dgm:cxn modelId="{81308D47-E2E7-4E00-A992-093F1F6A281E}" type="presParOf" srcId="{E1DB5953-F0DF-4167-856A-4F420B920D79}" destId="{A788E3CA-FDD6-4B69-ABE7-BE059A1418B4}" srcOrd="0" destOrd="0" presId="urn:microsoft.com/office/officeart/2008/layout/VerticalCurvedList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19.xml><?xml version="1.0" encoding="utf-8"?>
<dgm:dataModel xmlns:dgm="http://schemas.openxmlformats.org/drawingml/2006/diagram" xmlns:a="http://schemas.openxmlformats.org/drawingml/2006/main">
  <dgm:ptLst>
    <dgm:pt modelId="{CC2ADD41-DF93-4BD6-B266-4EABD27EFCA7}" type="doc">
      <dgm:prSet loTypeId="urn:microsoft.com/office/officeart/2005/8/layout/hProcess6" loCatId="process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pPr latinLnBrk="1"/>
          <a:endParaRPr lang="ko-KR" altLang="en-US"/>
        </a:p>
      </dgm:t>
    </dgm:pt>
    <dgm:pt modelId="{76ABC666-2564-489F-89D8-73281AA28063}">
      <dgm:prSet phldrT="[텍스트]"/>
      <dgm:spPr/>
      <dgm:t>
        <a:bodyPr/>
        <a:lstStyle/>
        <a:p>
          <a:pPr latinLnBrk="1"/>
          <a:r>
            <a:rPr lang="ko-KR" altLang="en-US" dirty="0" err="1"/>
            <a:t>빅데이터</a:t>
          </a:r>
          <a:r>
            <a:rPr lang="ko-KR" altLang="en-US" dirty="0"/>
            <a:t> 수집 </a:t>
          </a:r>
        </a:p>
      </dgm:t>
    </dgm:pt>
    <dgm:pt modelId="{48DDAE0A-03E0-4E81-80EE-ABFD2F909DAC}" type="parTrans" cxnId="{63678284-1E7C-46FF-8F73-9D72FE643594}">
      <dgm:prSet/>
      <dgm:spPr/>
      <dgm:t>
        <a:bodyPr/>
        <a:lstStyle/>
        <a:p>
          <a:pPr latinLnBrk="1"/>
          <a:endParaRPr lang="ko-KR" altLang="en-US"/>
        </a:p>
      </dgm:t>
    </dgm:pt>
    <dgm:pt modelId="{F2B06195-2233-4EF4-8707-AC1D2E8FAC1D}" type="sibTrans" cxnId="{63678284-1E7C-46FF-8F73-9D72FE643594}">
      <dgm:prSet/>
      <dgm:spPr/>
      <dgm:t>
        <a:bodyPr/>
        <a:lstStyle/>
        <a:p>
          <a:pPr latinLnBrk="1"/>
          <a:endParaRPr lang="ko-KR" altLang="en-US"/>
        </a:p>
      </dgm:t>
    </dgm:pt>
    <dgm:pt modelId="{5EC77E36-EA59-4A89-BE8C-C54C92B4DBF6}">
      <dgm:prSet phldrT="[텍스트]"/>
      <dgm:spPr/>
      <dgm:t>
        <a:bodyPr/>
        <a:lstStyle/>
        <a:p>
          <a:pPr latinLnBrk="1"/>
          <a:r>
            <a:rPr lang="ko-KR" altLang="en-US" dirty="0"/>
            <a:t>공적 기관 </a:t>
          </a:r>
        </a:p>
      </dgm:t>
    </dgm:pt>
    <dgm:pt modelId="{387E6762-6121-4717-ADCC-5D06CC548A69}" type="parTrans" cxnId="{DB85A4E7-8181-496F-A14A-9E00B12E0079}">
      <dgm:prSet/>
      <dgm:spPr/>
      <dgm:t>
        <a:bodyPr/>
        <a:lstStyle/>
        <a:p>
          <a:pPr latinLnBrk="1"/>
          <a:endParaRPr lang="ko-KR" altLang="en-US"/>
        </a:p>
      </dgm:t>
    </dgm:pt>
    <dgm:pt modelId="{092BCBF6-8111-4D04-BF3D-151E3924F0DC}" type="sibTrans" cxnId="{DB85A4E7-8181-496F-A14A-9E00B12E0079}">
      <dgm:prSet/>
      <dgm:spPr/>
      <dgm:t>
        <a:bodyPr/>
        <a:lstStyle/>
        <a:p>
          <a:pPr latinLnBrk="1"/>
          <a:endParaRPr lang="ko-KR" altLang="en-US"/>
        </a:p>
      </dgm:t>
    </dgm:pt>
    <dgm:pt modelId="{95D40681-2D4D-4D05-8C53-2CA7A310A2B3}">
      <dgm:prSet phldrT="[텍스트]"/>
      <dgm:spPr/>
      <dgm:t>
        <a:bodyPr/>
        <a:lstStyle/>
        <a:p>
          <a:pPr latinLnBrk="1"/>
          <a:r>
            <a:rPr lang="en-US" altLang="ko-KR" dirty="0"/>
            <a:t> </a:t>
          </a:r>
          <a:r>
            <a:rPr lang="ko-KR" altLang="en-US" dirty="0" err="1"/>
            <a:t>사적기관</a:t>
          </a:r>
          <a:r>
            <a:rPr lang="ko-KR" altLang="en-US" dirty="0"/>
            <a:t> </a:t>
          </a:r>
        </a:p>
      </dgm:t>
    </dgm:pt>
    <dgm:pt modelId="{EE6CF04A-94CD-4E44-9566-856CDE9B395D}" type="parTrans" cxnId="{B7224A2F-E574-45BA-B7A8-609F74FF89E9}">
      <dgm:prSet/>
      <dgm:spPr/>
      <dgm:t>
        <a:bodyPr/>
        <a:lstStyle/>
        <a:p>
          <a:pPr latinLnBrk="1"/>
          <a:endParaRPr lang="ko-KR" altLang="en-US"/>
        </a:p>
      </dgm:t>
    </dgm:pt>
    <dgm:pt modelId="{F08AB7CB-FCDF-4AF0-AEC1-0679C86921BB}" type="sibTrans" cxnId="{B7224A2F-E574-45BA-B7A8-609F74FF89E9}">
      <dgm:prSet/>
      <dgm:spPr/>
      <dgm:t>
        <a:bodyPr/>
        <a:lstStyle/>
        <a:p>
          <a:pPr latinLnBrk="1"/>
          <a:endParaRPr lang="ko-KR" altLang="en-US"/>
        </a:p>
      </dgm:t>
    </dgm:pt>
    <dgm:pt modelId="{8B472FBA-298B-4F0D-95D5-6F5561EAC164}">
      <dgm:prSet phldrT="[텍스트]"/>
      <dgm:spPr>
        <a:solidFill>
          <a:srgbClr val="00B050"/>
        </a:solidFill>
      </dgm:spPr>
      <dgm:t>
        <a:bodyPr/>
        <a:lstStyle/>
        <a:p>
          <a:pPr latinLnBrk="1"/>
          <a:r>
            <a:rPr lang="ko-KR" altLang="en-US" dirty="0"/>
            <a:t>가공</a:t>
          </a:r>
          <a:r>
            <a:rPr lang="en-US" altLang="ko-KR" dirty="0"/>
            <a:t>/</a:t>
          </a:r>
          <a:r>
            <a:rPr lang="ko-KR" altLang="en-US" dirty="0"/>
            <a:t>보관 </a:t>
          </a:r>
        </a:p>
      </dgm:t>
    </dgm:pt>
    <dgm:pt modelId="{D9CCED3F-FC03-4A4F-B61C-B0411FC4F9F5}" type="parTrans" cxnId="{09142A09-8B82-49B1-9F14-185175061122}">
      <dgm:prSet/>
      <dgm:spPr/>
      <dgm:t>
        <a:bodyPr/>
        <a:lstStyle/>
        <a:p>
          <a:pPr latinLnBrk="1"/>
          <a:endParaRPr lang="ko-KR" altLang="en-US"/>
        </a:p>
      </dgm:t>
    </dgm:pt>
    <dgm:pt modelId="{13CBD1E0-7985-45FC-BE8D-0D391E6009DA}" type="sibTrans" cxnId="{09142A09-8B82-49B1-9F14-185175061122}">
      <dgm:prSet/>
      <dgm:spPr/>
      <dgm:t>
        <a:bodyPr/>
        <a:lstStyle/>
        <a:p>
          <a:pPr latinLnBrk="1"/>
          <a:endParaRPr lang="ko-KR" altLang="en-US"/>
        </a:p>
      </dgm:t>
    </dgm:pt>
    <dgm:pt modelId="{A605D41A-E272-4E44-BD61-2728094355A1}">
      <dgm:prSet phldrT="[텍스트]"/>
      <dgm:spPr/>
      <dgm:t>
        <a:bodyPr/>
        <a:lstStyle/>
        <a:p>
          <a:pPr latinLnBrk="1"/>
          <a:r>
            <a:rPr lang="en-US" altLang="ko-KR" dirty="0"/>
            <a:t> </a:t>
          </a:r>
          <a:r>
            <a:rPr lang="ko-KR" altLang="en-US" dirty="0" err="1"/>
            <a:t>그룹핑</a:t>
          </a:r>
          <a:r>
            <a:rPr lang="ko-KR" altLang="en-US" dirty="0"/>
            <a:t> </a:t>
          </a:r>
        </a:p>
      </dgm:t>
    </dgm:pt>
    <dgm:pt modelId="{4C834108-F0DB-4A4F-B780-13A2443DE352}" type="parTrans" cxnId="{AC63E7A8-505C-4FB5-9CBF-6FDE7D32D3A0}">
      <dgm:prSet/>
      <dgm:spPr/>
      <dgm:t>
        <a:bodyPr/>
        <a:lstStyle/>
        <a:p>
          <a:pPr latinLnBrk="1"/>
          <a:endParaRPr lang="ko-KR" altLang="en-US"/>
        </a:p>
      </dgm:t>
    </dgm:pt>
    <dgm:pt modelId="{33CCFC99-09E5-41D9-BD14-D6AA816AFFF4}" type="sibTrans" cxnId="{AC63E7A8-505C-4FB5-9CBF-6FDE7D32D3A0}">
      <dgm:prSet/>
      <dgm:spPr/>
      <dgm:t>
        <a:bodyPr/>
        <a:lstStyle/>
        <a:p>
          <a:pPr latinLnBrk="1"/>
          <a:endParaRPr lang="ko-KR" altLang="en-US"/>
        </a:p>
      </dgm:t>
    </dgm:pt>
    <dgm:pt modelId="{43F06BFF-728A-491B-A020-F4B07B251624}">
      <dgm:prSet phldrT="[텍스트]"/>
      <dgm:spPr/>
      <dgm:t>
        <a:bodyPr/>
        <a:lstStyle/>
        <a:p>
          <a:pPr latinLnBrk="1"/>
          <a:r>
            <a:rPr lang="en-US" altLang="ko-KR" dirty="0"/>
            <a:t>  </a:t>
          </a:r>
          <a:r>
            <a:rPr lang="ko-KR" altLang="en-US" dirty="0"/>
            <a:t>분석 </a:t>
          </a:r>
        </a:p>
      </dgm:t>
    </dgm:pt>
    <dgm:pt modelId="{94EBFB35-D282-4190-A8B5-00674D99ED29}" type="parTrans" cxnId="{587EBD24-212A-48D5-83A1-D174E100904F}">
      <dgm:prSet/>
      <dgm:spPr/>
      <dgm:t>
        <a:bodyPr/>
        <a:lstStyle/>
        <a:p>
          <a:pPr latinLnBrk="1"/>
          <a:endParaRPr lang="ko-KR" altLang="en-US"/>
        </a:p>
      </dgm:t>
    </dgm:pt>
    <dgm:pt modelId="{C65D3182-4E4F-4859-97BF-6036DF56F473}" type="sibTrans" cxnId="{587EBD24-212A-48D5-83A1-D174E100904F}">
      <dgm:prSet/>
      <dgm:spPr/>
      <dgm:t>
        <a:bodyPr/>
        <a:lstStyle/>
        <a:p>
          <a:pPr latinLnBrk="1"/>
          <a:endParaRPr lang="ko-KR" altLang="en-US"/>
        </a:p>
      </dgm:t>
    </dgm:pt>
    <dgm:pt modelId="{0C922E2D-D539-4A2E-BB87-6B304F3EBB2B}">
      <dgm:prSet phldrT="[텍스트]"/>
      <dgm:spPr>
        <a:solidFill>
          <a:srgbClr val="0070C0"/>
        </a:solidFill>
      </dgm:spPr>
      <dgm:t>
        <a:bodyPr/>
        <a:lstStyle/>
        <a:p>
          <a:pPr latinLnBrk="1"/>
          <a:r>
            <a:rPr lang="ko-KR" altLang="en-US" dirty="0"/>
            <a:t>전달 </a:t>
          </a:r>
        </a:p>
      </dgm:t>
    </dgm:pt>
    <dgm:pt modelId="{8AA16BF3-CB8F-459E-AEBF-7C7269245482}" type="parTrans" cxnId="{A3ACF779-EE62-4E66-8D6E-09B9A9C5850B}">
      <dgm:prSet/>
      <dgm:spPr/>
      <dgm:t>
        <a:bodyPr/>
        <a:lstStyle/>
        <a:p>
          <a:pPr latinLnBrk="1"/>
          <a:endParaRPr lang="ko-KR" altLang="en-US"/>
        </a:p>
      </dgm:t>
    </dgm:pt>
    <dgm:pt modelId="{33AA7786-D636-49A3-92E2-569E27E10B80}" type="sibTrans" cxnId="{A3ACF779-EE62-4E66-8D6E-09B9A9C5850B}">
      <dgm:prSet/>
      <dgm:spPr/>
      <dgm:t>
        <a:bodyPr/>
        <a:lstStyle/>
        <a:p>
          <a:pPr latinLnBrk="1"/>
          <a:endParaRPr lang="ko-KR" altLang="en-US"/>
        </a:p>
      </dgm:t>
    </dgm:pt>
    <dgm:pt modelId="{F18D109E-BD65-4675-AACD-74D041E36CEC}">
      <dgm:prSet phldrT="[텍스트]"/>
      <dgm:spPr/>
      <dgm:t>
        <a:bodyPr/>
        <a:lstStyle/>
        <a:p>
          <a:pPr latinLnBrk="1"/>
          <a:r>
            <a:rPr lang="en-US" altLang="ko-KR" dirty="0"/>
            <a:t> </a:t>
          </a:r>
          <a:r>
            <a:rPr lang="ko-KR" altLang="en-US" dirty="0"/>
            <a:t>공익 적 가치  거래</a:t>
          </a:r>
        </a:p>
      </dgm:t>
    </dgm:pt>
    <dgm:pt modelId="{B07DE472-393D-4C2B-B483-D7CC2BE97398}" type="parTrans" cxnId="{BB786615-FD3B-4AF0-9E27-557DD15FD012}">
      <dgm:prSet/>
      <dgm:spPr/>
      <dgm:t>
        <a:bodyPr/>
        <a:lstStyle/>
        <a:p>
          <a:pPr latinLnBrk="1"/>
          <a:endParaRPr lang="ko-KR" altLang="en-US"/>
        </a:p>
      </dgm:t>
    </dgm:pt>
    <dgm:pt modelId="{C184A502-09D0-4FD7-9009-F6E77B5ABAD1}" type="sibTrans" cxnId="{BB786615-FD3B-4AF0-9E27-557DD15FD012}">
      <dgm:prSet/>
      <dgm:spPr/>
      <dgm:t>
        <a:bodyPr/>
        <a:lstStyle/>
        <a:p>
          <a:pPr latinLnBrk="1"/>
          <a:endParaRPr lang="ko-KR" altLang="en-US"/>
        </a:p>
      </dgm:t>
    </dgm:pt>
    <dgm:pt modelId="{D1E63FEF-2F75-4740-9E25-3E4828C05411}">
      <dgm:prSet phldrT="[텍스트]"/>
      <dgm:spPr/>
      <dgm:t>
        <a:bodyPr/>
        <a:lstStyle/>
        <a:p>
          <a:pPr latinLnBrk="1"/>
          <a:r>
            <a:rPr lang="en-US" altLang="ko-KR" dirty="0"/>
            <a:t>  </a:t>
          </a:r>
          <a:r>
            <a:rPr lang="ko-KR" altLang="en-US" dirty="0"/>
            <a:t>한국 적 </a:t>
          </a:r>
          <a:r>
            <a:rPr lang="ko-KR" altLang="en-US" dirty="0" err="1"/>
            <a:t>빅데이터</a:t>
          </a:r>
          <a:r>
            <a:rPr lang="ko-KR" altLang="en-US" dirty="0"/>
            <a:t> 표준 </a:t>
          </a:r>
          <a:r>
            <a:rPr lang="en-US" altLang="ko-KR" dirty="0"/>
            <a:t>&amp; </a:t>
          </a:r>
          <a:r>
            <a:rPr lang="ko-KR" altLang="en-US" dirty="0"/>
            <a:t>보안  </a:t>
          </a:r>
        </a:p>
      </dgm:t>
    </dgm:pt>
    <dgm:pt modelId="{E138B034-89F6-43C3-9D80-946E4C828DCD}" type="parTrans" cxnId="{9D9D7223-4E79-4A53-ABAD-CEF2DA917328}">
      <dgm:prSet/>
      <dgm:spPr/>
      <dgm:t>
        <a:bodyPr/>
        <a:lstStyle/>
        <a:p>
          <a:pPr latinLnBrk="1"/>
          <a:endParaRPr lang="ko-KR" altLang="en-US"/>
        </a:p>
      </dgm:t>
    </dgm:pt>
    <dgm:pt modelId="{6E8AF67D-4B64-4C62-9F14-6C2E8425E529}" type="sibTrans" cxnId="{9D9D7223-4E79-4A53-ABAD-CEF2DA917328}">
      <dgm:prSet/>
      <dgm:spPr/>
      <dgm:t>
        <a:bodyPr/>
        <a:lstStyle/>
        <a:p>
          <a:pPr latinLnBrk="1"/>
          <a:endParaRPr lang="ko-KR" altLang="en-US"/>
        </a:p>
      </dgm:t>
    </dgm:pt>
    <dgm:pt modelId="{7E8518EB-C89A-4D8A-A000-B19227FD0425}">
      <dgm:prSet/>
      <dgm:spPr>
        <a:solidFill>
          <a:srgbClr val="FF0000"/>
        </a:solidFill>
      </dgm:spPr>
      <dgm:t>
        <a:bodyPr/>
        <a:lstStyle/>
        <a:p>
          <a:pPr latinLnBrk="1"/>
          <a:r>
            <a:rPr lang="en-US" altLang="ko-KR" dirty="0"/>
            <a:t>AI</a:t>
          </a:r>
          <a:endParaRPr lang="ko-KR" altLang="en-US" dirty="0"/>
        </a:p>
      </dgm:t>
    </dgm:pt>
    <dgm:pt modelId="{81DE0092-98B7-44DE-BC67-27EA9ACE0E1E}" type="parTrans" cxnId="{A17D90BB-0E85-414B-B643-4A8DEC84E836}">
      <dgm:prSet/>
      <dgm:spPr/>
      <dgm:t>
        <a:bodyPr/>
        <a:lstStyle/>
        <a:p>
          <a:pPr latinLnBrk="1"/>
          <a:endParaRPr lang="ko-KR" altLang="en-US"/>
        </a:p>
      </dgm:t>
    </dgm:pt>
    <dgm:pt modelId="{1FF34E91-9F49-42A3-A64D-9FEB9D549BCF}" type="sibTrans" cxnId="{A17D90BB-0E85-414B-B643-4A8DEC84E836}">
      <dgm:prSet/>
      <dgm:spPr/>
      <dgm:t>
        <a:bodyPr/>
        <a:lstStyle/>
        <a:p>
          <a:pPr latinLnBrk="1"/>
          <a:endParaRPr lang="ko-KR" altLang="en-US"/>
        </a:p>
      </dgm:t>
    </dgm:pt>
    <dgm:pt modelId="{ECB25168-1206-47DC-8826-BF407A49E405}">
      <dgm:prSet/>
      <dgm:spPr/>
      <dgm:t>
        <a:bodyPr/>
        <a:lstStyle/>
        <a:p>
          <a:pPr latinLnBrk="1"/>
          <a:r>
            <a:rPr lang="ko-KR" altLang="en-US" dirty="0"/>
            <a:t>기업전달 </a:t>
          </a:r>
          <a:endParaRPr lang="en-US" altLang="ko-KR" dirty="0"/>
        </a:p>
        <a:p>
          <a:pPr latinLnBrk="1"/>
          <a:r>
            <a:rPr lang="ko-KR" altLang="en-US" dirty="0"/>
            <a:t>산업화 </a:t>
          </a:r>
        </a:p>
      </dgm:t>
    </dgm:pt>
    <dgm:pt modelId="{D0929D06-4115-4341-9DA4-7FF81BEA5983}" type="parTrans" cxnId="{5329110E-EF65-47FE-BF8C-C47AB5E70228}">
      <dgm:prSet/>
      <dgm:spPr/>
      <dgm:t>
        <a:bodyPr/>
        <a:lstStyle/>
        <a:p>
          <a:pPr latinLnBrk="1"/>
          <a:endParaRPr lang="ko-KR" altLang="en-US"/>
        </a:p>
      </dgm:t>
    </dgm:pt>
    <dgm:pt modelId="{5FBFFC6A-BE92-44A7-B236-4C4855C1A8D2}" type="sibTrans" cxnId="{5329110E-EF65-47FE-BF8C-C47AB5E70228}">
      <dgm:prSet/>
      <dgm:spPr/>
      <dgm:t>
        <a:bodyPr/>
        <a:lstStyle/>
        <a:p>
          <a:pPr latinLnBrk="1"/>
          <a:endParaRPr lang="ko-KR" altLang="en-US"/>
        </a:p>
      </dgm:t>
    </dgm:pt>
    <dgm:pt modelId="{E01A326C-F4AA-4C77-BA5F-8620FC37C479}" type="pres">
      <dgm:prSet presAssocID="{CC2ADD41-DF93-4BD6-B266-4EABD27EFCA7}" presName="theList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pPr latinLnBrk="1"/>
          <a:endParaRPr lang="ko-KR" altLang="en-US"/>
        </a:p>
      </dgm:t>
    </dgm:pt>
    <dgm:pt modelId="{FE84E432-7281-42A1-A9FA-AC6A958E69BD}" type="pres">
      <dgm:prSet presAssocID="{76ABC666-2564-489F-89D8-73281AA28063}" presName="compNode" presStyleCnt="0"/>
      <dgm:spPr/>
    </dgm:pt>
    <dgm:pt modelId="{4F09B0C0-601A-46E0-B0D0-A0740AB882FF}" type="pres">
      <dgm:prSet presAssocID="{76ABC666-2564-489F-89D8-73281AA28063}" presName="noGeometry" presStyleCnt="0"/>
      <dgm:spPr/>
    </dgm:pt>
    <dgm:pt modelId="{0EB5B033-AF07-4DF1-BB05-1EC545FE3AE2}" type="pres">
      <dgm:prSet presAssocID="{76ABC666-2564-489F-89D8-73281AA28063}" presName="childTextVisible" presStyleLbl="bgAccFollowNode1" presStyleIdx="0" presStyleCnt="4">
        <dgm:presLayoutVars>
          <dgm:bulletEnabled val="1"/>
        </dgm:presLayoutVars>
      </dgm:prSet>
      <dgm:spPr/>
      <dgm:t>
        <a:bodyPr/>
        <a:lstStyle/>
        <a:p>
          <a:pPr latinLnBrk="1"/>
          <a:endParaRPr lang="ko-KR" altLang="en-US"/>
        </a:p>
      </dgm:t>
    </dgm:pt>
    <dgm:pt modelId="{FCB57EC9-904A-4C03-8F4B-BF04D8E78B46}" type="pres">
      <dgm:prSet presAssocID="{76ABC666-2564-489F-89D8-73281AA28063}" presName="childTextHidden" presStyleLbl="bgAccFollowNode1" presStyleIdx="0" presStyleCnt="4"/>
      <dgm:spPr/>
      <dgm:t>
        <a:bodyPr/>
        <a:lstStyle/>
        <a:p>
          <a:pPr latinLnBrk="1"/>
          <a:endParaRPr lang="ko-KR" altLang="en-US"/>
        </a:p>
      </dgm:t>
    </dgm:pt>
    <dgm:pt modelId="{FF84EC17-1AAF-4B73-BA1B-D786EACB8830}" type="pres">
      <dgm:prSet presAssocID="{76ABC666-2564-489F-89D8-73281AA28063}" presName="parentText" presStyleLbl="node1" presStyleIdx="0" presStyleCnt="4">
        <dgm:presLayoutVars>
          <dgm:chMax val="1"/>
          <dgm:bulletEnabled val="1"/>
        </dgm:presLayoutVars>
      </dgm:prSet>
      <dgm:spPr/>
      <dgm:t>
        <a:bodyPr/>
        <a:lstStyle/>
        <a:p>
          <a:pPr latinLnBrk="1"/>
          <a:endParaRPr lang="ko-KR" altLang="en-US"/>
        </a:p>
      </dgm:t>
    </dgm:pt>
    <dgm:pt modelId="{8F4FF12C-35FA-488A-84A6-3625856A3E65}" type="pres">
      <dgm:prSet presAssocID="{76ABC666-2564-489F-89D8-73281AA28063}" presName="aSpace" presStyleCnt="0"/>
      <dgm:spPr/>
    </dgm:pt>
    <dgm:pt modelId="{0FCC74FE-BE91-46AF-817D-9ED66D839329}" type="pres">
      <dgm:prSet presAssocID="{8B472FBA-298B-4F0D-95D5-6F5561EAC164}" presName="compNode" presStyleCnt="0"/>
      <dgm:spPr/>
    </dgm:pt>
    <dgm:pt modelId="{83E7F524-250A-402F-9787-26FE54F2126B}" type="pres">
      <dgm:prSet presAssocID="{8B472FBA-298B-4F0D-95D5-6F5561EAC164}" presName="noGeometry" presStyleCnt="0"/>
      <dgm:spPr/>
    </dgm:pt>
    <dgm:pt modelId="{12126160-5290-491E-A51E-4A19A44E27BF}" type="pres">
      <dgm:prSet presAssocID="{8B472FBA-298B-4F0D-95D5-6F5561EAC164}" presName="childTextVisible" presStyleLbl="bgAccFollowNode1" presStyleIdx="1" presStyleCnt="4">
        <dgm:presLayoutVars>
          <dgm:bulletEnabled val="1"/>
        </dgm:presLayoutVars>
      </dgm:prSet>
      <dgm:spPr/>
      <dgm:t>
        <a:bodyPr/>
        <a:lstStyle/>
        <a:p>
          <a:pPr latinLnBrk="1"/>
          <a:endParaRPr lang="ko-KR" altLang="en-US"/>
        </a:p>
      </dgm:t>
    </dgm:pt>
    <dgm:pt modelId="{FDB92AC3-8B0D-4412-BDE1-1C30086F3E2C}" type="pres">
      <dgm:prSet presAssocID="{8B472FBA-298B-4F0D-95D5-6F5561EAC164}" presName="childTextHidden" presStyleLbl="bgAccFollowNode1" presStyleIdx="1" presStyleCnt="4"/>
      <dgm:spPr/>
      <dgm:t>
        <a:bodyPr/>
        <a:lstStyle/>
        <a:p>
          <a:pPr latinLnBrk="1"/>
          <a:endParaRPr lang="ko-KR" altLang="en-US"/>
        </a:p>
      </dgm:t>
    </dgm:pt>
    <dgm:pt modelId="{0EB26D1C-C8CC-4FF1-81F3-2470D0D1BD1E}" type="pres">
      <dgm:prSet presAssocID="{8B472FBA-298B-4F0D-95D5-6F5561EAC164}" presName="parentText" presStyleLbl="node1" presStyleIdx="1" presStyleCnt="4">
        <dgm:presLayoutVars>
          <dgm:chMax val="1"/>
          <dgm:bulletEnabled val="1"/>
        </dgm:presLayoutVars>
      </dgm:prSet>
      <dgm:spPr/>
      <dgm:t>
        <a:bodyPr/>
        <a:lstStyle/>
        <a:p>
          <a:pPr latinLnBrk="1"/>
          <a:endParaRPr lang="ko-KR" altLang="en-US"/>
        </a:p>
      </dgm:t>
    </dgm:pt>
    <dgm:pt modelId="{0CE3D867-B973-4F7B-9971-53F3AF984CF5}" type="pres">
      <dgm:prSet presAssocID="{8B472FBA-298B-4F0D-95D5-6F5561EAC164}" presName="aSpace" presStyleCnt="0"/>
      <dgm:spPr/>
    </dgm:pt>
    <dgm:pt modelId="{B312561D-43EF-43CE-B0E0-ABABD9BE2411}" type="pres">
      <dgm:prSet presAssocID="{0C922E2D-D539-4A2E-BB87-6B304F3EBB2B}" presName="compNode" presStyleCnt="0"/>
      <dgm:spPr/>
    </dgm:pt>
    <dgm:pt modelId="{1A21A0D4-9B0E-40BE-B878-32897330619C}" type="pres">
      <dgm:prSet presAssocID="{0C922E2D-D539-4A2E-BB87-6B304F3EBB2B}" presName="noGeometry" presStyleCnt="0"/>
      <dgm:spPr/>
    </dgm:pt>
    <dgm:pt modelId="{2B36068C-FBE3-43CA-9089-F87D32C4EA18}" type="pres">
      <dgm:prSet presAssocID="{0C922E2D-D539-4A2E-BB87-6B304F3EBB2B}" presName="childTextVisible" presStyleLbl="bgAccFollowNode1" presStyleIdx="2" presStyleCnt="4" custLinFactNeighborY="-1400">
        <dgm:presLayoutVars>
          <dgm:bulletEnabled val="1"/>
        </dgm:presLayoutVars>
      </dgm:prSet>
      <dgm:spPr/>
      <dgm:t>
        <a:bodyPr/>
        <a:lstStyle/>
        <a:p>
          <a:pPr latinLnBrk="1"/>
          <a:endParaRPr lang="ko-KR" altLang="en-US"/>
        </a:p>
      </dgm:t>
    </dgm:pt>
    <dgm:pt modelId="{9E554135-A14D-40AD-B2FF-BF90592F499A}" type="pres">
      <dgm:prSet presAssocID="{0C922E2D-D539-4A2E-BB87-6B304F3EBB2B}" presName="childTextHidden" presStyleLbl="bgAccFollowNode1" presStyleIdx="2" presStyleCnt="4"/>
      <dgm:spPr/>
      <dgm:t>
        <a:bodyPr/>
        <a:lstStyle/>
        <a:p>
          <a:pPr latinLnBrk="1"/>
          <a:endParaRPr lang="ko-KR" altLang="en-US"/>
        </a:p>
      </dgm:t>
    </dgm:pt>
    <dgm:pt modelId="{370EF0DB-070B-429D-B61C-F9EADB0098E0}" type="pres">
      <dgm:prSet presAssocID="{0C922E2D-D539-4A2E-BB87-6B304F3EBB2B}" presName="parentText" presStyleLbl="node1" presStyleIdx="2" presStyleCnt="4">
        <dgm:presLayoutVars>
          <dgm:chMax val="1"/>
          <dgm:bulletEnabled val="1"/>
        </dgm:presLayoutVars>
      </dgm:prSet>
      <dgm:spPr/>
      <dgm:t>
        <a:bodyPr/>
        <a:lstStyle/>
        <a:p>
          <a:pPr latinLnBrk="1"/>
          <a:endParaRPr lang="ko-KR" altLang="en-US"/>
        </a:p>
      </dgm:t>
    </dgm:pt>
    <dgm:pt modelId="{7D4BE384-64EB-4E2D-B8D3-3EB5B9DA31EE}" type="pres">
      <dgm:prSet presAssocID="{0C922E2D-D539-4A2E-BB87-6B304F3EBB2B}" presName="aSpace" presStyleCnt="0"/>
      <dgm:spPr/>
    </dgm:pt>
    <dgm:pt modelId="{BBC4486F-0710-47CE-A53E-81A7015AF93C}" type="pres">
      <dgm:prSet presAssocID="{7E8518EB-C89A-4D8A-A000-B19227FD0425}" presName="compNode" presStyleCnt="0"/>
      <dgm:spPr/>
    </dgm:pt>
    <dgm:pt modelId="{0F4383E8-4C44-4A6C-B2AF-61C9AB604353}" type="pres">
      <dgm:prSet presAssocID="{7E8518EB-C89A-4D8A-A000-B19227FD0425}" presName="noGeometry" presStyleCnt="0"/>
      <dgm:spPr/>
    </dgm:pt>
    <dgm:pt modelId="{72E4A7DC-5B0F-442C-8910-748987640931}" type="pres">
      <dgm:prSet presAssocID="{7E8518EB-C89A-4D8A-A000-B19227FD0425}" presName="childTextVisible" presStyleLbl="bgAccFollowNode1" presStyleIdx="3" presStyleCnt="4">
        <dgm:presLayoutVars>
          <dgm:bulletEnabled val="1"/>
        </dgm:presLayoutVars>
      </dgm:prSet>
      <dgm:spPr/>
      <dgm:t>
        <a:bodyPr/>
        <a:lstStyle/>
        <a:p>
          <a:pPr latinLnBrk="1"/>
          <a:endParaRPr lang="ko-KR" altLang="en-US"/>
        </a:p>
      </dgm:t>
    </dgm:pt>
    <dgm:pt modelId="{2C221184-3E65-4772-95FB-8FA1BC1A4CF7}" type="pres">
      <dgm:prSet presAssocID="{7E8518EB-C89A-4D8A-A000-B19227FD0425}" presName="childTextHidden" presStyleLbl="bgAccFollowNode1" presStyleIdx="3" presStyleCnt="4"/>
      <dgm:spPr/>
      <dgm:t>
        <a:bodyPr/>
        <a:lstStyle/>
        <a:p>
          <a:pPr latinLnBrk="1"/>
          <a:endParaRPr lang="ko-KR" altLang="en-US"/>
        </a:p>
      </dgm:t>
    </dgm:pt>
    <dgm:pt modelId="{7BD0B3FE-125E-4323-88A5-E70DA8466974}" type="pres">
      <dgm:prSet presAssocID="{7E8518EB-C89A-4D8A-A000-B19227FD0425}" presName="parentText" presStyleLbl="node1" presStyleIdx="3" presStyleCnt="4" custLinFactNeighborX="-5460" custLinFactNeighborY="-5061">
        <dgm:presLayoutVars>
          <dgm:chMax val="1"/>
          <dgm:bulletEnabled val="1"/>
        </dgm:presLayoutVars>
      </dgm:prSet>
      <dgm:spPr/>
      <dgm:t>
        <a:bodyPr/>
        <a:lstStyle/>
        <a:p>
          <a:pPr latinLnBrk="1"/>
          <a:endParaRPr lang="ko-KR" altLang="en-US"/>
        </a:p>
      </dgm:t>
    </dgm:pt>
  </dgm:ptLst>
  <dgm:cxnLst>
    <dgm:cxn modelId="{91743192-E3CD-4824-9C08-ED09FBACD90B}" type="presOf" srcId="{95D40681-2D4D-4D05-8C53-2CA7A310A2B3}" destId="{0EB5B033-AF07-4DF1-BB05-1EC545FE3AE2}" srcOrd="0" destOrd="1" presId="urn:microsoft.com/office/officeart/2005/8/layout/hProcess6"/>
    <dgm:cxn modelId="{BB786615-FD3B-4AF0-9E27-557DD15FD012}" srcId="{0C922E2D-D539-4A2E-BB87-6B304F3EBB2B}" destId="{F18D109E-BD65-4675-AACD-74D041E36CEC}" srcOrd="0" destOrd="0" parTransId="{B07DE472-393D-4C2B-B483-D7CC2BE97398}" sibTransId="{C184A502-09D0-4FD7-9009-F6E77B5ABAD1}"/>
    <dgm:cxn modelId="{09142A09-8B82-49B1-9F14-185175061122}" srcId="{CC2ADD41-DF93-4BD6-B266-4EABD27EFCA7}" destId="{8B472FBA-298B-4F0D-95D5-6F5561EAC164}" srcOrd="1" destOrd="0" parTransId="{D9CCED3F-FC03-4A4F-B61C-B0411FC4F9F5}" sibTransId="{13CBD1E0-7985-45FC-BE8D-0D391E6009DA}"/>
    <dgm:cxn modelId="{A3ACF779-EE62-4E66-8D6E-09B9A9C5850B}" srcId="{CC2ADD41-DF93-4BD6-B266-4EABD27EFCA7}" destId="{0C922E2D-D539-4A2E-BB87-6B304F3EBB2B}" srcOrd="2" destOrd="0" parTransId="{8AA16BF3-CB8F-459E-AEBF-7C7269245482}" sibTransId="{33AA7786-D636-49A3-92E2-569E27E10B80}"/>
    <dgm:cxn modelId="{F8F2BE72-59B2-4B91-B718-99E7A430E36F}" type="presOf" srcId="{8B472FBA-298B-4F0D-95D5-6F5561EAC164}" destId="{0EB26D1C-C8CC-4FF1-81F3-2470D0D1BD1E}" srcOrd="0" destOrd="0" presId="urn:microsoft.com/office/officeart/2005/8/layout/hProcess6"/>
    <dgm:cxn modelId="{63678284-1E7C-46FF-8F73-9D72FE643594}" srcId="{CC2ADD41-DF93-4BD6-B266-4EABD27EFCA7}" destId="{76ABC666-2564-489F-89D8-73281AA28063}" srcOrd="0" destOrd="0" parTransId="{48DDAE0A-03E0-4E81-80EE-ABFD2F909DAC}" sibTransId="{F2B06195-2233-4EF4-8707-AC1D2E8FAC1D}"/>
    <dgm:cxn modelId="{587EBD24-212A-48D5-83A1-D174E100904F}" srcId="{8B472FBA-298B-4F0D-95D5-6F5561EAC164}" destId="{43F06BFF-728A-491B-A020-F4B07B251624}" srcOrd="1" destOrd="0" parTransId="{94EBFB35-D282-4190-A8B5-00674D99ED29}" sibTransId="{C65D3182-4E4F-4859-97BF-6036DF56F473}"/>
    <dgm:cxn modelId="{508C2C4D-1EE5-4A7F-AE44-57A039B00139}" type="presOf" srcId="{A605D41A-E272-4E44-BD61-2728094355A1}" destId="{12126160-5290-491E-A51E-4A19A44E27BF}" srcOrd="0" destOrd="0" presId="urn:microsoft.com/office/officeart/2005/8/layout/hProcess6"/>
    <dgm:cxn modelId="{263D66D3-15A6-49F0-ACBF-AAB7EFD8E790}" type="presOf" srcId="{95D40681-2D4D-4D05-8C53-2CA7A310A2B3}" destId="{FCB57EC9-904A-4C03-8F4B-BF04D8E78B46}" srcOrd="1" destOrd="1" presId="urn:microsoft.com/office/officeart/2005/8/layout/hProcess6"/>
    <dgm:cxn modelId="{C3AF9F99-15D7-4959-9940-A8632050B4F7}" type="presOf" srcId="{7E8518EB-C89A-4D8A-A000-B19227FD0425}" destId="{7BD0B3FE-125E-4323-88A5-E70DA8466974}" srcOrd="0" destOrd="0" presId="urn:microsoft.com/office/officeart/2005/8/layout/hProcess6"/>
    <dgm:cxn modelId="{2ECA3C4D-73C8-4324-B525-6B5EFBB096ED}" type="presOf" srcId="{CC2ADD41-DF93-4BD6-B266-4EABD27EFCA7}" destId="{E01A326C-F4AA-4C77-BA5F-8620FC37C479}" srcOrd="0" destOrd="0" presId="urn:microsoft.com/office/officeart/2005/8/layout/hProcess6"/>
    <dgm:cxn modelId="{DB85A4E7-8181-496F-A14A-9E00B12E0079}" srcId="{76ABC666-2564-489F-89D8-73281AA28063}" destId="{5EC77E36-EA59-4A89-BE8C-C54C92B4DBF6}" srcOrd="0" destOrd="0" parTransId="{387E6762-6121-4717-ADCC-5D06CC548A69}" sibTransId="{092BCBF6-8111-4D04-BF3D-151E3924F0DC}"/>
    <dgm:cxn modelId="{B7224A2F-E574-45BA-B7A8-609F74FF89E9}" srcId="{76ABC666-2564-489F-89D8-73281AA28063}" destId="{95D40681-2D4D-4D05-8C53-2CA7A310A2B3}" srcOrd="1" destOrd="0" parTransId="{EE6CF04A-94CD-4E44-9566-856CDE9B395D}" sibTransId="{F08AB7CB-FCDF-4AF0-AEC1-0679C86921BB}"/>
    <dgm:cxn modelId="{AFE6C4FC-2D78-42B8-9193-F33F23F3C28B}" type="presOf" srcId="{F18D109E-BD65-4675-AACD-74D041E36CEC}" destId="{9E554135-A14D-40AD-B2FF-BF90592F499A}" srcOrd="1" destOrd="0" presId="urn:microsoft.com/office/officeart/2005/8/layout/hProcess6"/>
    <dgm:cxn modelId="{3BD10D7F-7E36-437E-A720-2A6C587CEFA5}" type="presOf" srcId="{5EC77E36-EA59-4A89-BE8C-C54C92B4DBF6}" destId="{FCB57EC9-904A-4C03-8F4B-BF04D8E78B46}" srcOrd="1" destOrd="0" presId="urn:microsoft.com/office/officeart/2005/8/layout/hProcess6"/>
    <dgm:cxn modelId="{E7C6E6FC-ED46-4026-956C-9B2995CA8068}" type="presOf" srcId="{D1E63FEF-2F75-4740-9E25-3E4828C05411}" destId="{2B36068C-FBE3-43CA-9089-F87D32C4EA18}" srcOrd="0" destOrd="1" presId="urn:microsoft.com/office/officeart/2005/8/layout/hProcess6"/>
    <dgm:cxn modelId="{9D9D7223-4E79-4A53-ABAD-CEF2DA917328}" srcId="{0C922E2D-D539-4A2E-BB87-6B304F3EBB2B}" destId="{D1E63FEF-2F75-4740-9E25-3E4828C05411}" srcOrd="1" destOrd="0" parTransId="{E138B034-89F6-43C3-9D80-946E4C828DCD}" sibTransId="{6E8AF67D-4B64-4C62-9F14-6C2E8425E529}"/>
    <dgm:cxn modelId="{94EEBBB3-34A1-4EB6-A64A-4A5AB74B07C1}" type="presOf" srcId="{43F06BFF-728A-491B-A020-F4B07B251624}" destId="{12126160-5290-491E-A51E-4A19A44E27BF}" srcOrd="0" destOrd="1" presId="urn:microsoft.com/office/officeart/2005/8/layout/hProcess6"/>
    <dgm:cxn modelId="{AC63E7A8-505C-4FB5-9CBF-6FDE7D32D3A0}" srcId="{8B472FBA-298B-4F0D-95D5-6F5561EAC164}" destId="{A605D41A-E272-4E44-BD61-2728094355A1}" srcOrd="0" destOrd="0" parTransId="{4C834108-F0DB-4A4F-B780-13A2443DE352}" sibTransId="{33CCFC99-09E5-41D9-BD14-D6AA816AFFF4}"/>
    <dgm:cxn modelId="{26056EA1-9F7D-446C-A273-EA8C1D293501}" type="presOf" srcId="{ECB25168-1206-47DC-8826-BF407A49E405}" destId="{2C221184-3E65-4772-95FB-8FA1BC1A4CF7}" srcOrd="1" destOrd="0" presId="urn:microsoft.com/office/officeart/2005/8/layout/hProcess6"/>
    <dgm:cxn modelId="{A17D90BB-0E85-414B-B643-4A8DEC84E836}" srcId="{CC2ADD41-DF93-4BD6-B266-4EABD27EFCA7}" destId="{7E8518EB-C89A-4D8A-A000-B19227FD0425}" srcOrd="3" destOrd="0" parTransId="{81DE0092-98B7-44DE-BC67-27EA9ACE0E1E}" sibTransId="{1FF34E91-9F49-42A3-A64D-9FEB9D549BCF}"/>
    <dgm:cxn modelId="{DCCDECAD-E800-4A2A-859A-77AA68F17C6C}" type="presOf" srcId="{0C922E2D-D539-4A2E-BB87-6B304F3EBB2B}" destId="{370EF0DB-070B-429D-B61C-F9EADB0098E0}" srcOrd="0" destOrd="0" presId="urn:microsoft.com/office/officeart/2005/8/layout/hProcess6"/>
    <dgm:cxn modelId="{E7734F10-F6A5-4A0F-9CAD-EE729E629F94}" type="presOf" srcId="{D1E63FEF-2F75-4740-9E25-3E4828C05411}" destId="{9E554135-A14D-40AD-B2FF-BF90592F499A}" srcOrd="1" destOrd="1" presId="urn:microsoft.com/office/officeart/2005/8/layout/hProcess6"/>
    <dgm:cxn modelId="{E493B2D1-E313-4CB2-86B4-930D5E825D85}" type="presOf" srcId="{76ABC666-2564-489F-89D8-73281AA28063}" destId="{FF84EC17-1AAF-4B73-BA1B-D786EACB8830}" srcOrd="0" destOrd="0" presId="urn:microsoft.com/office/officeart/2005/8/layout/hProcess6"/>
    <dgm:cxn modelId="{BE70E894-DA84-4754-BFC0-08DFD08020EA}" type="presOf" srcId="{ECB25168-1206-47DC-8826-BF407A49E405}" destId="{72E4A7DC-5B0F-442C-8910-748987640931}" srcOrd="0" destOrd="0" presId="urn:microsoft.com/office/officeart/2005/8/layout/hProcess6"/>
    <dgm:cxn modelId="{3090A8E5-136F-4987-8B1B-45879628FC12}" type="presOf" srcId="{A605D41A-E272-4E44-BD61-2728094355A1}" destId="{FDB92AC3-8B0D-4412-BDE1-1C30086F3E2C}" srcOrd="1" destOrd="0" presId="urn:microsoft.com/office/officeart/2005/8/layout/hProcess6"/>
    <dgm:cxn modelId="{C625A296-3E83-4EA0-B3BF-753D93425D80}" type="presOf" srcId="{F18D109E-BD65-4675-AACD-74D041E36CEC}" destId="{2B36068C-FBE3-43CA-9089-F87D32C4EA18}" srcOrd="0" destOrd="0" presId="urn:microsoft.com/office/officeart/2005/8/layout/hProcess6"/>
    <dgm:cxn modelId="{122FA442-8F39-4941-B197-DEC8FA489BAE}" type="presOf" srcId="{5EC77E36-EA59-4A89-BE8C-C54C92B4DBF6}" destId="{0EB5B033-AF07-4DF1-BB05-1EC545FE3AE2}" srcOrd="0" destOrd="0" presId="urn:microsoft.com/office/officeart/2005/8/layout/hProcess6"/>
    <dgm:cxn modelId="{5329110E-EF65-47FE-BF8C-C47AB5E70228}" srcId="{7E8518EB-C89A-4D8A-A000-B19227FD0425}" destId="{ECB25168-1206-47DC-8826-BF407A49E405}" srcOrd="0" destOrd="0" parTransId="{D0929D06-4115-4341-9DA4-7FF81BEA5983}" sibTransId="{5FBFFC6A-BE92-44A7-B236-4C4855C1A8D2}"/>
    <dgm:cxn modelId="{114E2E27-C39D-4604-975E-304DE39C986E}" type="presOf" srcId="{43F06BFF-728A-491B-A020-F4B07B251624}" destId="{FDB92AC3-8B0D-4412-BDE1-1C30086F3E2C}" srcOrd="1" destOrd="1" presId="urn:microsoft.com/office/officeart/2005/8/layout/hProcess6"/>
    <dgm:cxn modelId="{985A5D6D-F40A-4D2A-9EBD-6CFAC714EA51}" type="presParOf" srcId="{E01A326C-F4AA-4C77-BA5F-8620FC37C479}" destId="{FE84E432-7281-42A1-A9FA-AC6A958E69BD}" srcOrd="0" destOrd="0" presId="urn:microsoft.com/office/officeart/2005/8/layout/hProcess6"/>
    <dgm:cxn modelId="{6844596B-57DD-48E0-9B9A-AC8704BB38A6}" type="presParOf" srcId="{FE84E432-7281-42A1-A9FA-AC6A958E69BD}" destId="{4F09B0C0-601A-46E0-B0D0-A0740AB882FF}" srcOrd="0" destOrd="0" presId="urn:microsoft.com/office/officeart/2005/8/layout/hProcess6"/>
    <dgm:cxn modelId="{4B8BF154-FD72-4D45-AD75-D38D33495664}" type="presParOf" srcId="{FE84E432-7281-42A1-A9FA-AC6A958E69BD}" destId="{0EB5B033-AF07-4DF1-BB05-1EC545FE3AE2}" srcOrd="1" destOrd="0" presId="urn:microsoft.com/office/officeart/2005/8/layout/hProcess6"/>
    <dgm:cxn modelId="{672155C5-8FBA-4DF2-9E30-E9031028E633}" type="presParOf" srcId="{FE84E432-7281-42A1-A9FA-AC6A958E69BD}" destId="{FCB57EC9-904A-4C03-8F4B-BF04D8E78B46}" srcOrd="2" destOrd="0" presId="urn:microsoft.com/office/officeart/2005/8/layout/hProcess6"/>
    <dgm:cxn modelId="{A1816BB1-6117-4D9A-BCF6-9B4B3B6C870F}" type="presParOf" srcId="{FE84E432-7281-42A1-A9FA-AC6A958E69BD}" destId="{FF84EC17-1AAF-4B73-BA1B-D786EACB8830}" srcOrd="3" destOrd="0" presId="urn:microsoft.com/office/officeart/2005/8/layout/hProcess6"/>
    <dgm:cxn modelId="{317C11BB-8AE2-47DC-85DC-135F01312EF9}" type="presParOf" srcId="{E01A326C-F4AA-4C77-BA5F-8620FC37C479}" destId="{8F4FF12C-35FA-488A-84A6-3625856A3E65}" srcOrd="1" destOrd="0" presId="urn:microsoft.com/office/officeart/2005/8/layout/hProcess6"/>
    <dgm:cxn modelId="{58CA5843-0AF2-4DF7-8701-805602F00A6C}" type="presParOf" srcId="{E01A326C-F4AA-4C77-BA5F-8620FC37C479}" destId="{0FCC74FE-BE91-46AF-817D-9ED66D839329}" srcOrd="2" destOrd="0" presId="urn:microsoft.com/office/officeart/2005/8/layout/hProcess6"/>
    <dgm:cxn modelId="{D5FFEFFA-72D0-4A37-9D92-DFF937634BF5}" type="presParOf" srcId="{0FCC74FE-BE91-46AF-817D-9ED66D839329}" destId="{83E7F524-250A-402F-9787-26FE54F2126B}" srcOrd="0" destOrd="0" presId="urn:microsoft.com/office/officeart/2005/8/layout/hProcess6"/>
    <dgm:cxn modelId="{94C7E5AA-6279-47AA-B44D-78D152F10BBB}" type="presParOf" srcId="{0FCC74FE-BE91-46AF-817D-9ED66D839329}" destId="{12126160-5290-491E-A51E-4A19A44E27BF}" srcOrd="1" destOrd="0" presId="urn:microsoft.com/office/officeart/2005/8/layout/hProcess6"/>
    <dgm:cxn modelId="{BA788E98-925B-4B66-B9D0-294E73265B4C}" type="presParOf" srcId="{0FCC74FE-BE91-46AF-817D-9ED66D839329}" destId="{FDB92AC3-8B0D-4412-BDE1-1C30086F3E2C}" srcOrd="2" destOrd="0" presId="urn:microsoft.com/office/officeart/2005/8/layout/hProcess6"/>
    <dgm:cxn modelId="{F2AD9611-3237-4A71-801F-643253BCB282}" type="presParOf" srcId="{0FCC74FE-BE91-46AF-817D-9ED66D839329}" destId="{0EB26D1C-C8CC-4FF1-81F3-2470D0D1BD1E}" srcOrd="3" destOrd="0" presId="urn:microsoft.com/office/officeart/2005/8/layout/hProcess6"/>
    <dgm:cxn modelId="{D5C0F160-511A-4132-AD56-2268BD31A13E}" type="presParOf" srcId="{E01A326C-F4AA-4C77-BA5F-8620FC37C479}" destId="{0CE3D867-B973-4F7B-9971-53F3AF984CF5}" srcOrd="3" destOrd="0" presId="urn:microsoft.com/office/officeart/2005/8/layout/hProcess6"/>
    <dgm:cxn modelId="{71BB1BAA-20A5-47E1-ACB1-CD6689AA7553}" type="presParOf" srcId="{E01A326C-F4AA-4C77-BA5F-8620FC37C479}" destId="{B312561D-43EF-43CE-B0E0-ABABD9BE2411}" srcOrd="4" destOrd="0" presId="urn:microsoft.com/office/officeart/2005/8/layout/hProcess6"/>
    <dgm:cxn modelId="{35544879-90CB-4E78-9216-A757D243BCCB}" type="presParOf" srcId="{B312561D-43EF-43CE-B0E0-ABABD9BE2411}" destId="{1A21A0D4-9B0E-40BE-B878-32897330619C}" srcOrd="0" destOrd="0" presId="urn:microsoft.com/office/officeart/2005/8/layout/hProcess6"/>
    <dgm:cxn modelId="{F116B801-3475-4039-8EF4-335167BA1D6C}" type="presParOf" srcId="{B312561D-43EF-43CE-B0E0-ABABD9BE2411}" destId="{2B36068C-FBE3-43CA-9089-F87D32C4EA18}" srcOrd="1" destOrd="0" presId="urn:microsoft.com/office/officeart/2005/8/layout/hProcess6"/>
    <dgm:cxn modelId="{D5405008-A568-4485-9064-B7AFC2F59077}" type="presParOf" srcId="{B312561D-43EF-43CE-B0E0-ABABD9BE2411}" destId="{9E554135-A14D-40AD-B2FF-BF90592F499A}" srcOrd="2" destOrd="0" presId="urn:microsoft.com/office/officeart/2005/8/layout/hProcess6"/>
    <dgm:cxn modelId="{FE0E4054-8238-46C3-8E83-1F24B02F9A44}" type="presParOf" srcId="{B312561D-43EF-43CE-B0E0-ABABD9BE2411}" destId="{370EF0DB-070B-429D-B61C-F9EADB0098E0}" srcOrd="3" destOrd="0" presId="urn:microsoft.com/office/officeart/2005/8/layout/hProcess6"/>
    <dgm:cxn modelId="{1ECC875A-9634-439C-8B6A-2D38AA172BE4}" type="presParOf" srcId="{E01A326C-F4AA-4C77-BA5F-8620FC37C479}" destId="{7D4BE384-64EB-4E2D-B8D3-3EB5B9DA31EE}" srcOrd="5" destOrd="0" presId="urn:microsoft.com/office/officeart/2005/8/layout/hProcess6"/>
    <dgm:cxn modelId="{583F66A4-42BB-439E-A962-30236BBDCDB8}" type="presParOf" srcId="{E01A326C-F4AA-4C77-BA5F-8620FC37C479}" destId="{BBC4486F-0710-47CE-A53E-81A7015AF93C}" srcOrd="6" destOrd="0" presId="urn:microsoft.com/office/officeart/2005/8/layout/hProcess6"/>
    <dgm:cxn modelId="{D0571F38-649A-41FC-81E1-70ED768B8CCA}" type="presParOf" srcId="{BBC4486F-0710-47CE-A53E-81A7015AF93C}" destId="{0F4383E8-4C44-4A6C-B2AF-61C9AB604353}" srcOrd="0" destOrd="0" presId="urn:microsoft.com/office/officeart/2005/8/layout/hProcess6"/>
    <dgm:cxn modelId="{979C31FA-3178-497B-B06B-CEF883B12F0D}" type="presParOf" srcId="{BBC4486F-0710-47CE-A53E-81A7015AF93C}" destId="{72E4A7DC-5B0F-442C-8910-748987640931}" srcOrd="1" destOrd="0" presId="urn:microsoft.com/office/officeart/2005/8/layout/hProcess6"/>
    <dgm:cxn modelId="{170D8AFE-E7A8-4B4F-9DE7-E32DEFB15C26}" type="presParOf" srcId="{BBC4486F-0710-47CE-A53E-81A7015AF93C}" destId="{2C221184-3E65-4772-95FB-8FA1BC1A4CF7}" srcOrd="2" destOrd="0" presId="urn:microsoft.com/office/officeart/2005/8/layout/hProcess6"/>
    <dgm:cxn modelId="{ABC71A80-C437-45D7-8554-3105D2DA4128}" type="presParOf" srcId="{BBC4486F-0710-47CE-A53E-81A7015AF93C}" destId="{7BD0B3FE-125E-4323-88A5-E70DA8466974}" srcOrd="3" destOrd="0" presId="urn:microsoft.com/office/officeart/2005/8/layout/hProcess6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5F180971-2870-469E-9CAB-57B1E1755EC7}" type="doc">
      <dgm:prSet loTypeId="urn:microsoft.com/office/officeart/2005/8/layout/list1" loCatId="list" qsTypeId="urn:microsoft.com/office/officeart/2005/8/quickstyle/simple1" qsCatId="simple" csTypeId="urn:microsoft.com/office/officeart/2005/8/colors/colorful3" csCatId="colorful" phldr="1"/>
      <dgm:spPr/>
      <dgm:t>
        <a:bodyPr/>
        <a:lstStyle/>
        <a:p>
          <a:pPr latinLnBrk="1"/>
          <a:endParaRPr lang="ko-KR" altLang="en-US"/>
        </a:p>
      </dgm:t>
    </dgm:pt>
    <dgm:pt modelId="{F29E244A-AE78-4E59-BFD7-2D779CB1D4EF}">
      <dgm:prSet phldrT="[텍스트]"/>
      <dgm:spPr/>
      <dgm:t>
        <a:bodyPr/>
        <a:lstStyle/>
        <a:p>
          <a:pPr latinLnBrk="1"/>
          <a:r>
            <a:rPr lang="ko-KR" altLang="en-US" dirty="0"/>
            <a:t>선행 문헌연구 </a:t>
          </a:r>
        </a:p>
      </dgm:t>
    </dgm:pt>
    <dgm:pt modelId="{C1ACDF3E-9838-43CA-A901-3324708066F7}" type="parTrans" cxnId="{7287465B-3BF3-4CD1-9CD0-9F86A67BE4DC}">
      <dgm:prSet/>
      <dgm:spPr/>
      <dgm:t>
        <a:bodyPr/>
        <a:lstStyle/>
        <a:p>
          <a:pPr latinLnBrk="1"/>
          <a:endParaRPr lang="ko-KR" altLang="en-US"/>
        </a:p>
      </dgm:t>
    </dgm:pt>
    <dgm:pt modelId="{1420421D-4DFE-4AFA-BCD1-3EBF12287C1D}" type="sibTrans" cxnId="{7287465B-3BF3-4CD1-9CD0-9F86A67BE4DC}">
      <dgm:prSet/>
      <dgm:spPr/>
      <dgm:t>
        <a:bodyPr/>
        <a:lstStyle/>
        <a:p>
          <a:pPr latinLnBrk="1"/>
          <a:endParaRPr lang="ko-KR" altLang="en-US"/>
        </a:p>
      </dgm:t>
    </dgm:pt>
    <dgm:pt modelId="{646C3D77-9402-4E50-A0B8-11846F4BC5CE}">
      <dgm:prSet phldrT="[텍스트]"/>
      <dgm:spPr/>
      <dgm:t>
        <a:bodyPr/>
        <a:lstStyle/>
        <a:p>
          <a:pPr latinLnBrk="1"/>
          <a:r>
            <a:rPr lang="ko-KR" altLang="en-US" dirty="0" smtClean="0"/>
            <a:t>활용사례연구</a:t>
          </a:r>
          <a:r>
            <a:rPr lang="en-US" altLang="ko-KR" dirty="0" smtClean="0"/>
            <a:t>&gt;</a:t>
          </a:r>
          <a:r>
            <a:rPr lang="ko-KR" altLang="en-US" dirty="0" smtClean="0"/>
            <a:t> </a:t>
          </a:r>
          <a:r>
            <a:rPr lang="ko-KR" altLang="en-US" dirty="0"/>
            <a:t>귀납적 검증</a:t>
          </a:r>
          <a:r>
            <a:rPr lang="en-US" altLang="ko-KR" dirty="0"/>
            <a:t>: AI </a:t>
          </a:r>
          <a:r>
            <a:rPr lang="ko-KR" altLang="en-US" dirty="0"/>
            <a:t>필요성</a:t>
          </a:r>
          <a:r>
            <a:rPr lang="en-US" altLang="ko-KR" dirty="0"/>
            <a:t> </a:t>
          </a:r>
          <a:r>
            <a:rPr lang="ko-KR" altLang="en-US" dirty="0"/>
            <a:t>  </a:t>
          </a:r>
        </a:p>
      </dgm:t>
    </dgm:pt>
    <dgm:pt modelId="{6A32F4A4-5A4F-45E4-AE5B-E22C280C4974}" type="parTrans" cxnId="{F9330945-E811-4540-A7E8-440868B18249}">
      <dgm:prSet/>
      <dgm:spPr/>
      <dgm:t>
        <a:bodyPr/>
        <a:lstStyle/>
        <a:p>
          <a:pPr latinLnBrk="1"/>
          <a:endParaRPr lang="ko-KR" altLang="en-US"/>
        </a:p>
      </dgm:t>
    </dgm:pt>
    <dgm:pt modelId="{7765AFDA-2D70-4FAF-B681-79122A471450}" type="sibTrans" cxnId="{F9330945-E811-4540-A7E8-440868B18249}">
      <dgm:prSet/>
      <dgm:spPr/>
      <dgm:t>
        <a:bodyPr/>
        <a:lstStyle/>
        <a:p>
          <a:pPr latinLnBrk="1"/>
          <a:endParaRPr lang="ko-KR" altLang="en-US"/>
        </a:p>
      </dgm:t>
    </dgm:pt>
    <dgm:pt modelId="{409CA018-0927-44BF-988E-7F561C262F0E}">
      <dgm:prSet phldrT="[텍스트]"/>
      <dgm:spPr/>
      <dgm:t>
        <a:bodyPr/>
        <a:lstStyle/>
        <a:p>
          <a:pPr latinLnBrk="1"/>
          <a:r>
            <a:rPr lang="ko-KR" altLang="en-US" b="0" i="0" dirty="0" err="1"/>
            <a:t>탐험적</a:t>
          </a:r>
          <a:r>
            <a:rPr lang="ko-KR" altLang="en-US" b="0" i="0" dirty="0"/>
            <a:t> 분석을 통한 </a:t>
          </a:r>
          <a:r>
            <a:rPr lang="ko-KR" altLang="en-US" dirty="0"/>
            <a:t>규범적 제안   </a:t>
          </a:r>
        </a:p>
      </dgm:t>
    </dgm:pt>
    <dgm:pt modelId="{B6678008-C50D-4D71-B1BB-BC86167F8B21}" type="parTrans" cxnId="{E4651488-7FA1-4D87-9D4D-981416A01430}">
      <dgm:prSet/>
      <dgm:spPr/>
      <dgm:t>
        <a:bodyPr/>
        <a:lstStyle/>
        <a:p>
          <a:pPr latinLnBrk="1"/>
          <a:endParaRPr lang="ko-KR" altLang="en-US"/>
        </a:p>
      </dgm:t>
    </dgm:pt>
    <dgm:pt modelId="{E7D4404D-E683-459F-8527-19E0898833A4}" type="sibTrans" cxnId="{E4651488-7FA1-4D87-9D4D-981416A01430}">
      <dgm:prSet/>
      <dgm:spPr/>
      <dgm:t>
        <a:bodyPr/>
        <a:lstStyle/>
        <a:p>
          <a:pPr latinLnBrk="1"/>
          <a:endParaRPr lang="ko-KR" altLang="en-US"/>
        </a:p>
      </dgm:t>
    </dgm:pt>
    <dgm:pt modelId="{C515C16B-5613-401B-87A2-0B06027E09BA}" type="pres">
      <dgm:prSet presAssocID="{5F180971-2870-469E-9CAB-57B1E1755EC7}" presName="linear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pPr latinLnBrk="1"/>
          <a:endParaRPr lang="ko-KR" altLang="en-US"/>
        </a:p>
      </dgm:t>
    </dgm:pt>
    <dgm:pt modelId="{77B87C0D-DC8B-4D2F-A094-4AFD41DCEDAC}" type="pres">
      <dgm:prSet presAssocID="{F29E244A-AE78-4E59-BFD7-2D779CB1D4EF}" presName="parentLin" presStyleCnt="0"/>
      <dgm:spPr/>
    </dgm:pt>
    <dgm:pt modelId="{069A8A6D-921D-4179-A28F-9ACEAF620D5D}" type="pres">
      <dgm:prSet presAssocID="{F29E244A-AE78-4E59-BFD7-2D779CB1D4EF}" presName="parentLeftMargin" presStyleLbl="node1" presStyleIdx="0" presStyleCnt="3"/>
      <dgm:spPr/>
      <dgm:t>
        <a:bodyPr/>
        <a:lstStyle/>
        <a:p>
          <a:pPr latinLnBrk="1"/>
          <a:endParaRPr lang="ko-KR" altLang="en-US"/>
        </a:p>
      </dgm:t>
    </dgm:pt>
    <dgm:pt modelId="{E773FB58-CF99-4F79-97DA-85D7D2234B39}" type="pres">
      <dgm:prSet presAssocID="{F29E244A-AE78-4E59-BFD7-2D779CB1D4EF}" presName="parentText" presStyleLbl="node1" presStyleIdx="0" presStyleCnt="3">
        <dgm:presLayoutVars>
          <dgm:chMax val="0"/>
          <dgm:bulletEnabled val="1"/>
        </dgm:presLayoutVars>
      </dgm:prSet>
      <dgm:spPr/>
      <dgm:t>
        <a:bodyPr/>
        <a:lstStyle/>
        <a:p>
          <a:pPr latinLnBrk="1"/>
          <a:endParaRPr lang="ko-KR" altLang="en-US"/>
        </a:p>
      </dgm:t>
    </dgm:pt>
    <dgm:pt modelId="{9350343D-BB9A-45AE-AD67-A5EA948D410B}" type="pres">
      <dgm:prSet presAssocID="{F29E244A-AE78-4E59-BFD7-2D779CB1D4EF}" presName="negativeSpace" presStyleCnt="0"/>
      <dgm:spPr/>
    </dgm:pt>
    <dgm:pt modelId="{464CB8F9-286B-4F67-8183-D6C1449A92D7}" type="pres">
      <dgm:prSet presAssocID="{F29E244A-AE78-4E59-BFD7-2D779CB1D4EF}" presName="childText" presStyleLbl="conFgAcc1" presStyleIdx="0" presStyleCnt="3">
        <dgm:presLayoutVars>
          <dgm:bulletEnabled val="1"/>
        </dgm:presLayoutVars>
      </dgm:prSet>
      <dgm:spPr/>
    </dgm:pt>
    <dgm:pt modelId="{29FBA8C6-9509-4E07-B2BC-51A969C6AA26}" type="pres">
      <dgm:prSet presAssocID="{1420421D-4DFE-4AFA-BCD1-3EBF12287C1D}" presName="spaceBetweenRectangles" presStyleCnt="0"/>
      <dgm:spPr/>
    </dgm:pt>
    <dgm:pt modelId="{F2082399-EA2A-4789-B77E-8AA069776D25}" type="pres">
      <dgm:prSet presAssocID="{646C3D77-9402-4E50-A0B8-11846F4BC5CE}" presName="parentLin" presStyleCnt="0"/>
      <dgm:spPr/>
    </dgm:pt>
    <dgm:pt modelId="{4379B4AC-EB8A-460B-A0E0-D77C237108EF}" type="pres">
      <dgm:prSet presAssocID="{646C3D77-9402-4E50-A0B8-11846F4BC5CE}" presName="parentLeftMargin" presStyleLbl="node1" presStyleIdx="0" presStyleCnt="3"/>
      <dgm:spPr/>
      <dgm:t>
        <a:bodyPr/>
        <a:lstStyle/>
        <a:p>
          <a:pPr latinLnBrk="1"/>
          <a:endParaRPr lang="ko-KR" altLang="en-US"/>
        </a:p>
      </dgm:t>
    </dgm:pt>
    <dgm:pt modelId="{E49C3508-A382-404D-A855-4272ED52BFCC}" type="pres">
      <dgm:prSet presAssocID="{646C3D77-9402-4E50-A0B8-11846F4BC5CE}" presName="parentText" presStyleLbl="node1" presStyleIdx="1" presStyleCnt="3">
        <dgm:presLayoutVars>
          <dgm:chMax val="0"/>
          <dgm:bulletEnabled val="1"/>
        </dgm:presLayoutVars>
      </dgm:prSet>
      <dgm:spPr/>
      <dgm:t>
        <a:bodyPr/>
        <a:lstStyle/>
        <a:p>
          <a:pPr latinLnBrk="1"/>
          <a:endParaRPr lang="ko-KR" altLang="en-US"/>
        </a:p>
      </dgm:t>
    </dgm:pt>
    <dgm:pt modelId="{8053796C-8CEA-4912-A9F5-84A861FE251E}" type="pres">
      <dgm:prSet presAssocID="{646C3D77-9402-4E50-A0B8-11846F4BC5CE}" presName="negativeSpace" presStyleCnt="0"/>
      <dgm:spPr/>
    </dgm:pt>
    <dgm:pt modelId="{136EFB8D-42B3-4D6C-B957-B71F44341693}" type="pres">
      <dgm:prSet presAssocID="{646C3D77-9402-4E50-A0B8-11846F4BC5CE}" presName="childText" presStyleLbl="conFgAcc1" presStyleIdx="1" presStyleCnt="3">
        <dgm:presLayoutVars>
          <dgm:bulletEnabled val="1"/>
        </dgm:presLayoutVars>
      </dgm:prSet>
      <dgm:spPr/>
    </dgm:pt>
    <dgm:pt modelId="{A4D36F35-5521-424E-9AB4-11F64FD34F31}" type="pres">
      <dgm:prSet presAssocID="{7765AFDA-2D70-4FAF-B681-79122A471450}" presName="spaceBetweenRectangles" presStyleCnt="0"/>
      <dgm:spPr/>
    </dgm:pt>
    <dgm:pt modelId="{86603701-F0A8-41D4-8A2F-6B8B7677B167}" type="pres">
      <dgm:prSet presAssocID="{409CA018-0927-44BF-988E-7F561C262F0E}" presName="parentLin" presStyleCnt="0"/>
      <dgm:spPr/>
    </dgm:pt>
    <dgm:pt modelId="{69DE08DA-B35E-47C9-B3FF-5420035F11DB}" type="pres">
      <dgm:prSet presAssocID="{409CA018-0927-44BF-988E-7F561C262F0E}" presName="parentLeftMargin" presStyleLbl="node1" presStyleIdx="1" presStyleCnt="3"/>
      <dgm:spPr/>
      <dgm:t>
        <a:bodyPr/>
        <a:lstStyle/>
        <a:p>
          <a:pPr latinLnBrk="1"/>
          <a:endParaRPr lang="ko-KR" altLang="en-US"/>
        </a:p>
      </dgm:t>
    </dgm:pt>
    <dgm:pt modelId="{2C8B4DD7-671C-403E-BA18-5DCD9F88FEE2}" type="pres">
      <dgm:prSet presAssocID="{409CA018-0927-44BF-988E-7F561C262F0E}" presName="parentText" presStyleLbl="node1" presStyleIdx="2" presStyleCnt="3">
        <dgm:presLayoutVars>
          <dgm:chMax val="0"/>
          <dgm:bulletEnabled val="1"/>
        </dgm:presLayoutVars>
      </dgm:prSet>
      <dgm:spPr/>
      <dgm:t>
        <a:bodyPr/>
        <a:lstStyle/>
        <a:p>
          <a:pPr latinLnBrk="1"/>
          <a:endParaRPr lang="ko-KR" altLang="en-US"/>
        </a:p>
      </dgm:t>
    </dgm:pt>
    <dgm:pt modelId="{0B8EF8FC-9604-4C9D-AA4B-F0DDC21A243F}" type="pres">
      <dgm:prSet presAssocID="{409CA018-0927-44BF-988E-7F561C262F0E}" presName="negativeSpace" presStyleCnt="0"/>
      <dgm:spPr/>
    </dgm:pt>
    <dgm:pt modelId="{ACA2A516-B6C6-49A9-83B6-0A3889B12261}" type="pres">
      <dgm:prSet presAssocID="{409CA018-0927-44BF-988E-7F561C262F0E}" presName="childText" presStyleLbl="conFgAcc1" presStyleIdx="2" presStyleCnt="3">
        <dgm:presLayoutVars>
          <dgm:bulletEnabled val="1"/>
        </dgm:presLayoutVars>
      </dgm:prSet>
      <dgm:spPr/>
    </dgm:pt>
  </dgm:ptLst>
  <dgm:cxnLst>
    <dgm:cxn modelId="{7287465B-3BF3-4CD1-9CD0-9F86A67BE4DC}" srcId="{5F180971-2870-469E-9CAB-57B1E1755EC7}" destId="{F29E244A-AE78-4E59-BFD7-2D779CB1D4EF}" srcOrd="0" destOrd="0" parTransId="{C1ACDF3E-9838-43CA-A901-3324708066F7}" sibTransId="{1420421D-4DFE-4AFA-BCD1-3EBF12287C1D}"/>
    <dgm:cxn modelId="{E4651488-7FA1-4D87-9D4D-981416A01430}" srcId="{5F180971-2870-469E-9CAB-57B1E1755EC7}" destId="{409CA018-0927-44BF-988E-7F561C262F0E}" srcOrd="2" destOrd="0" parTransId="{B6678008-C50D-4D71-B1BB-BC86167F8B21}" sibTransId="{E7D4404D-E683-459F-8527-19E0898833A4}"/>
    <dgm:cxn modelId="{F3F89B74-C95E-4326-A11E-67730AF1FC7B}" type="presOf" srcId="{F29E244A-AE78-4E59-BFD7-2D779CB1D4EF}" destId="{E773FB58-CF99-4F79-97DA-85D7D2234B39}" srcOrd="1" destOrd="0" presId="urn:microsoft.com/office/officeart/2005/8/layout/list1"/>
    <dgm:cxn modelId="{D84D5A9A-DCD9-4C37-807B-00532A5436B5}" type="presOf" srcId="{646C3D77-9402-4E50-A0B8-11846F4BC5CE}" destId="{4379B4AC-EB8A-460B-A0E0-D77C237108EF}" srcOrd="0" destOrd="0" presId="urn:microsoft.com/office/officeart/2005/8/layout/list1"/>
    <dgm:cxn modelId="{5FC80CAD-0394-44DB-96A2-D7AB7661FFEE}" type="presOf" srcId="{646C3D77-9402-4E50-A0B8-11846F4BC5CE}" destId="{E49C3508-A382-404D-A855-4272ED52BFCC}" srcOrd="1" destOrd="0" presId="urn:microsoft.com/office/officeart/2005/8/layout/list1"/>
    <dgm:cxn modelId="{D28A906A-3C29-46D8-8623-64FD233D18C6}" type="presOf" srcId="{5F180971-2870-469E-9CAB-57B1E1755EC7}" destId="{C515C16B-5613-401B-87A2-0B06027E09BA}" srcOrd="0" destOrd="0" presId="urn:microsoft.com/office/officeart/2005/8/layout/list1"/>
    <dgm:cxn modelId="{F9330945-E811-4540-A7E8-440868B18249}" srcId="{5F180971-2870-469E-9CAB-57B1E1755EC7}" destId="{646C3D77-9402-4E50-A0B8-11846F4BC5CE}" srcOrd="1" destOrd="0" parTransId="{6A32F4A4-5A4F-45E4-AE5B-E22C280C4974}" sibTransId="{7765AFDA-2D70-4FAF-B681-79122A471450}"/>
    <dgm:cxn modelId="{33E686DB-69C6-4A59-97E0-1443271D0C7C}" type="presOf" srcId="{F29E244A-AE78-4E59-BFD7-2D779CB1D4EF}" destId="{069A8A6D-921D-4179-A28F-9ACEAF620D5D}" srcOrd="0" destOrd="0" presId="urn:microsoft.com/office/officeart/2005/8/layout/list1"/>
    <dgm:cxn modelId="{8C1D2275-0ACC-48AD-8608-DFEF7026AA1B}" type="presOf" srcId="{409CA018-0927-44BF-988E-7F561C262F0E}" destId="{69DE08DA-B35E-47C9-B3FF-5420035F11DB}" srcOrd="0" destOrd="0" presId="urn:microsoft.com/office/officeart/2005/8/layout/list1"/>
    <dgm:cxn modelId="{DCD77F74-6808-4DF8-B274-F83428897108}" type="presOf" srcId="{409CA018-0927-44BF-988E-7F561C262F0E}" destId="{2C8B4DD7-671C-403E-BA18-5DCD9F88FEE2}" srcOrd="1" destOrd="0" presId="urn:microsoft.com/office/officeart/2005/8/layout/list1"/>
    <dgm:cxn modelId="{F4F333A3-F1AB-4D00-86A3-AB22F1505806}" type="presParOf" srcId="{C515C16B-5613-401B-87A2-0B06027E09BA}" destId="{77B87C0D-DC8B-4D2F-A094-4AFD41DCEDAC}" srcOrd="0" destOrd="0" presId="urn:microsoft.com/office/officeart/2005/8/layout/list1"/>
    <dgm:cxn modelId="{CA6CCC76-436B-4872-96D4-1DC1965509A8}" type="presParOf" srcId="{77B87C0D-DC8B-4D2F-A094-4AFD41DCEDAC}" destId="{069A8A6D-921D-4179-A28F-9ACEAF620D5D}" srcOrd="0" destOrd="0" presId="urn:microsoft.com/office/officeart/2005/8/layout/list1"/>
    <dgm:cxn modelId="{93BB2EEF-E965-4A93-924A-DE3C9666CEFD}" type="presParOf" srcId="{77B87C0D-DC8B-4D2F-A094-4AFD41DCEDAC}" destId="{E773FB58-CF99-4F79-97DA-85D7D2234B39}" srcOrd="1" destOrd="0" presId="urn:microsoft.com/office/officeart/2005/8/layout/list1"/>
    <dgm:cxn modelId="{BAB20529-DD7B-437E-B863-5E15BB204093}" type="presParOf" srcId="{C515C16B-5613-401B-87A2-0B06027E09BA}" destId="{9350343D-BB9A-45AE-AD67-A5EA948D410B}" srcOrd="1" destOrd="0" presId="urn:microsoft.com/office/officeart/2005/8/layout/list1"/>
    <dgm:cxn modelId="{9BC3A775-0227-49E3-B59A-B0DF1D30EA36}" type="presParOf" srcId="{C515C16B-5613-401B-87A2-0B06027E09BA}" destId="{464CB8F9-286B-4F67-8183-D6C1449A92D7}" srcOrd="2" destOrd="0" presId="urn:microsoft.com/office/officeart/2005/8/layout/list1"/>
    <dgm:cxn modelId="{E9865FAB-0BEC-4A55-8A26-B6AB829C0720}" type="presParOf" srcId="{C515C16B-5613-401B-87A2-0B06027E09BA}" destId="{29FBA8C6-9509-4E07-B2BC-51A969C6AA26}" srcOrd="3" destOrd="0" presId="urn:microsoft.com/office/officeart/2005/8/layout/list1"/>
    <dgm:cxn modelId="{20169961-CE7A-4477-8E7E-7B4FD6634799}" type="presParOf" srcId="{C515C16B-5613-401B-87A2-0B06027E09BA}" destId="{F2082399-EA2A-4789-B77E-8AA069776D25}" srcOrd="4" destOrd="0" presId="urn:microsoft.com/office/officeart/2005/8/layout/list1"/>
    <dgm:cxn modelId="{66B1E0A7-D7BF-4A1C-A351-30CE3E2D985A}" type="presParOf" srcId="{F2082399-EA2A-4789-B77E-8AA069776D25}" destId="{4379B4AC-EB8A-460B-A0E0-D77C237108EF}" srcOrd="0" destOrd="0" presId="urn:microsoft.com/office/officeart/2005/8/layout/list1"/>
    <dgm:cxn modelId="{72BD9C25-6F72-4DED-896F-3C3C5D0AE23F}" type="presParOf" srcId="{F2082399-EA2A-4789-B77E-8AA069776D25}" destId="{E49C3508-A382-404D-A855-4272ED52BFCC}" srcOrd="1" destOrd="0" presId="urn:microsoft.com/office/officeart/2005/8/layout/list1"/>
    <dgm:cxn modelId="{FF1B1DF5-07BE-4594-91CA-B46EF266DC40}" type="presParOf" srcId="{C515C16B-5613-401B-87A2-0B06027E09BA}" destId="{8053796C-8CEA-4912-A9F5-84A861FE251E}" srcOrd="5" destOrd="0" presId="urn:microsoft.com/office/officeart/2005/8/layout/list1"/>
    <dgm:cxn modelId="{52644C20-0FE9-4D0F-A006-3E62C9C8A87F}" type="presParOf" srcId="{C515C16B-5613-401B-87A2-0B06027E09BA}" destId="{136EFB8D-42B3-4D6C-B957-B71F44341693}" srcOrd="6" destOrd="0" presId="urn:microsoft.com/office/officeart/2005/8/layout/list1"/>
    <dgm:cxn modelId="{B93C403F-8D26-40C6-ACDB-D77E5C05F3EC}" type="presParOf" srcId="{C515C16B-5613-401B-87A2-0B06027E09BA}" destId="{A4D36F35-5521-424E-9AB4-11F64FD34F31}" srcOrd="7" destOrd="0" presId="urn:microsoft.com/office/officeart/2005/8/layout/list1"/>
    <dgm:cxn modelId="{01818D1E-1F65-476E-9E25-B02A1530695A}" type="presParOf" srcId="{C515C16B-5613-401B-87A2-0B06027E09BA}" destId="{86603701-F0A8-41D4-8A2F-6B8B7677B167}" srcOrd="8" destOrd="0" presId="urn:microsoft.com/office/officeart/2005/8/layout/list1"/>
    <dgm:cxn modelId="{E53B15CC-0C11-427D-960E-3432052B9705}" type="presParOf" srcId="{86603701-F0A8-41D4-8A2F-6B8B7677B167}" destId="{69DE08DA-B35E-47C9-B3FF-5420035F11DB}" srcOrd="0" destOrd="0" presId="urn:microsoft.com/office/officeart/2005/8/layout/list1"/>
    <dgm:cxn modelId="{42A79166-9A87-4BAC-BF40-94C628616883}" type="presParOf" srcId="{86603701-F0A8-41D4-8A2F-6B8B7677B167}" destId="{2C8B4DD7-671C-403E-BA18-5DCD9F88FEE2}" srcOrd="1" destOrd="0" presId="urn:microsoft.com/office/officeart/2005/8/layout/list1"/>
    <dgm:cxn modelId="{E10246FE-C3E3-4F24-A1BE-5AC092A2408A}" type="presParOf" srcId="{C515C16B-5613-401B-87A2-0B06027E09BA}" destId="{0B8EF8FC-9604-4C9D-AA4B-F0DDC21A243F}" srcOrd="9" destOrd="0" presId="urn:microsoft.com/office/officeart/2005/8/layout/list1"/>
    <dgm:cxn modelId="{7665C6F0-2944-4A71-8A73-60E71F3E5E8F}" type="presParOf" srcId="{C515C16B-5613-401B-87A2-0B06027E09BA}" destId="{ACA2A516-B6C6-49A9-83B6-0A3889B12261}" srcOrd="10" destOrd="0" presId="urn:microsoft.com/office/officeart/2005/8/layout/list1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20.xml><?xml version="1.0" encoding="utf-8"?>
<dgm:dataModel xmlns:dgm="http://schemas.openxmlformats.org/drawingml/2006/diagram" xmlns:a="http://schemas.openxmlformats.org/drawingml/2006/main">
  <dgm:ptLst>
    <dgm:pt modelId="{F109A233-A4E1-4F90-A7AB-CC55BF84CA70}" type="doc">
      <dgm:prSet loTypeId="urn:microsoft.com/office/officeart/2005/8/layout/gear1" loCatId="cycle" qsTypeId="urn:microsoft.com/office/officeart/2005/8/quickstyle/3d3" qsCatId="3D" csTypeId="urn:microsoft.com/office/officeart/2005/8/colors/colorful2" csCatId="colorful" phldr="1"/>
      <dgm:spPr/>
      <dgm:t>
        <a:bodyPr/>
        <a:lstStyle/>
        <a:p>
          <a:pPr latinLnBrk="1"/>
          <a:endParaRPr lang="ko-KR" altLang="en-US"/>
        </a:p>
      </dgm:t>
    </dgm:pt>
    <dgm:pt modelId="{1BE8F86C-57CC-4578-AF68-FF2C33A7B29D}">
      <dgm:prSet phldrT="[텍스트]"/>
      <dgm:spPr>
        <a:solidFill>
          <a:srgbClr val="0070C0"/>
        </a:solidFill>
      </dgm:spPr>
      <dgm:t>
        <a:bodyPr/>
        <a:lstStyle/>
        <a:p>
          <a:pPr latinLnBrk="1"/>
          <a:r>
            <a:rPr lang="en-US" altLang="ko-KR" dirty="0"/>
            <a:t>AI </a:t>
          </a:r>
          <a:r>
            <a:rPr lang="ko-KR" altLang="en-US" dirty="0"/>
            <a:t>분석</a:t>
          </a:r>
          <a:r>
            <a:rPr lang="en-US" altLang="ko-KR" dirty="0"/>
            <a:t> /</a:t>
          </a:r>
          <a:r>
            <a:rPr lang="ko-KR" altLang="en-US" dirty="0"/>
            <a:t>표현 방법기술</a:t>
          </a:r>
          <a:r>
            <a:rPr lang="en-US" altLang="ko-KR" dirty="0"/>
            <a:t> </a:t>
          </a:r>
        </a:p>
        <a:p>
          <a:pPr latinLnBrk="1"/>
          <a:r>
            <a:rPr lang="en-US" altLang="ko-KR" dirty="0"/>
            <a:t>SW/HW</a:t>
          </a:r>
        </a:p>
        <a:p>
          <a:pPr latinLnBrk="1"/>
          <a:r>
            <a:rPr lang="ko-KR" altLang="en-US" dirty="0"/>
            <a:t>한국형</a:t>
          </a:r>
          <a:r>
            <a:rPr lang="en-US" altLang="ko-KR" dirty="0"/>
            <a:t> Chet GPT </a:t>
          </a:r>
          <a:endParaRPr lang="ko-KR" altLang="en-US" dirty="0"/>
        </a:p>
      </dgm:t>
    </dgm:pt>
    <dgm:pt modelId="{FF2DC382-CE12-4B32-9F3A-3F9637EDCA2A}" type="parTrans" cxnId="{184625F4-B4FE-464B-A4A8-FF15FEC6FCFC}">
      <dgm:prSet/>
      <dgm:spPr/>
      <dgm:t>
        <a:bodyPr/>
        <a:lstStyle/>
        <a:p>
          <a:pPr latinLnBrk="1"/>
          <a:endParaRPr lang="ko-KR" altLang="en-US"/>
        </a:p>
      </dgm:t>
    </dgm:pt>
    <dgm:pt modelId="{2D3FDB5C-ED63-4402-A357-99FEF4F20A9C}" type="sibTrans" cxnId="{184625F4-B4FE-464B-A4A8-FF15FEC6FCFC}">
      <dgm:prSet/>
      <dgm:spPr/>
      <dgm:t>
        <a:bodyPr/>
        <a:lstStyle/>
        <a:p>
          <a:pPr latinLnBrk="1"/>
          <a:endParaRPr lang="ko-KR" altLang="en-US"/>
        </a:p>
      </dgm:t>
    </dgm:pt>
    <dgm:pt modelId="{336110B3-9DA9-4A48-B63B-61C44E75A011}">
      <dgm:prSet phldrT="[텍스트]" custT="1"/>
      <dgm:spPr>
        <a:solidFill>
          <a:srgbClr val="FFC000"/>
        </a:solidFill>
      </dgm:spPr>
      <dgm:t>
        <a:bodyPr/>
        <a:lstStyle/>
        <a:p>
          <a:pPr latinLnBrk="1"/>
          <a:r>
            <a:rPr lang="en-US" altLang="ko-KR" sz="2400" b="1" dirty="0">
              <a:solidFill>
                <a:schemeClr val="tx1"/>
              </a:solidFill>
            </a:rPr>
            <a:t>6G/</a:t>
          </a:r>
          <a:r>
            <a:rPr lang="ko-KR" altLang="en-US" sz="2000" b="0" dirty="0">
              <a:solidFill>
                <a:schemeClr val="tx1"/>
              </a:solidFill>
            </a:rPr>
            <a:t>우주 인공위성 </a:t>
          </a:r>
          <a:r>
            <a:rPr lang="en-US" altLang="ko-KR" sz="2400" b="1" dirty="0">
              <a:solidFill>
                <a:schemeClr val="tx1"/>
              </a:solidFill>
            </a:rPr>
            <a:t> </a:t>
          </a:r>
          <a:endParaRPr lang="ko-KR" altLang="en-US" sz="2400" b="1" dirty="0">
            <a:solidFill>
              <a:schemeClr val="tx1"/>
            </a:solidFill>
          </a:endParaRPr>
        </a:p>
      </dgm:t>
    </dgm:pt>
    <dgm:pt modelId="{27F94DD2-8126-4924-B7DF-322E075F2B4A}" type="parTrans" cxnId="{A0E12E00-9B26-49AD-92F8-67E2C315AF58}">
      <dgm:prSet/>
      <dgm:spPr/>
      <dgm:t>
        <a:bodyPr/>
        <a:lstStyle/>
        <a:p>
          <a:pPr latinLnBrk="1"/>
          <a:endParaRPr lang="ko-KR" altLang="en-US"/>
        </a:p>
      </dgm:t>
    </dgm:pt>
    <dgm:pt modelId="{3E45B751-9894-418B-A71B-031264635FD0}" type="sibTrans" cxnId="{A0E12E00-9B26-49AD-92F8-67E2C315AF58}">
      <dgm:prSet/>
      <dgm:spPr/>
      <dgm:t>
        <a:bodyPr/>
        <a:lstStyle/>
        <a:p>
          <a:pPr latinLnBrk="1"/>
          <a:endParaRPr lang="ko-KR" altLang="en-US"/>
        </a:p>
      </dgm:t>
    </dgm:pt>
    <dgm:pt modelId="{FCC205F5-281D-4440-8AF3-6F1A07435C50}">
      <dgm:prSet custT="1"/>
      <dgm:spPr>
        <a:solidFill>
          <a:srgbClr val="00B0F0"/>
        </a:solidFill>
      </dgm:spPr>
      <dgm:t>
        <a:bodyPr/>
        <a:lstStyle/>
        <a:p>
          <a:pPr latinLnBrk="1"/>
          <a:r>
            <a:rPr lang="ko-KR" altLang="en-US" sz="1800" dirty="0"/>
            <a:t>반도체</a:t>
          </a:r>
          <a:r>
            <a:rPr lang="en-US" altLang="ko-KR" sz="1800" dirty="0"/>
            <a:t>/</a:t>
          </a:r>
        </a:p>
        <a:p>
          <a:pPr latinLnBrk="1"/>
          <a:r>
            <a:rPr lang="ko-KR" altLang="en-US" sz="1800" dirty="0"/>
            <a:t>컴퓨팅 </a:t>
          </a:r>
          <a:endParaRPr lang="en-US" altLang="ko-KR" sz="1800" dirty="0"/>
        </a:p>
        <a:p>
          <a:pPr latinLnBrk="1"/>
          <a:r>
            <a:rPr lang="en-US" altLang="ko-KR" sz="1800" dirty="0"/>
            <a:t>* </a:t>
          </a:r>
          <a:r>
            <a:rPr lang="ko-KR" altLang="en-US" sz="1800" dirty="0"/>
            <a:t>양자컴퓨터  </a:t>
          </a:r>
        </a:p>
      </dgm:t>
    </dgm:pt>
    <dgm:pt modelId="{E339A744-7774-4A48-8D66-1C86AF962A51}" type="parTrans" cxnId="{559CAC2F-C45A-4C35-910C-293D6E927E82}">
      <dgm:prSet/>
      <dgm:spPr/>
      <dgm:t>
        <a:bodyPr/>
        <a:lstStyle/>
        <a:p>
          <a:pPr latinLnBrk="1"/>
          <a:endParaRPr lang="ko-KR" altLang="en-US"/>
        </a:p>
      </dgm:t>
    </dgm:pt>
    <dgm:pt modelId="{D8E88C95-1EB1-431D-9039-18B267067A3F}" type="sibTrans" cxnId="{559CAC2F-C45A-4C35-910C-293D6E927E82}">
      <dgm:prSet/>
      <dgm:spPr/>
      <dgm:t>
        <a:bodyPr/>
        <a:lstStyle/>
        <a:p>
          <a:pPr latinLnBrk="1"/>
          <a:endParaRPr lang="ko-KR" altLang="en-US"/>
        </a:p>
      </dgm:t>
    </dgm:pt>
    <dgm:pt modelId="{4562C824-3C7D-42E9-9D8B-E841A109029C}">
      <dgm:prSet/>
      <dgm:spPr/>
      <dgm:t>
        <a:bodyPr/>
        <a:lstStyle/>
        <a:p>
          <a:pPr latinLnBrk="1"/>
          <a:endParaRPr lang="ko-KR" altLang="en-US"/>
        </a:p>
      </dgm:t>
    </dgm:pt>
    <dgm:pt modelId="{C1380086-F6C5-45BA-BF6D-14E17E83D60B}" type="parTrans" cxnId="{647BAB5E-8601-429B-BEA9-25948924F19E}">
      <dgm:prSet/>
      <dgm:spPr/>
      <dgm:t>
        <a:bodyPr/>
        <a:lstStyle/>
        <a:p>
          <a:pPr latinLnBrk="1"/>
          <a:endParaRPr lang="ko-KR" altLang="en-US"/>
        </a:p>
      </dgm:t>
    </dgm:pt>
    <dgm:pt modelId="{E3488AC6-B4BF-4AC2-A8F3-4552CF7488EF}" type="sibTrans" cxnId="{647BAB5E-8601-429B-BEA9-25948924F19E}">
      <dgm:prSet/>
      <dgm:spPr/>
      <dgm:t>
        <a:bodyPr/>
        <a:lstStyle/>
        <a:p>
          <a:pPr latinLnBrk="1"/>
          <a:endParaRPr lang="ko-KR" altLang="en-US"/>
        </a:p>
      </dgm:t>
    </dgm:pt>
    <dgm:pt modelId="{26DC7201-D980-49A8-9C8A-25435E3E656F}">
      <dgm:prSet/>
      <dgm:spPr/>
      <dgm:t>
        <a:bodyPr/>
        <a:lstStyle/>
        <a:p>
          <a:pPr latinLnBrk="1"/>
          <a:r>
            <a:rPr lang="ko-KR" altLang="en-US" dirty="0"/>
            <a:t>스마트시티 </a:t>
          </a:r>
        </a:p>
      </dgm:t>
    </dgm:pt>
    <dgm:pt modelId="{7D853BF8-0667-4B4A-9991-1F9A573C629D}" type="parTrans" cxnId="{A513EB4C-5C47-4B09-9CD3-53859698729C}">
      <dgm:prSet/>
      <dgm:spPr/>
      <dgm:t>
        <a:bodyPr/>
        <a:lstStyle/>
        <a:p>
          <a:pPr latinLnBrk="1"/>
          <a:endParaRPr lang="ko-KR" altLang="en-US"/>
        </a:p>
      </dgm:t>
    </dgm:pt>
    <dgm:pt modelId="{C87E8094-2FD2-4955-92E8-152F74D1245C}" type="sibTrans" cxnId="{A513EB4C-5C47-4B09-9CD3-53859698729C}">
      <dgm:prSet/>
      <dgm:spPr/>
      <dgm:t>
        <a:bodyPr/>
        <a:lstStyle/>
        <a:p>
          <a:pPr latinLnBrk="1"/>
          <a:endParaRPr lang="ko-KR" altLang="en-US"/>
        </a:p>
      </dgm:t>
    </dgm:pt>
    <dgm:pt modelId="{1B9C14F4-946A-46AE-9696-B819738D482B}" type="pres">
      <dgm:prSet presAssocID="{F109A233-A4E1-4F90-A7AB-CC55BF84CA70}" presName="composite" presStyleCnt="0">
        <dgm:presLayoutVars>
          <dgm:chMax val="3"/>
          <dgm:animLvl val="lvl"/>
          <dgm:resizeHandles val="exact"/>
        </dgm:presLayoutVars>
      </dgm:prSet>
      <dgm:spPr/>
      <dgm:t>
        <a:bodyPr/>
        <a:lstStyle/>
        <a:p>
          <a:pPr latinLnBrk="1"/>
          <a:endParaRPr lang="ko-KR" altLang="en-US"/>
        </a:p>
      </dgm:t>
    </dgm:pt>
    <dgm:pt modelId="{28F0B71D-7BA9-465D-897F-2104CAC2DE41}" type="pres">
      <dgm:prSet presAssocID="{1BE8F86C-57CC-4578-AF68-FF2C33A7B29D}" presName="gear1" presStyleLbl="node1" presStyleIdx="0" presStyleCnt="3" custLinFactNeighborX="-8343" custLinFactNeighborY="-16953">
        <dgm:presLayoutVars>
          <dgm:chMax val="1"/>
          <dgm:bulletEnabled val="1"/>
        </dgm:presLayoutVars>
      </dgm:prSet>
      <dgm:spPr/>
      <dgm:t>
        <a:bodyPr/>
        <a:lstStyle/>
        <a:p>
          <a:pPr latinLnBrk="1"/>
          <a:endParaRPr lang="ko-KR" altLang="en-US"/>
        </a:p>
      </dgm:t>
    </dgm:pt>
    <dgm:pt modelId="{3F803797-FF8D-4191-8F3B-30354695C402}" type="pres">
      <dgm:prSet presAssocID="{1BE8F86C-57CC-4578-AF68-FF2C33A7B29D}" presName="gear1srcNode" presStyleLbl="node1" presStyleIdx="0" presStyleCnt="3"/>
      <dgm:spPr/>
      <dgm:t>
        <a:bodyPr/>
        <a:lstStyle/>
        <a:p>
          <a:pPr latinLnBrk="1"/>
          <a:endParaRPr lang="ko-KR" altLang="en-US"/>
        </a:p>
      </dgm:t>
    </dgm:pt>
    <dgm:pt modelId="{26066849-2EED-48F2-81A4-F04549A016B4}" type="pres">
      <dgm:prSet presAssocID="{1BE8F86C-57CC-4578-AF68-FF2C33A7B29D}" presName="gear1dstNode" presStyleLbl="node1" presStyleIdx="0" presStyleCnt="3"/>
      <dgm:spPr/>
      <dgm:t>
        <a:bodyPr/>
        <a:lstStyle/>
        <a:p>
          <a:pPr latinLnBrk="1"/>
          <a:endParaRPr lang="ko-KR" altLang="en-US"/>
        </a:p>
      </dgm:t>
    </dgm:pt>
    <dgm:pt modelId="{D4C1249B-D779-4C2C-9CB5-EE0525C1722E}" type="pres">
      <dgm:prSet presAssocID="{336110B3-9DA9-4A48-B63B-61C44E75A011}" presName="gear2" presStyleLbl="node1" presStyleIdx="1" presStyleCnt="3">
        <dgm:presLayoutVars>
          <dgm:chMax val="1"/>
          <dgm:bulletEnabled val="1"/>
        </dgm:presLayoutVars>
      </dgm:prSet>
      <dgm:spPr/>
      <dgm:t>
        <a:bodyPr/>
        <a:lstStyle/>
        <a:p>
          <a:pPr latinLnBrk="1"/>
          <a:endParaRPr lang="ko-KR" altLang="en-US"/>
        </a:p>
      </dgm:t>
    </dgm:pt>
    <dgm:pt modelId="{FF3E4D99-D3A2-4412-874F-65EBDB6424B7}" type="pres">
      <dgm:prSet presAssocID="{336110B3-9DA9-4A48-B63B-61C44E75A011}" presName="gear2srcNode" presStyleLbl="node1" presStyleIdx="1" presStyleCnt="3"/>
      <dgm:spPr/>
      <dgm:t>
        <a:bodyPr/>
        <a:lstStyle/>
        <a:p>
          <a:pPr latinLnBrk="1"/>
          <a:endParaRPr lang="ko-KR" altLang="en-US"/>
        </a:p>
      </dgm:t>
    </dgm:pt>
    <dgm:pt modelId="{B4C12106-724D-409C-ADA5-436DDD4DC79D}" type="pres">
      <dgm:prSet presAssocID="{336110B3-9DA9-4A48-B63B-61C44E75A011}" presName="gear2dstNode" presStyleLbl="node1" presStyleIdx="1" presStyleCnt="3"/>
      <dgm:spPr/>
      <dgm:t>
        <a:bodyPr/>
        <a:lstStyle/>
        <a:p>
          <a:pPr latinLnBrk="1"/>
          <a:endParaRPr lang="ko-KR" altLang="en-US"/>
        </a:p>
      </dgm:t>
    </dgm:pt>
    <dgm:pt modelId="{D0D80A23-AA75-4603-822B-B2AFA808A71E}" type="pres">
      <dgm:prSet presAssocID="{26DC7201-D980-49A8-9C8A-25435E3E656F}" presName="gear3" presStyleLbl="node1" presStyleIdx="2" presStyleCnt="3"/>
      <dgm:spPr/>
      <dgm:t>
        <a:bodyPr/>
        <a:lstStyle/>
        <a:p>
          <a:pPr latinLnBrk="1"/>
          <a:endParaRPr lang="ko-KR" altLang="en-US"/>
        </a:p>
      </dgm:t>
    </dgm:pt>
    <dgm:pt modelId="{D4AAB558-BCC4-4DF2-B7B6-CE3DA2A50C44}" type="pres">
      <dgm:prSet presAssocID="{26DC7201-D980-49A8-9C8A-25435E3E656F}" presName="gear3tx" presStyleLbl="node1" presStyleIdx="2" presStyleCnt="3">
        <dgm:presLayoutVars>
          <dgm:chMax val="1"/>
          <dgm:bulletEnabled val="1"/>
        </dgm:presLayoutVars>
      </dgm:prSet>
      <dgm:spPr/>
      <dgm:t>
        <a:bodyPr/>
        <a:lstStyle/>
        <a:p>
          <a:pPr latinLnBrk="1"/>
          <a:endParaRPr lang="ko-KR" altLang="en-US"/>
        </a:p>
      </dgm:t>
    </dgm:pt>
    <dgm:pt modelId="{D6DB3B63-5044-4BFA-ACFD-0CB386F175E3}" type="pres">
      <dgm:prSet presAssocID="{26DC7201-D980-49A8-9C8A-25435E3E656F}" presName="gear3srcNode" presStyleLbl="node1" presStyleIdx="2" presStyleCnt="3"/>
      <dgm:spPr/>
      <dgm:t>
        <a:bodyPr/>
        <a:lstStyle/>
        <a:p>
          <a:pPr latinLnBrk="1"/>
          <a:endParaRPr lang="ko-KR" altLang="en-US"/>
        </a:p>
      </dgm:t>
    </dgm:pt>
    <dgm:pt modelId="{6750A794-0297-4A26-BA76-91D88C5E2E2B}" type="pres">
      <dgm:prSet presAssocID="{26DC7201-D980-49A8-9C8A-25435E3E656F}" presName="gear3dstNode" presStyleLbl="node1" presStyleIdx="2" presStyleCnt="3"/>
      <dgm:spPr/>
      <dgm:t>
        <a:bodyPr/>
        <a:lstStyle/>
        <a:p>
          <a:pPr latinLnBrk="1"/>
          <a:endParaRPr lang="ko-KR" altLang="en-US"/>
        </a:p>
      </dgm:t>
    </dgm:pt>
    <dgm:pt modelId="{F0B4E438-C1A7-44D7-B1AA-6A94857501AE}" type="pres">
      <dgm:prSet presAssocID="{26DC7201-D980-49A8-9C8A-25435E3E656F}" presName="gear3ch" presStyleLbl="fgAcc1" presStyleIdx="0" presStyleCnt="1">
        <dgm:presLayoutVars>
          <dgm:chMax val="0"/>
          <dgm:bulletEnabled val="1"/>
        </dgm:presLayoutVars>
      </dgm:prSet>
      <dgm:spPr/>
      <dgm:t>
        <a:bodyPr/>
        <a:lstStyle/>
        <a:p>
          <a:pPr latinLnBrk="1"/>
          <a:endParaRPr lang="ko-KR" altLang="en-US"/>
        </a:p>
      </dgm:t>
    </dgm:pt>
    <dgm:pt modelId="{C15EB928-5C16-455F-9AEF-C3EA87D08819}" type="pres">
      <dgm:prSet presAssocID="{2D3FDB5C-ED63-4402-A357-99FEF4F20A9C}" presName="connector1" presStyleLbl="sibTrans2D1" presStyleIdx="0" presStyleCnt="3" custLinFactNeighborX="-9501" custLinFactNeighborY="-14090"/>
      <dgm:spPr/>
      <dgm:t>
        <a:bodyPr/>
        <a:lstStyle/>
        <a:p>
          <a:pPr latinLnBrk="1"/>
          <a:endParaRPr lang="ko-KR" altLang="en-US"/>
        </a:p>
      </dgm:t>
    </dgm:pt>
    <dgm:pt modelId="{A79EAF3E-671B-4816-A85A-5BBC1FE72B22}" type="pres">
      <dgm:prSet presAssocID="{3E45B751-9894-418B-A71B-031264635FD0}" presName="connector2" presStyleLbl="sibTrans2D1" presStyleIdx="1" presStyleCnt="3"/>
      <dgm:spPr/>
      <dgm:t>
        <a:bodyPr/>
        <a:lstStyle/>
        <a:p>
          <a:pPr latinLnBrk="1"/>
          <a:endParaRPr lang="ko-KR" altLang="en-US"/>
        </a:p>
      </dgm:t>
    </dgm:pt>
    <dgm:pt modelId="{096D26FF-3AED-4CA7-8FC4-55A5B5AD6346}" type="pres">
      <dgm:prSet presAssocID="{C87E8094-2FD2-4955-92E8-152F74D1245C}" presName="connector3" presStyleLbl="sibTrans2D1" presStyleIdx="2" presStyleCnt="3"/>
      <dgm:spPr/>
      <dgm:t>
        <a:bodyPr/>
        <a:lstStyle/>
        <a:p>
          <a:pPr latinLnBrk="1"/>
          <a:endParaRPr lang="ko-KR" altLang="en-US"/>
        </a:p>
      </dgm:t>
    </dgm:pt>
  </dgm:ptLst>
  <dgm:cxnLst>
    <dgm:cxn modelId="{184625F4-B4FE-464B-A4A8-FF15FEC6FCFC}" srcId="{F109A233-A4E1-4F90-A7AB-CC55BF84CA70}" destId="{1BE8F86C-57CC-4578-AF68-FF2C33A7B29D}" srcOrd="0" destOrd="0" parTransId="{FF2DC382-CE12-4B32-9F3A-3F9637EDCA2A}" sibTransId="{2D3FDB5C-ED63-4402-A357-99FEF4F20A9C}"/>
    <dgm:cxn modelId="{A0E12E00-9B26-49AD-92F8-67E2C315AF58}" srcId="{F109A233-A4E1-4F90-A7AB-CC55BF84CA70}" destId="{336110B3-9DA9-4A48-B63B-61C44E75A011}" srcOrd="1" destOrd="0" parTransId="{27F94DD2-8126-4924-B7DF-322E075F2B4A}" sibTransId="{3E45B751-9894-418B-A71B-031264635FD0}"/>
    <dgm:cxn modelId="{647BAB5E-8601-429B-BEA9-25948924F19E}" srcId="{F109A233-A4E1-4F90-A7AB-CC55BF84CA70}" destId="{4562C824-3C7D-42E9-9D8B-E841A109029C}" srcOrd="3" destOrd="0" parTransId="{C1380086-F6C5-45BA-BF6D-14E17E83D60B}" sibTransId="{E3488AC6-B4BF-4AC2-A8F3-4552CF7488EF}"/>
    <dgm:cxn modelId="{A526B4A0-F697-409F-BE02-572B49351F32}" type="presOf" srcId="{1BE8F86C-57CC-4578-AF68-FF2C33A7B29D}" destId="{26066849-2EED-48F2-81A4-F04549A016B4}" srcOrd="2" destOrd="0" presId="urn:microsoft.com/office/officeart/2005/8/layout/gear1"/>
    <dgm:cxn modelId="{5D85ADB5-3EEA-4C65-A29B-F27F15A39C8E}" type="presOf" srcId="{336110B3-9DA9-4A48-B63B-61C44E75A011}" destId="{D4C1249B-D779-4C2C-9CB5-EE0525C1722E}" srcOrd="0" destOrd="0" presId="urn:microsoft.com/office/officeart/2005/8/layout/gear1"/>
    <dgm:cxn modelId="{9A0AD148-8BDD-4E1C-A335-935401813B58}" type="presOf" srcId="{2D3FDB5C-ED63-4402-A357-99FEF4F20A9C}" destId="{C15EB928-5C16-455F-9AEF-C3EA87D08819}" srcOrd="0" destOrd="0" presId="urn:microsoft.com/office/officeart/2005/8/layout/gear1"/>
    <dgm:cxn modelId="{A441B383-0C79-415C-9350-16FA2729C0DC}" type="presOf" srcId="{26DC7201-D980-49A8-9C8A-25435E3E656F}" destId="{D6DB3B63-5044-4BFA-ACFD-0CB386F175E3}" srcOrd="2" destOrd="0" presId="urn:microsoft.com/office/officeart/2005/8/layout/gear1"/>
    <dgm:cxn modelId="{0C0F13AD-B454-46D6-AC22-74E8CEFC8C48}" type="presOf" srcId="{FCC205F5-281D-4440-8AF3-6F1A07435C50}" destId="{F0B4E438-C1A7-44D7-B1AA-6A94857501AE}" srcOrd="0" destOrd="0" presId="urn:microsoft.com/office/officeart/2005/8/layout/gear1"/>
    <dgm:cxn modelId="{998EB021-2B41-44B8-86C2-3AE30F4546E6}" type="presOf" srcId="{1BE8F86C-57CC-4578-AF68-FF2C33A7B29D}" destId="{28F0B71D-7BA9-465D-897F-2104CAC2DE41}" srcOrd="0" destOrd="0" presId="urn:microsoft.com/office/officeart/2005/8/layout/gear1"/>
    <dgm:cxn modelId="{6A954338-062D-4D66-9A16-AEA69E357F19}" type="presOf" srcId="{336110B3-9DA9-4A48-B63B-61C44E75A011}" destId="{B4C12106-724D-409C-ADA5-436DDD4DC79D}" srcOrd="2" destOrd="0" presId="urn:microsoft.com/office/officeart/2005/8/layout/gear1"/>
    <dgm:cxn modelId="{3F42DFE7-D7EF-4844-BD0A-A107B7451BF4}" type="presOf" srcId="{1BE8F86C-57CC-4578-AF68-FF2C33A7B29D}" destId="{3F803797-FF8D-4191-8F3B-30354695C402}" srcOrd="1" destOrd="0" presId="urn:microsoft.com/office/officeart/2005/8/layout/gear1"/>
    <dgm:cxn modelId="{407764DB-166F-4B09-8B22-059FD574BCE8}" type="presOf" srcId="{26DC7201-D980-49A8-9C8A-25435E3E656F}" destId="{D4AAB558-BCC4-4DF2-B7B6-CE3DA2A50C44}" srcOrd="1" destOrd="0" presId="urn:microsoft.com/office/officeart/2005/8/layout/gear1"/>
    <dgm:cxn modelId="{559CAC2F-C45A-4C35-910C-293D6E927E82}" srcId="{26DC7201-D980-49A8-9C8A-25435E3E656F}" destId="{FCC205F5-281D-4440-8AF3-6F1A07435C50}" srcOrd="0" destOrd="0" parTransId="{E339A744-7774-4A48-8D66-1C86AF962A51}" sibTransId="{D8E88C95-1EB1-431D-9039-18B267067A3F}"/>
    <dgm:cxn modelId="{18443B74-D646-4622-B99B-1F40458FAD08}" type="presOf" srcId="{26DC7201-D980-49A8-9C8A-25435E3E656F}" destId="{6750A794-0297-4A26-BA76-91D88C5E2E2B}" srcOrd="3" destOrd="0" presId="urn:microsoft.com/office/officeart/2005/8/layout/gear1"/>
    <dgm:cxn modelId="{5CF06336-9B1B-4CDE-B122-640B1CD67194}" type="presOf" srcId="{26DC7201-D980-49A8-9C8A-25435E3E656F}" destId="{D0D80A23-AA75-4603-822B-B2AFA808A71E}" srcOrd="0" destOrd="0" presId="urn:microsoft.com/office/officeart/2005/8/layout/gear1"/>
    <dgm:cxn modelId="{D3C1C76A-254E-49AA-AA87-6EC5F351F55B}" type="presOf" srcId="{F109A233-A4E1-4F90-A7AB-CC55BF84CA70}" destId="{1B9C14F4-946A-46AE-9696-B819738D482B}" srcOrd="0" destOrd="0" presId="urn:microsoft.com/office/officeart/2005/8/layout/gear1"/>
    <dgm:cxn modelId="{A513EB4C-5C47-4B09-9CD3-53859698729C}" srcId="{F109A233-A4E1-4F90-A7AB-CC55BF84CA70}" destId="{26DC7201-D980-49A8-9C8A-25435E3E656F}" srcOrd="2" destOrd="0" parTransId="{7D853BF8-0667-4B4A-9991-1F9A573C629D}" sibTransId="{C87E8094-2FD2-4955-92E8-152F74D1245C}"/>
    <dgm:cxn modelId="{BF6EC3E5-B788-43BA-BDEB-8E43C9951FAF}" type="presOf" srcId="{C87E8094-2FD2-4955-92E8-152F74D1245C}" destId="{096D26FF-3AED-4CA7-8FC4-55A5B5AD6346}" srcOrd="0" destOrd="0" presId="urn:microsoft.com/office/officeart/2005/8/layout/gear1"/>
    <dgm:cxn modelId="{560D2E7C-AEC3-4ABB-948B-17DBF1E4CECA}" type="presOf" srcId="{336110B3-9DA9-4A48-B63B-61C44E75A011}" destId="{FF3E4D99-D3A2-4412-874F-65EBDB6424B7}" srcOrd="1" destOrd="0" presId="urn:microsoft.com/office/officeart/2005/8/layout/gear1"/>
    <dgm:cxn modelId="{76AD53CA-D734-4970-9181-6380A279A59C}" type="presOf" srcId="{3E45B751-9894-418B-A71B-031264635FD0}" destId="{A79EAF3E-671B-4816-A85A-5BBC1FE72B22}" srcOrd="0" destOrd="0" presId="urn:microsoft.com/office/officeart/2005/8/layout/gear1"/>
    <dgm:cxn modelId="{C353D0B4-7443-480E-80DA-1E5D3AB5487F}" type="presParOf" srcId="{1B9C14F4-946A-46AE-9696-B819738D482B}" destId="{28F0B71D-7BA9-465D-897F-2104CAC2DE41}" srcOrd="0" destOrd="0" presId="urn:microsoft.com/office/officeart/2005/8/layout/gear1"/>
    <dgm:cxn modelId="{1F18965C-E862-4C97-99D5-826CF89BC70A}" type="presParOf" srcId="{1B9C14F4-946A-46AE-9696-B819738D482B}" destId="{3F803797-FF8D-4191-8F3B-30354695C402}" srcOrd="1" destOrd="0" presId="urn:microsoft.com/office/officeart/2005/8/layout/gear1"/>
    <dgm:cxn modelId="{4F6342AE-3AC8-4984-9516-420308A0C62F}" type="presParOf" srcId="{1B9C14F4-946A-46AE-9696-B819738D482B}" destId="{26066849-2EED-48F2-81A4-F04549A016B4}" srcOrd="2" destOrd="0" presId="urn:microsoft.com/office/officeart/2005/8/layout/gear1"/>
    <dgm:cxn modelId="{E0051221-EF00-499E-B455-D6165B4DF6C4}" type="presParOf" srcId="{1B9C14F4-946A-46AE-9696-B819738D482B}" destId="{D4C1249B-D779-4C2C-9CB5-EE0525C1722E}" srcOrd="3" destOrd="0" presId="urn:microsoft.com/office/officeart/2005/8/layout/gear1"/>
    <dgm:cxn modelId="{48B4777C-C390-406E-9C82-E0B5840C55BC}" type="presParOf" srcId="{1B9C14F4-946A-46AE-9696-B819738D482B}" destId="{FF3E4D99-D3A2-4412-874F-65EBDB6424B7}" srcOrd="4" destOrd="0" presId="urn:microsoft.com/office/officeart/2005/8/layout/gear1"/>
    <dgm:cxn modelId="{8A14665B-639A-49AA-BFC3-135807A4C8B1}" type="presParOf" srcId="{1B9C14F4-946A-46AE-9696-B819738D482B}" destId="{B4C12106-724D-409C-ADA5-436DDD4DC79D}" srcOrd="5" destOrd="0" presId="urn:microsoft.com/office/officeart/2005/8/layout/gear1"/>
    <dgm:cxn modelId="{F5EEEFFB-A50C-4F8B-A12B-7784F6646735}" type="presParOf" srcId="{1B9C14F4-946A-46AE-9696-B819738D482B}" destId="{D0D80A23-AA75-4603-822B-B2AFA808A71E}" srcOrd="6" destOrd="0" presId="urn:microsoft.com/office/officeart/2005/8/layout/gear1"/>
    <dgm:cxn modelId="{9F8AD727-7508-429E-BD61-D53E12E78176}" type="presParOf" srcId="{1B9C14F4-946A-46AE-9696-B819738D482B}" destId="{D4AAB558-BCC4-4DF2-B7B6-CE3DA2A50C44}" srcOrd="7" destOrd="0" presId="urn:microsoft.com/office/officeart/2005/8/layout/gear1"/>
    <dgm:cxn modelId="{CA0AF3E2-1370-4C15-85C2-0048D5088862}" type="presParOf" srcId="{1B9C14F4-946A-46AE-9696-B819738D482B}" destId="{D6DB3B63-5044-4BFA-ACFD-0CB386F175E3}" srcOrd="8" destOrd="0" presId="urn:microsoft.com/office/officeart/2005/8/layout/gear1"/>
    <dgm:cxn modelId="{F23CB8F2-D47C-41E0-8C27-99AAE3ABEB1E}" type="presParOf" srcId="{1B9C14F4-946A-46AE-9696-B819738D482B}" destId="{6750A794-0297-4A26-BA76-91D88C5E2E2B}" srcOrd="9" destOrd="0" presId="urn:microsoft.com/office/officeart/2005/8/layout/gear1"/>
    <dgm:cxn modelId="{CAEAFEC1-8B02-41BB-8F66-A757D523DB9A}" type="presParOf" srcId="{1B9C14F4-946A-46AE-9696-B819738D482B}" destId="{F0B4E438-C1A7-44D7-B1AA-6A94857501AE}" srcOrd="10" destOrd="0" presId="urn:microsoft.com/office/officeart/2005/8/layout/gear1"/>
    <dgm:cxn modelId="{6160F404-5967-44D0-A216-DEF9B31EED61}" type="presParOf" srcId="{1B9C14F4-946A-46AE-9696-B819738D482B}" destId="{C15EB928-5C16-455F-9AEF-C3EA87D08819}" srcOrd="11" destOrd="0" presId="urn:microsoft.com/office/officeart/2005/8/layout/gear1"/>
    <dgm:cxn modelId="{0A413BCB-85CB-4E12-9715-93E27B456E4B}" type="presParOf" srcId="{1B9C14F4-946A-46AE-9696-B819738D482B}" destId="{A79EAF3E-671B-4816-A85A-5BBC1FE72B22}" srcOrd="12" destOrd="0" presId="urn:microsoft.com/office/officeart/2005/8/layout/gear1"/>
    <dgm:cxn modelId="{6D8322F5-78D5-488A-8D25-F8E0D69B42C8}" type="presParOf" srcId="{1B9C14F4-946A-46AE-9696-B819738D482B}" destId="{096D26FF-3AED-4CA7-8FC4-55A5B5AD6346}" srcOrd="13" destOrd="0" presId="urn:microsoft.com/office/officeart/2005/8/layout/gear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1.xml><?xml version="1.0" encoding="utf-8"?>
<dgm:dataModel xmlns:dgm="http://schemas.openxmlformats.org/drawingml/2006/diagram" xmlns:a="http://schemas.openxmlformats.org/drawingml/2006/main">
  <dgm:ptLst>
    <dgm:pt modelId="{26629E7F-BB97-4D6F-BECF-2C1796EE633E}" type="doc">
      <dgm:prSet loTypeId="urn:microsoft.com/office/officeart/2005/8/layout/matrix3" loCatId="matrix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pPr latinLnBrk="1"/>
          <a:endParaRPr lang="ko-KR" altLang="en-US"/>
        </a:p>
      </dgm:t>
    </dgm:pt>
    <dgm:pt modelId="{5C55356A-4617-4B14-B6A3-F08FF01E9D69}">
      <dgm:prSet phldrT="[텍스트]" custT="1"/>
      <dgm:spPr/>
      <dgm:t>
        <a:bodyPr/>
        <a:lstStyle/>
        <a:p>
          <a:pPr marL="0" marR="0" lvl="0" indent="0" defTabSz="914400" eaLnBrk="1" fontAlgn="auto" latinLnBrk="1" hangingPunct="1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ko-KR" altLang="en-US" sz="2000" b="0" dirty="0" err="1"/>
            <a:t>빅데이터</a:t>
          </a:r>
          <a:r>
            <a:rPr lang="ko-KR" altLang="en-US" sz="2000" b="0" dirty="0"/>
            <a:t> </a:t>
          </a:r>
          <a:r>
            <a:rPr lang="en-US" altLang="ko-KR" sz="2000" b="0" dirty="0"/>
            <a:t>&amp; AI  </a:t>
          </a:r>
          <a:r>
            <a:rPr lang="ko-KR" altLang="en-US" sz="2000" b="0" dirty="0"/>
            <a:t>분석 및 활용 지식 교양 필수 융합화 </a:t>
          </a:r>
        </a:p>
        <a:p>
          <a:pPr lvl="0" defTabSz="1733550" latinLnBrk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ko-KR" altLang="en-US" dirty="0"/>
        </a:p>
      </dgm:t>
    </dgm:pt>
    <dgm:pt modelId="{DE8EDF04-4884-4978-B8C7-707901D645E9}" type="parTrans" cxnId="{7EC1BDFA-D6A4-48D5-A560-021FE1B53834}">
      <dgm:prSet/>
      <dgm:spPr/>
      <dgm:t>
        <a:bodyPr/>
        <a:lstStyle/>
        <a:p>
          <a:pPr latinLnBrk="1"/>
          <a:endParaRPr lang="ko-KR" altLang="en-US"/>
        </a:p>
      </dgm:t>
    </dgm:pt>
    <dgm:pt modelId="{2C3B4B32-9615-4265-BF19-89E977497493}" type="sibTrans" cxnId="{7EC1BDFA-D6A4-48D5-A560-021FE1B53834}">
      <dgm:prSet/>
      <dgm:spPr/>
      <dgm:t>
        <a:bodyPr/>
        <a:lstStyle/>
        <a:p>
          <a:pPr latinLnBrk="1"/>
          <a:endParaRPr lang="ko-KR" altLang="en-US"/>
        </a:p>
      </dgm:t>
    </dgm:pt>
    <dgm:pt modelId="{C15438DC-78F3-4303-A222-340F7024DC63}">
      <dgm:prSet phldrT="[텍스트]" custT="1">
        <dgm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dgm:style>
      </dgm:prSet>
      <dgm:spPr>
        <a:solidFill>
          <a:srgbClr val="FFC000"/>
        </a:solidFill>
      </dgm:spPr>
      <dgm:t>
        <a:bodyPr/>
        <a:lstStyle/>
        <a:p>
          <a:pPr marL="0" marR="0" lvl="0" indent="0" defTabSz="914400" eaLnBrk="1" fontAlgn="auto" latinLnBrk="1" hangingPunct="1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ko-KR" altLang="en-US" sz="1800" dirty="0"/>
            <a:t>인문학적  사고를 바탕으로 한 </a:t>
          </a:r>
          <a:endParaRPr lang="en-US" altLang="ko-KR" sz="1800" dirty="0"/>
        </a:p>
        <a:p>
          <a:pPr marL="0" marR="0" lvl="0" indent="0" defTabSz="914400" eaLnBrk="1" fontAlgn="auto" latinLnBrk="1" hangingPunct="1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en-US" altLang="ko-KR" sz="1800" dirty="0"/>
            <a:t>AI &amp; </a:t>
          </a:r>
          <a:r>
            <a:rPr lang="ko-KR" altLang="en-US" sz="1800" dirty="0" err="1"/>
            <a:t>빅데이터</a:t>
          </a:r>
          <a:r>
            <a:rPr lang="ko-KR" altLang="en-US" sz="1800" dirty="0"/>
            <a:t> </a:t>
          </a:r>
          <a:endParaRPr lang="en-US" altLang="ko-KR" sz="1800" dirty="0"/>
        </a:p>
        <a:p>
          <a:pPr marL="0" marR="0" lvl="0" indent="0" defTabSz="914400" eaLnBrk="1" fontAlgn="auto" latinLnBrk="1" hangingPunct="1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ko-KR" altLang="en-US" sz="1800" dirty="0"/>
            <a:t>전문가 육성  </a:t>
          </a:r>
        </a:p>
        <a:p>
          <a:pPr lvl="0" defTabSz="1733550" latinLnBrk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ko-KR" altLang="en-US" dirty="0"/>
        </a:p>
      </dgm:t>
    </dgm:pt>
    <dgm:pt modelId="{64648798-D8D2-47E5-8EC4-12BB3BDE2233}" type="parTrans" cxnId="{C68098BE-866E-4B86-90CF-34AA0835F99F}">
      <dgm:prSet/>
      <dgm:spPr/>
      <dgm:t>
        <a:bodyPr/>
        <a:lstStyle/>
        <a:p>
          <a:pPr latinLnBrk="1"/>
          <a:endParaRPr lang="ko-KR" altLang="en-US"/>
        </a:p>
      </dgm:t>
    </dgm:pt>
    <dgm:pt modelId="{8079C2C2-C11E-4C82-873B-1D3BF2D149C0}" type="sibTrans" cxnId="{C68098BE-866E-4B86-90CF-34AA0835F99F}">
      <dgm:prSet/>
      <dgm:spPr/>
      <dgm:t>
        <a:bodyPr/>
        <a:lstStyle/>
        <a:p>
          <a:pPr latinLnBrk="1"/>
          <a:endParaRPr lang="ko-KR" altLang="en-US"/>
        </a:p>
      </dgm:t>
    </dgm:pt>
    <dgm:pt modelId="{633E9182-3E10-47B4-9BCF-8921258A89EA}">
      <dgm:prSet phldrT="[텍스트]" custT="1"/>
      <dgm:spPr/>
      <dgm:t>
        <a:bodyPr/>
        <a:lstStyle/>
        <a:p>
          <a:pPr marL="0" marR="0" lvl="0" indent="0" algn="just" defTabSz="914400" eaLnBrk="1" fontAlgn="auto" latinLnBrk="1" hangingPunct="1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ko-KR" altLang="en-US" sz="1800" dirty="0"/>
            <a:t>교육내용 내 행간의 뜻 </a:t>
          </a:r>
          <a:r>
            <a:rPr lang="ko-KR" altLang="en-US" sz="1800" b="1" dirty="0"/>
            <a:t>통찰하고 논리적이고 창의적 언어표현력</a:t>
          </a:r>
          <a:r>
            <a:rPr lang="en-US" altLang="ko-KR" sz="1800" dirty="0"/>
            <a:t>(</a:t>
          </a:r>
          <a:r>
            <a:rPr lang="ko-KR" altLang="en-US" sz="1800" dirty="0"/>
            <a:t>자연 명령어</a:t>
          </a:r>
          <a:r>
            <a:rPr lang="en-US" altLang="ko-KR" sz="1800" dirty="0"/>
            <a:t>)</a:t>
          </a:r>
          <a:r>
            <a:rPr lang="ko-KR" altLang="en-US" sz="1800" dirty="0"/>
            <a:t>내재화 </a:t>
          </a:r>
        </a:p>
      </dgm:t>
    </dgm:pt>
    <dgm:pt modelId="{0309B863-03E8-4773-BE54-46ACE6E1F95E}" type="parTrans" cxnId="{1B393EC1-0DEC-4C53-84AC-ABACCD2CA86F}">
      <dgm:prSet/>
      <dgm:spPr/>
      <dgm:t>
        <a:bodyPr/>
        <a:lstStyle/>
        <a:p>
          <a:pPr latinLnBrk="1"/>
          <a:endParaRPr lang="ko-KR" altLang="en-US"/>
        </a:p>
      </dgm:t>
    </dgm:pt>
    <dgm:pt modelId="{B0097DD4-CB6A-488F-8C78-7B71A195BD53}" type="sibTrans" cxnId="{1B393EC1-0DEC-4C53-84AC-ABACCD2CA86F}">
      <dgm:prSet/>
      <dgm:spPr/>
      <dgm:t>
        <a:bodyPr/>
        <a:lstStyle/>
        <a:p>
          <a:pPr latinLnBrk="1"/>
          <a:endParaRPr lang="ko-KR" altLang="en-US"/>
        </a:p>
      </dgm:t>
    </dgm:pt>
    <dgm:pt modelId="{0CF85D89-7322-4BF3-81F0-087446311205}">
      <dgm:prSet phldrT="[텍스트]" custT="1"/>
      <dgm:spPr/>
      <dgm:t>
        <a:bodyPr/>
        <a:lstStyle/>
        <a:p>
          <a:pPr latinLnBrk="1"/>
          <a:r>
            <a:rPr lang="ko-KR" altLang="en-US" sz="2000" dirty="0"/>
            <a:t>윤리적이고  </a:t>
          </a:r>
          <a:endParaRPr lang="en-US" altLang="ko-KR" sz="2000" dirty="0"/>
        </a:p>
        <a:p>
          <a:pPr latinLnBrk="1"/>
          <a:r>
            <a:rPr lang="ko-KR" altLang="en-US" sz="2000" dirty="0"/>
            <a:t>합리적인 </a:t>
          </a:r>
          <a:endParaRPr lang="en-US" altLang="ko-KR" sz="2000" dirty="0"/>
        </a:p>
        <a:p>
          <a:pPr latinLnBrk="1"/>
          <a:r>
            <a:rPr lang="ko-KR" altLang="en-US" sz="2000" dirty="0" err="1"/>
            <a:t>협력형</a:t>
          </a:r>
          <a:r>
            <a:rPr lang="ko-KR" altLang="en-US" sz="2000" dirty="0"/>
            <a:t>  인간 </a:t>
          </a:r>
        </a:p>
      </dgm:t>
    </dgm:pt>
    <dgm:pt modelId="{523D1880-0F4D-4458-9A23-F156279A5423}" type="parTrans" cxnId="{7754E5DF-3539-4266-8BF5-AFD654CC6BF3}">
      <dgm:prSet/>
      <dgm:spPr/>
      <dgm:t>
        <a:bodyPr/>
        <a:lstStyle/>
        <a:p>
          <a:pPr latinLnBrk="1"/>
          <a:endParaRPr lang="ko-KR" altLang="en-US"/>
        </a:p>
      </dgm:t>
    </dgm:pt>
    <dgm:pt modelId="{51C0409C-9AC4-4A4C-A438-E65FAB7BB42E}" type="sibTrans" cxnId="{7754E5DF-3539-4266-8BF5-AFD654CC6BF3}">
      <dgm:prSet/>
      <dgm:spPr/>
      <dgm:t>
        <a:bodyPr/>
        <a:lstStyle/>
        <a:p>
          <a:pPr latinLnBrk="1"/>
          <a:endParaRPr lang="ko-KR" altLang="en-US"/>
        </a:p>
      </dgm:t>
    </dgm:pt>
    <dgm:pt modelId="{324BC3F2-D0D6-441B-9999-ED7DDEA9E452}" type="pres">
      <dgm:prSet presAssocID="{26629E7F-BB97-4D6F-BECF-2C1796EE633E}" presName="matrix" presStyleCnt="0">
        <dgm:presLayoutVars>
          <dgm:chMax val="1"/>
          <dgm:dir/>
          <dgm:resizeHandles val="exact"/>
        </dgm:presLayoutVars>
      </dgm:prSet>
      <dgm:spPr/>
      <dgm:t>
        <a:bodyPr/>
        <a:lstStyle/>
        <a:p>
          <a:pPr latinLnBrk="1"/>
          <a:endParaRPr lang="ko-KR" altLang="en-US"/>
        </a:p>
      </dgm:t>
    </dgm:pt>
    <dgm:pt modelId="{C83A0445-1A3C-43C7-B6EA-10FAE8D33876}" type="pres">
      <dgm:prSet presAssocID="{26629E7F-BB97-4D6F-BECF-2C1796EE633E}" presName="diamond" presStyleLbl="bgShp" presStyleIdx="0" presStyleCnt="1"/>
      <dgm:spPr/>
      <dgm:t>
        <a:bodyPr/>
        <a:lstStyle/>
        <a:p>
          <a:pPr latinLnBrk="1"/>
          <a:endParaRPr lang="ko-KR" altLang="en-US"/>
        </a:p>
      </dgm:t>
    </dgm:pt>
    <dgm:pt modelId="{FA52CD6E-39BE-4C70-873C-431A21913283}" type="pres">
      <dgm:prSet presAssocID="{26629E7F-BB97-4D6F-BECF-2C1796EE633E}" presName="quad1" presStyleLbl="node1" presStyleIdx="0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pPr latinLnBrk="1"/>
          <a:endParaRPr lang="ko-KR" altLang="en-US"/>
        </a:p>
      </dgm:t>
    </dgm:pt>
    <dgm:pt modelId="{AB7F71BD-83E1-4551-8DE5-DEDDAD70CCA7}" type="pres">
      <dgm:prSet presAssocID="{26629E7F-BB97-4D6F-BECF-2C1796EE633E}" presName="quad2" presStyleLbl="node1" presStyleIdx="1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pPr latinLnBrk="1"/>
          <a:endParaRPr lang="ko-KR" altLang="en-US"/>
        </a:p>
      </dgm:t>
    </dgm:pt>
    <dgm:pt modelId="{41183CEC-A46F-41DF-9DFF-EE2729C59918}" type="pres">
      <dgm:prSet presAssocID="{26629E7F-BB97-4D6F-BECF-2C1796EE633E}" presName="quad3" presStyleLbl="node1" presStyleIdx="2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pPr latinLnBrk="1"/>
          <a:endParaRPr lang="ko-KR" altLang="en-US"/>
        </a:p>
      </dgm:t>
    </dgm:pt>
    <dgm:pt modelId="{938362C5-6FCC-47E1-9DA5-773984C3B96D}" type="pres">
      <dgm:prSet presAssocID="{26629E7F-BB97-4D6F-BECF-2C1796EE633E}" presName="quad4" presStyleLbl="node1" presStyleIdx="3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pPr latinLnBrk="1"/>
          <a:endParaRPr lang="ko-KR" altLang="en-US"/>
        </a:p>
      </dgm:t>
    </dgm:pt>
  </dgm:ptLst>
  <dgm:cxnLst>
    <dgm:cxn modelId="{26ACE272-53B6-4221-9478-9DFC8E5EC4D4}" type="presOf" srcId="{0CF85D89-7322-4BF3-81F0-087446311205}" destId="{938362C5-6FCC-47E1-9DA5-773984C3B96D}" srcOrd="0" destOrd="0" presId="urn:microsoft.com/office/officeart/2005/8/layout/matrix3"/>
    <dgm:cxn modelId="{7754E5DF-3539-4266-8BF5-AFD654CC6BF3}" srcId="{26629E7F-BB97-4D6F-BECF-2C1796EE633E}" destId="{0CF85D89-7322-4BF3-81F0-087446311205}" srcOrd="3" destOrd="0" parTransId="{523D1880-0F4D-4458-9A23-F156279A5423}" sibTransId="{51C0409C-9AC4-4A4C-A438-E65FAB7BB42E}"/>
    <dgm:cxn modelId="{BFF0A40A-0CEA-4AB4-9C0B-AE0826E9B289}" type="presOf" srcId="{633E9182-3E10-47B4-9BCF-8921258A89EA}" destId="{41183CEC-A46F-41DF-9DFF-EE2729C59918}" srcOrd="0" destOrd="0" presId="urn:microsoft.com/office/officeart/2005/8/layout/matrix3"/>
    <dgm:cxn modelId="{C68098BE-866E-4B86-90CF-34AA0835F99F}" srcId="{26629E7F-BB97-4D6F-BECF-2C1796EE633E}" destId="{C15438DC-78F3-4303-A222-340F7024DC63}" srcOrd="1" destOrd="0" parTransId="{64648798-D8D2-47E5-8EC4-12BB3BDE2233}" sibTransId="{8079C2C2-C11E-4C82-873B-1D3BF2D149C0}"/>
    <dgm:cxn modelId="{61ACFE3A-19D2-4FC8-97BA-DC01D6D3BBC8}" type="presOf" srcId="{5C55356A-4617-4B14-B6A3-F08FF01E9D69}" destId="{FA52CD6E-39BE-4C70-873C-431A21913283}" srcOrd="0" destOrd="0" presId="urn:microsoft.com/office/officeart/2005/8/layout/matrix3"/>
    <dgm:cxn modelId="{7EC1BDFA-D6A4-48D5-A560-021FE1B53834}" srcId="{26629E7F-BB97-4D6F-BECF-2C1796EE633E}" destId="{5C55356A-4617-4B14-B6A3-F08FF01E9D69}" srcOrd="0" destOrd="0" parTransId="{DE8EDF04-4884-4978-B8C7-707901D645E9}" sibTransId="{2C3B4B32-9615-4265-BF19-89E977497493}"/>
    <dgm:cxn modelId="{D2730DF2-0CF1-49B6-B2EB-842F9725E419}" type="presOf" srcId="{26629E7F-BB97-4D6F-BECF-2C1796EE633E}" destId="{324BC3F2-D0D6-441B-9999-ED7DDEA9E452}" srcOrd="0" destOrd="0" presId="urn:microsoft.com/office/officeart/2005/8/layout/matrix3"/>
    <dgm:cxn modelId="{0BDE998D-64A1-42AC-8803-8B8A05C14A48}" type="presOf" srcId="{C15438DC-78F3-4303-A222-340F7024DC63}" destId="{AB7F71BD-83E1-4551-8DE5-DEDDAD70CCA7}" srcOrd="0" destOrd="0" presId="urn:microsoft.com/office/officeart/2005/8/layout/matrix3"/>
    <dgm:cxn modelId="{1B393EC1-0DEC-4C53-84AC-ABACCD2CA86F}" srcId="{26629E7F-BB97-4D6F-BECF-2C1796EE633E}" destId="{633E9182-3E10-47B4-9BCF-8921258A89EA}" srcOrd="2" destOrd="0" parTransId="{0309B863-03E8-4773-BE54-46ACE6E1F95E}" sibTransId="{B0097DD4-CB6A-488F-8C78-7B71A195BD53}"/>
    <dgm:cxn modelId="{44063296-D5D3-4829-BCFB-CCB5EEB6756C}" type="presParOf" srcId="{324BC3F2-D0D6-441B-9999-ED7DDEA9E452}" destId="{C83A0445-1A3C-43C7-B6EA-10FAE8D33876}" srcOrd="0" destOrd="0" presId="urn:microsoft.com/office/officeart/2005/8/layout/matrix3"/>
    <dgm:cxn modelId="{1D4894E8-6401-403B-94DC-4EBC9532AD93}" type="presParOf" srcId="{324BC3F2-D0D6-441B-9999-ED7DDEA9E452}" destId="{FA52CD6E-39BE-4C70-873C-431A21913283}" srcOrd="1" destOrd="0" presId="urn:microsoft.com/office/officeart/2005/8/layout/matrix3"/>
    <dgm:cxn modelId="{4F9AC635-ABBF-4B65-92E5-59F5E69145F8}" type="presParOf" srcId="{324BC3F2-D0D6-441B-9999-ED7DDEA9E452}" destId="{AB7F71BD-83E1-4551-8DE5-DEDDAD70CCA7}" srcOrd="2" destOrd="0" presId="urn:microsoft.com/office/officeart/2005/8/layout/matrix3"/>
    <dgm:cxn modelId="{527DD87B-EB40-493E-B77F-72B77766FBE5}" type="presParOf" srcId="{324BC3F2-D0D6-441B-9999-ED7DDEA9E452}" destId="{41183CEC-A46F-41DF-9DFF-EE2729C59918}" srcOrd="3" destOrd="0" presId="urn:microsoft.com/office/officeart/2005/8/layout/matrix3"/>
    <dgm:cxn modelId="{953DFD71-686B-428A-83F4-66119D3CE6E0}" type="presParOf" srcId="{324BC3F2-D0D6-441B-9999-ED7DDEA9E452}" destId="{938362C5-6FCC-47E1-9DA5-773984C3B96D}" srcOrd="4" destOrd="0" presId="urn:microsoft.com/office/officeart/2005/8/layout/matrix3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2.xml><?xml version="1.0" encoding="utf-8"?>
<dgm:dataModel xmlns:dgm="http://schemas.openxmlformats.org/drawingml/2006/diagram" xmlns:a="http://schemas.openxmlformats.org/drawingml/2006/main">
  <dgm:ptLst>
    <dgm:pt modelId="{80D4F571-F332-4B62-AF7C-B30601A7EEE7}" type="doc">
      <dgm:prSet loTypeId="urn:microsoft.com/office/officeart/2005/8/layout/default" loCatId="list" qsTypeId="urn:microsoft.com/office/officeart/2005/8/quickstyle/simple1" qsCatId="simple" csTypeId="urn:microsoft.com/office/officeart/2005/8/colors/accent1_4" csCatId="accent1" phldr="1"/>
      <dgm:spPr/>
      <dgm:t>
        <a:bodyPr/>
        <a:lstStyle/>
        <a:p>
          <a:pPr latinLnBrk="1"/>
          <a:endParaRPr lang="ko-KR" altLang="en-US"/>
        </a:p>
      </dgm:t>
    </dgm:pt>
    <dgm:pt modelId="{67836DD2-F453-423B-AB06-1C43ACCBA0B6}">
      <dgm:prSet phldrT="[텍스트]"/>
      <dgm:spPr/>
      <dgm:t>
        <a:bodyPr/>
        <a:lstStyle/>
        <a:p>
          <a:pPr latinLnBrk="1"/>
          <a:r>
            <a:rPr lang="ko-KR" altLang="en-US" dirty="0"/>
            <a:t> </a:t>
          </a:r>
          <a:r>
            <a:rPr lang="en-US" altLang="ko-KR" dirty="0" smtClean="0"/>
            <a:t>AI</a:t>
          </a:r>
          <a:r>
            <a:rPr lang="ko-KR" altLang="en-US" dirty="0" smtClean="0"/>
            <a:t>비지니스 모델 </a:t>
          </a:r>
          <a:r>
            <a:rPr lang="ko-KR" altLang="en-US" dirty="0"/>
            <a:t>공급자는 검증된 데이터 세트 필수 사용 </a:t>
          </a:r>
        </a:p>
      </dgm:t>
    </dgm:pt>
    <dgm:pt modelId="{30C2E10A-FB18-4CFA-87E3-C3BAB7D2580E}" type="parTrans" cxnId="{D9A15A9A-4C0F-483A-9DA8-4E0525994981}">
      <dgm:prSet/>
      <dgm:spPr/>
      <dgm:t>
        <a:bodyPr/>
        <a:lstStyle/>
        <a:p>
          <a:pPr latinLnBrk="1"/>
          <a:endParaRPr lang="ko-KR" altLang="en-US"/>
        </a:p>
      </dgm:t>
    </dgm:pt>
    <dgm:pt modelId="{D52D824E-E910-483D-9C5A-1156398A56BF}" type="sibTrans" cxnId="{D9A15A9A-4C0F-483A-9DA8-4E0525994981}">
      <dgm:prSet/>
      <dgm:spPr/>
      <dgm:t>
        <a:bodyPr/>
        <a:lstStyle/>
        <a:p>
          <a:pPr latinLnBrk="1"/>
          <a:endParaRPr lang="ko-KR" altLang="en-US"/>
        </a:p>
      </dgm:t>
    </dgm:pt>
    <dgm:pt modelId="{7D716E71-45B7-46FF-94C4-8DEC20603D84}">
      <dgm:prSet phldrT="[텍스트]"/>
      <dgm:spPr>
        <a:solidFill>
          <a:srgbClr val="00B050"/>
        </a:solidFill>
      </dgm:spPr>
      <dgm:t>
        <a:bodyPr/>
        <a:lstStyle/>
        <a:p>
          <a:pPr latinLnBrk="1"/>
          <a:r>
            <a:rPr lang="en-US" altLang="ko-KR" dirty="0"/>
            <a:t>  AI </a:t>
          </a:r>
          <a:r>
            <a:rPr lang="ko-KR" altLang="en-US" dirty="0"/>
            <a:t>훈련 시 활용</a:t>
          </a:r>
          <a:r>
            <a:rPr lang="en-US" altLang="ko-KR" dirty="0"/>
            <a:t> </a:t>
          </a:r>
          <a:r>
            <a:rPr lang="ko-KR" altLang="en-US" dirty="0"/>
            <a:t>저작물 공개</a:t>
          </a:r>
        </a:p>
      </dgm:t>
    </dgm:pt>
    <dgm:pt modelId="{31C53758-47A5-473C-B18D-989FF830C531}" type="parTrans" cxnId="{908659BC-5FF2-4B94-944B-0CF9DFB326CB}">
      <dgm:prSet/>
      <dgm:spPr/>
      <dgm:t>
        <a:bodyPr/>
        <a:lstStyle/>
        <a:p>
          <a:pPr latinLnBrk="1"/>
          <a:endParaRPr lang="ko-KR" altLang="en-US"/>
        </a:p>
      </dgm:t>
    </dgm:pt>
    <dgm:pt modelId="{E5C4371A-3180-4C9C-881B-E8FCE7189925}" type="sibTrans" cxnId="{908659BC-5FF2-4B94-944B-0CF9DFB326CB}">
      <dgm:prSet/>
      <dgm:spPr/>
      <dgm:t>
        <a:bodyPr/>
        <a:lstStyle/>
        <a:p>
          <a:pPr latinLnBrk="1"/>
          <a:endParaRPr lang="ko-KR" altLang="en-US"/>
        </a:p>
      </dgm:t>
    </dgm:pt>
    <dgm:pt modelId="{8AD2D98D-86F6-4F76-93CA-6C45560B3C3B}">
      <dgm:prSet phldrT="[텍스트]"/>
      <dgm:spPr>
        <a:solidFill>
          <a:srgbClr val="002060"/>
        </a:solidFill>
      </dgm:spPr>
      <dgm:t>
        <a:bodyPr/>
        <a:lstStyle/>
        <a:p>
          <a:pPr latinLnBrk="1"/>
          <a:r>
            <a:rPr lang="en-US" altLang="ko-KR" dirty="0"/>
            <a:t>AI </a:t>
          </a:r>
          <a:r>
            <a:rPr lang="ko-KR" altLang="en-US" dirty="0"/>
            <a:t>기업과 </a:t>
          </a:r>
          <a:r>
            <a:rPr lang="en-US" altLang="ko-KR" dirty="0"/>
            <a:t>EU </a:t>
          </a:r>
          <a:r>
            <a:rPr lang="ko-KR" altLang="en-US" dirty="0"/>
            <a:t>스타트업</a:t>
          </a:r>
          <a:r>
            <a:rPr lang="en-US" altLang="ko-KR" dirty="0"/>
            <a:t> </a:t>
          </a:r>
          <a:r>
            <a:rPr lang="ko-KR" altLang="en-US" dirty="0"/>
            <a:t>기업 공정</a:t>
          </a:r>
          <a:r>
            <a:rPr lang="en-US" altLang="ko-KR" dirty="0"/>
            <a:t> </a:t>
          </a:r>
          <a:r>
            <a:rPr lang="ko-KR" altLang="en-US" dirty="0"/>
            <a:t>거래 </a:t>
          </a:r>
        </a:p>
      </dgm:t>
    </dgm:pt>
    <dgm:pt modelId="{82A13E29-F2A6-4056-B54D-172A8052D16C}" type="parTrans" cxnId="{2EBBBCA9-7E62-4C76-A8C2-0D3A064C3B3C}">
      <dgm:prSet/>
      <dgm:spPr/>
      <dgm:t>
        <a:bodyPr/>
        <a:lstStyle/>
        <a:p>
          <a:pPr latinLnBrk="1"/>
          <a:endParaRPr lang="ko-KR" altLang="en-US"/>
        </a:p>
      </dgm:t>
    </dgm:pt>
    <dgm:pt modelId="{7EA0D708-BB3B-49D5-8FC5-CAE66101EA81}" type="sibTrans" cxnId="{2EBBBCA9-7E62-4C76-A8C2-0D3A064C3B3C}">
      <dgm:prSet/>
      <dgm:spPr/>
      <dgm:t>
        <a:bodyPr/>
        <a:lstStyle/>
        <a:p>
          <a:pPr latinLnBrk="1"/>
          <a:endParaRPr lang="ko-KR" altLang="en-US"/>
        </a:p>
      </dgm:t>
    </dgm:pt>
    <dgm:pt modelId="{8334E678-BB65-4371-9E6D-74D75C747F95}">
      <dgm:prSet phldrT="[텍스트]"/>
      <dgm:spPr/>
      <dgm:t>
        <a:bodyPr/>
        <a:lstStyle/>
        <a:p>
          <a:pPr latinLnBrk="1"/>
          <a:r>
            <a:rPr lang="ko-KR" altLang="en-US" dirty="0"/>
            <a:t> 거짓 정보 </a:t>
          </a:r>
          <a:endParaRPr lang="en-US" altLang="ko-KR" dirty="0"/>
        </a:p>
        <a:p>
          <a:pPr latinLnBrk="1"/>
          <a:r>
            <a:rPr lang="ko-KR" altLang="en-US" dirty="0"/>
            <a:t>차별적 언어 사용</a:t>
          </a:r>
          <a:endParaRPr lang="en-US" altLang="ko-KR" dirty="0"/>
        </a:p>
        <a:p>
          <a:pPr latinLnBrk="1"/>
          <a:r>
            <a:rPr lang="ko-KR" altLang="en-US" dirty="0"/>
            <a:t>생체적 감시</a:t>
          </a:r>
        </a:p>
      </dgm:t>
    </dgm:pt>
    <dgm:pt modelId="{F379C247-D121-4386-9278-F4BC4299CD8D}" type="parTrans" cxnId="{83FA743C-CC4C-4C00-B061-26BC295F06A8}">
      <dgm:prSet/>
      <dgm:spPr/>
      <dgm:t>
        <a:bodyPr/>
        <a:lstStyle/>
        <a:p>
          <a:pPr latinLnBrk="1"/>
          <a:endParaRPr lang="ko-KR" altLang="en-US"/>
        </a:p>
      </dgm:t>
    </dgm:pt>
    <dgm:pt modelId="{8EB1BD9D-BE85-467C-B8D0-2051DE6046F0}" type="sibTrans" cxnId="{83FA743C-CC4C-4C00-B061-26BC295F06A8}">
      <dgm:prSet/>
      <dgm:spPr/>
      <dgm:t>
        <a:bodyPr/>
        <a:lstStyle/>
        <a:p>
          <a:pPr latinLnBrk="1"/>
          <a:endParaRPr lang="ko-KR" altLang="en-US"/>
        </a:p>
      </dgm:t>
    </dgm:pt>
    <dgm:pt modelId="{B7305445-9FAF-42C1-9F5B-01EE5A6D69C1}" type="pres">
      <dgm:prSet presAssocID="{80D4F571-F332-4B62-AF7C-B30601A7EEE7}" presName="diagram" presStyleCnt="0">
        <dgm:presLayoutVars>
          <dgm:dir/>
          <dgm:resizeHandles val="exact"/>
        </dgm:presLayoutVars>
      </dgm:prSet>
      <dgm:spPr/>
      <dgm:t>
        <a:bodyPr/>
        <a:lstStyle/>
        <a:p>
          <a:pPr latinLnBrk="1"/>
          <a:endParaRPr lang="ko-KR" altLang="en-US"/>
        </a:p>
      </dgm:t>
    </dgm:pt>
    <dgm:pt modelId="{970BEA20-71A7-4D32-8586-228FC736ADC1}" type="pres">
      <dgm:prSet presAssocID="{67836DD2-F453-423B-AB06-1C43ACCBA0B6}" presName="node" presStyleLbl="node1" presStyleIdx="0" presStyleCnt="4" custLinFactX="11265" custLinFactNeighborX="100000" custLinFactNeighborY="55195">
        <dgm:presLayoutVars>
          <dgm:bulletEnabled val="1"/>
        </dgm:presLayoutVars>
      </dgm:prSet>
      <dgm:spPr/>
      <dgm:t>
        <a:bodyPr/>
        <a:lstStyle/>
        <a:p>
          <a:pPr latinLnBrk="1"/>
          <a:endParaRPr lang="ko-KR" altLang="en-US"/>
        </a:p>
      </dgm:t>
    </dgm:pt>
    <dgm:pt modelId="{38EE1E17-F180-4B91-8438-7FEC0C4296A4}" type="pres">
      <dgm:prSet presAssocID="{D52D824E-E910-483D-9C5A-1156398A56BF}" presName="sibTrans" presStyleCnt="0"/>
      <dgm:spPr/>
    </dgm:pt>
    <dgm:pt modelId="{BE4DBAB1-5517-4CDB-9353-B6CA78CAF03B}" type="pres">
      <dgm:prSet presAssocID="{7D716E71-45B7-46FF-94C4-8DEC20603D84}" presName="node" presStyleLbl="node1" presStyleIdx="1" presStyleCnt="4" custLinFactNeighborX="-274" custLinFactNeighborY="-41855">
        <dgm:presLayoutVars>
          <dgm:bulletEnabled val="1"/>
        </dgm:presLayoutVars>
      </dgm:prSet>
      <dgm:spPr/>
      <dgm:t>
        <a:bodyPr/>
        <a:lstStyle/>
        <a:p>
          <a:pPr latinLnBrk="1"/>
          <a:endParaRPr lang="ko-KR" altLang="en-US"/>
        </a:p>
      </dgm:t>
    </dgm:pt>
    <dgm:pt modelId="{931BF284-7606-4CCB-8E3C-2DB5C52ED90D}" type="pres">
      <dgm:prSet presAssocID="{E5C4371A-3180-4C9C-881B-E8FCE7189925}" presName="sibTrans" presStyleCnt="0"/>
      <dgm:spPr/>
    </dgm:pt>
    <dgm:pt modelId="{6B0F789A-64B9-4997-8025-F9B94694E523}" type="pres">
      <dgm:prSet presAssocID="{8AD2D98D-86F6-4F76-93CA-6C45560B3C3B}" presName="node" presStyleLbl="node1" presStyleIdx="2" presStyleCnt="4" custLinFactX="17906" custLinFactNeighborX="100000" custLinFactNeighborY="26623">
        <dgm:presLayoutVars>
          <dgm:bulletEnabled val="1"/>
        </dgm:presLayoutVars>
      </dgm:prSet>
      <dgm:spPr/>
      <dgm:t>
        <a:bodyPr/>
        <a:lstStyle/>
        <a:p>
          <a:pPr latinLnBrk="1"/>
          <a:endParaRPr lang="ko-KR" altLang="en-US"/>
        </a:p>
      </dgm:t>
    </dgm:pt>
    <dgm:pt modelId="{1DB08F4A-48B4-4C7D-ABD9-504B492B7A53}" type="pres">
      <dgm:prSet presAssocID="{7EA0D708-BB3B-49D5-8FC5-CAE66101EA81}" presName="sibTrans" presStyleCnt="0"/>
      <dgm:spPr/>
    </dgm:pt>
    <dgm:pt modelId="{A9516B44-79E8-4E29-860D-3E43A923C220}" type="pres">
      <dgm:prSet presAssocID="{8334E678-BB65-4371-9E6D-74D75C747F95}" presName="node" presStyleLbl="node1" presStyleIdx="3" presStyleCnt="4" custLinFactX="-11019" custLinFactY="-77984" custLinFactNeighborX="-100000" custLinFactNeighborY="-100000">
        <dgm:presLayoutVars>
          <dgm:bulletEnabled val="1"/>
        </dgm:presLayoutVars>
      </dgm:prSet>
      <dgm:spPr/>
      <dgm:t>
        <a:bodyPr/>
        <a:lstStyle/>
        <a:p>
          <a:pPr latinLnBrk="1"/>
          <a:endParaRPr lang="ko-KR" altLang="en-US"/>
        </a:p>
      </dgm:t>
    </dgm:pt>
  </dgm:ptLst>
  <dgm:cxnLst>
    <dgm:cxn modelId="{D9A15A9A-4C0F-483A-9DA8-4E0525994981}" srcId="{80D4F571-F332-4B62-AF7C-B30601A7EEE7}" destId="{67836DD2-F453-423B-AB06-1C43ACCBA0B6}" srcOrd="0" destOrd="0" parTransId="{30C2E10A-FB18-4CFA-87E3-C3BAB7D2580E}" sibTransId="{D52D824E-E910-483D-9C5A-1156398A56BF}"/>
    <dgm:cxn modelId="{9CD3B0CF-94E6-4437-81E1-D9EF7D731B7B}" type="presOf" srcId="{8AD2D98D-86F6-4F76-93CA-6C45560B3C3B}" destId="{6B0F789A-64B9-4997-8025-F9B94694E523}" srcOrd="0" destOrd="0" presId="urn:microsoft.com/office/officeart/2005/8/layout/default"/>
    <dgm:cxn modelId="{7416FA63-E674-476B-8598-C4E28F35EF5A}" type="presOf" srcId="{80D4F571-F332-4B62-AF7C-B30601A7EEE7}" destId="{B7305445-9FAF-42C1-9F5B-01EE5A6D69C1}" srcOrd="0" destOrd="0" presId="urn:microsoft.com/office/officeart/2005/8/layout/default"/>
    <dgm:cxn modelId="{EB1B32A3-6FE8-4AAF-AACE-C4524E6DD3B9}" type="presOf" srcId="{8334E678-BB65-4371-9E6D-74D75C747F95}" destId="{A9516B44-79E8-4E29-860D-3E43A923C220}" srcOrd="0" destOrd="0" presId="urn:microsoft.com/office/officeart/2005/8/layout/default"/>
    <dgm:cxn modelId="{2EBBBCA9-7E62-4C76-A8C2-0D3A064C3B3C}" srcId="{80D4F571-F332-4B62-AF7C-B30601A7EEE7}" destId="{8AD2D98D-86F6-4F76-93CA-6C45560B3C3B}" srcOrd="2" destOrd="0" parTransId="{82A13E29-F2A6-4056-B54D-172A8052D16C}" sibTransId="{7EA0D708-BB3B-49D5-8FC5-CAE66101EA81}"/>
    <dgm:cxn modelId="{9F8E96B5-593A-4D97-B223-42B79CA5C576}" type="presOf" srcId="{7D716E71-45B7-46FF-94C4-8DEC20603D84}" destId="{BE4DBAB1-5517-4CDB-9353-B6CA78CAF03B}" srcOrd="0" destOrd="0" presId="urn:microsoft.com/office/officeart/2005/8/layout/default"/>
    <dgm:cxn modelId="{CFD68AB5-65BE-452A-A97D-6C343246BCE2}" type="presOf" srcId="{67836DD2-F453-423B-AB06-1C43ACCBA0B6}" destId="{970BEA20-71A7-4D32-8586-228FC736ADC1}" srcOrd="0" destOrd="0" presId="urn:microsoft.com/office/officeart/2005/8/layout/default"/>
    <dgm:cxn modelId="{83FA743C-CC4C-4C00-B061-26BC295F06A8}" srcId="{80D4F571-F332-4B62-AF7C-B30601A7EEE7}" destId="{8334E678-BB65-4371-9E6D-74D75C747F95}" srcOrd="3" destOrd="0" parTransId="{F379C247-D121-4386-9278-F4BC4299CD8D}" sibTransId="{8EB1BD9D-BE85-467C-B8D0-2051DE6046F0}"/>
    <dgm:cxn modelId="{908659BC-5FF2-4B94-944B-0CF9DFB326CB}" srcId="{80D4F571-F332-4B62-AF7C-B30601A7EEE7}" destId="{7D716E71-45B7-46FF-94C4-8DEC20603D84}" srcOrd="1" destOrd="0" parTransId="{31C53758-47A5-473C-B18D-989FF830C531}" sibTransId="{E5C4371A-3180-4C9C-881B-E8FCE7189925}"/>
    <dgm:cxn modelId="{5F007CE8-5147-4BD8-9697-CB4D95DA00F7}" type="presParOf" srcId="{B7305445-9FAF-42C1-9F5B-01EE5A6D69C1}" destId="{970BEA20-71A7-4D32-8586-228FC736ADC1}" srcOrd="0" destOrd="0" presId="urn:microsoft.com/office/officeart/2005/8/layout/default"/>
    <dgm:cxn modelId="{37C01C8E-8CBA-4DCE-8544-1CD8C931A9B2}" type="presParOf" srcId="{B7305445-9FAF-42C1-9F5B-01EE5A6D69C1}" destId="{38EE1E17-F180-4B91-8438-7FEC0C4296A4}" srcOrd="1" destOrd="0" presId="urn:microsoft.com/office/officeart/2005/8/layout/default"/>
    <dgm:cxn modelId="{8D38D57B-9A81-463C-9B2E-43FADB5A1D3B}" type="presParOf" srcId="{B7305445-9FAF-42C1-9F5B-01EE5A6D69C1}" destId="{BE4DBAB1-5517-4CDB-9353-B6CA78CAF03B}" srcOrd="2" destOrd="0" presId="urn:microsoft.com/office/officeart/2005/8/layout/default"/>
    <dgm:cxn modelId="{2AE2DF9C-FA2C-4B8B-9C1A-C666B9B0850B}" type="presParOf" srcId="{B7305445-9FAF-42C1-9F5B-01EE5A6D69C1}" destId="{931BF284-7606-4CCB-8E3C-2DB5C52ED90D}" srcOrd="3" destOrd="0" presId="urn:microsoft.com/office/officeart/2005/8/layout/default"/>
    <dgm:cxn modelId="{E9BCA9B6-7637-45C7-AF9E-6F749395C144}" type="presParOf" srcId="{B7305445-9FAF-42C1-9F5B-01EE5A6D69C1}" destId="{6B0F789A-64B9-4997-8025-F9B94694E523}" srcOrd="4" destOrd="0" presId="urn:microsoft.com/office/officeart/2005/8/layout/default"/>
    <dgm:cxn modelId="{5D141DDF-13CA-4BE9-A1AA-39C0A4CCCA19}" type="presParOf" srcId="{B7305445-9FAF-42C1-9F5B-01EE5A6D69C1}" destId="{1DB08F4A-48B4-4C7D-ABD9-504B492B7A53}" srcOrd="5" destOrd="0" presId="urn:microsoft.com/office/officeart/2005/8/layout/default"/>
    <dgm:cxn modelId="{7B88BD60-EED2-4916-9CAE-9ABF39E71FE0}" type="presParOf" srcId="{B7305445-9FAF-42C1-9F5B-01EE5A6D69C1}" destId="{A9516B44-79E8-4E29-860D-3E43A923C220}" srcOrd="6" destOrd="0" presId="urn:microsoft.com/office/officeart/2005/8/layout/default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3.xml><?xml version="1.0" encoding="utf-8"?>
<dgm:dataModel xmlns:dgm="http://schemas.openxmlformats.org/drawingml/2006/diagram" xmlns:a="http://schemas.openxmlformats.org/drawingml/2006/main">
  <dgm:ptLst>
    <dgm:pt modelId="{80D4F571-F332-4B62-AF7C-B30601A7EEE7}" type="doc">
      <dgm:prSet loTypeId="urn:microsoft.com/office/officeart/2005/8/layout/default" loCatId="list" qsTypeId="urn:microsoft.com/office/officeart/2005/8/quickstyle/simple1" qsCatId="simple" csTypeId="urn:microsoft.com/office/officeart/2005/8/colors/accent1_4" csCatId="accent1" phldr="1"/>
      <dgm:spPr/>
      <dgm:t>
        <a:bodyPr/>
        <a:lstStyle/>
        <a:p>
          <a:pPr latinLnBrk="1"/>
          <a:endParaRPr lang="ko-KR" altLang="en-US"/>
        </a:p>
      </dgm:t>
    </dgm:pt>
    <dgm:pt modelId="{67836DD2-F453-423B-AB06-1C43ACCBA0B6}">
      <dgm:prSet phldrT="[텍스트]"/>
      <dgm:spPr/>
      <dgm:t>
        <a:bodyPr/>
        <a:lstStyle/>
        <a:p>
          <a:pPr latinLnBrk="1"/>
          <a:r>
            <a:rPr lang="ko-KR" altLang="en-US" dirty="0"/>
            <a:t>정보통신망 이용촉진 및 정보보호 등에 관한 법률</a:t>
          </a:r>
        </a:p>
      </dgm:t>
    </dgm:pt>
    <dgm:pt modelId="{30C2E10A-FB18-4CFA-87E3-C3BAB7D2580E}" type="parTrans" cxnId="{D9A15A9A-4C0F-483A-9DA8-4E0525994981}">
      <dgm:prSet/>
      <dgm:spPr/>
      <dgm:t>
        <a:bodyPr/>
        <a:lstStyle/>
        <a:p>
          <a:pPr latinLnBrk="1"/>
          <a:endParaRPr lang="ko-KR" altLang="en-US"/>
        </a:p>
      </dgm:t>
    </dgm:pt>
    <dgm:pt modelId="{D52D824E-E910-483D-9C5A-1156398A56BF}" type="sibTrans" cxnId="{D9A15A9A-4C0F-483A-9DA8-4E0525994981}">
      <dgm:prSet/>
      <dgm:spPr/>
      <dgm:t>
        <a:bodyPr/>
        <a:lstStyle/>
        <a:p>
          <a:pPr latinLnBrk="1"/>
          <a:endParaRPr lang="ko-KR" altLang="en-US"/>
        </a:p>
      </dgm:t>
    </dgm:pt>
    <dgm:pt modelId="{7D716E71-45B7-46FF-94C4-8DEC20603D84}">
      <dgm:prSet phldrT="[텍스트]"/>
      <dgm:spPr>
        <a:solidFill>
          <a:srgbClr val="0070C0"/>
        </a:solidFill>
      </dgm:spPr>
      <dgm:t>
        <a:bodyPr/>
        <a:lstStyle/>
        <a:p>
          <a:pPr latinLnBrk="1"/>
          <a:r>
            <a:rPr lang="en-US" altLang="ko-KR" dirty="0"/>
            <a:t> </a:t>
          </a:r>
          <a:r>
            <a:rPr lang="ko-KR" altLang="en-US" dirty="0" err="1"/>
            <a:t>신용정보법</a:t>
          </a:r>
          <a:r>
            <a:rPr lang="en-US" altLang="ko-KR" dirty="0"/>
            <a:t>, </a:t>
          </a:r>
          <a:endParaRPr lang="ko-KR" altLang="en-US" dirty="0"/>
        </a:p>
      </dgm:t>
    </dgm:pt>
    <dgm:pt modelId="{31C53758-47A5-473C-B18D-989FF830C531}" type="parTrans" cxnId="{908659BC-5FF2-4B94-944B-0CF9DFB326CB}">
      <dgm:prSet/>
      <dgm:spPr/>
      <dgm:t>
        <a:bodyPr/>
        <a:lstStyle/>
        <a:p>
          <a:pPr latinLnBrk="1"/>
          <a:endParaRPr lang="ko-KR" altLang="en-US"/>
        </a:p>
      </dgm:t>
    </dgm:pt>
    <dgm:pt modelId="{E5C4371A-3180-4C9C-881B-E8FCE7189925}" type="sibTrans" cxnId="{908659BC-5FF2-4B94-944B-0CF9DFB326CB}">
      <dgm:prSet/>
      <dgm:spPr/>
      <dgm:t>
        <a:bodyPr/>
        <a:lstStyle/>
        <a:p>
          <a:pPr latinLnBrk="1"/>
          <a:endParaRPr lang="ko-KR" altLang="en-US"/>
        </a:p>
      </dgm:t>
    </dgm:pt>
    <dgm:pt modelId="{8AD2D98D-86F6-4F76-93CA-6C45560B3C3B}">
      <dgm:prSet phldrT="[텍스트]"/>
      <dgm:spPr>
        <a:solidFill>
          <a:srgbClr val="002060"/>
        </a:solidFill>
      </dgm:spPr>
      <dgm:t>
        <a:bodyPr/>
        <a:lstStyle/>
        <a:p>
          <a:pPr latinLnBrk="1"/>
          <a:r>
            <a:rPr lang="ko-KR" altLang="en-US" dirty="0"/>
            <a:t>개인정보보호법</a:t>
          </a:r>
        </a:p>
      </dgm:t>
    </dgm:pt>
    <dgm:pt modelId="{82A13E29-F2A6-4056-B54D-172A8052D16C}" type="parTrans" cxnId="{2EBBBCA9-7E62-4C76-A8C2-0D3A064C3B3C}">
      <dgm:prSet/>
      <dgm:spPr/>
      <dgm:t>
        <a:bodyPr/>
        <a:lstStyle/>
        <a:p>
          <a:pPr latinLnBrk="1"/>
          <a:endParaRPr lang="ko-KR" altLang="en-US"/>
        </a:p>
      </dgm:t>
    </dgm:pt>
    <dgm:pt modelId="{7EA0D708-BB3B-49D5-8FC5-CAE66101EA81}" type="sibTrans" cxnId="{2EBBBCA9-7E62-4C76-A8C2-0D3A064C3B3C}">
      <dgm:prSet/>
      <dgm:spPr/>
      <dgm:t>
        <a:bodyPr/>
        <a:lstStyle/>
        <a:p>
          <a:pPr latinLnBrk="1"/>
          <a:endParaRPr lang="ko-KR" altLang="en-US"/>
        </a:p>
      </dgm:t>
    </dgm:pt>
    <dgm:pt modelId="{15C84610-EF8F-4F86-8E06-F72DD9DA5935}">
      <dgm:prSet phldrT="[텍스트]"/>
      <dgm:spPr/>
      <dgm:t>
        <a:bodyPr/>
        <a:lstStyle/>
        <a:p>
          <a:pPr marL="0" marR="0" lvl="0" indent="0" defTabSz="914400" eaLnBrk="1" fontAlgn="auto" latinLnBrk="1" hangingPunct="1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ko-KR" altLang="en-US" dirty="0"/>
            <a:t>저작권법</a:t>
          </a:r>
          <a:r>
            <a:rPr lang="en-US" altLang="ko-KR" dirty="0"/>
            <a:t>/ </a:t>
          </a:r>
          <a:r>
            <a:rPr lang="ko-KR" altLang="en-US" dirty="0"/>
            <a:t>공동활용 에 관한 법 </a:t>
          </a:r>
          <a:endParaRPr lang="en-US" altLang="ko-KR" dirty="0"/>
        </a:p>
        <a:p>
          <a:pPr lvl="0" defTabSz="1066800" latinLnBrk="1">
            <a:spcBef>
              <a:spcPct val="0"/>
            </a:spcBef>
            <a:spcAft>
              <a:spcPct val="35000"/>
            </a:spcAft>
          </a:pPr>
          <a:endParaRPr lang="ko-KR" altLang="en-US" dirty="0"/>
        </a:p>
      </dgm:t>
    </dgm:pt>
    <dgm:pt modelId="{450207E7-10B3-4DCE-B528-16FC86D4D16C}" type="parTrans" cxnId="{6A891D45-7A1F-4333-949C-4D48E793DA42}">
      <dgm:prSet/>
      <dgm:spPr/>
      <dgm:t>
        <a:bodyPr/>
        <a:lstStyle/>
        <a:p>
          <a:pPr latinLnBrk="1"/>
          <a:endParaRPr lang="ko-KR" altLang="en-US"/>
        </a:p>
      </dgm:t>
    </dgm:pt>
    <dgm:pt modelId="{CFE1DBA9-0F02-4C33-81A1-F720C915349C}" type="sibTrans" cxnId="{6A891D45-7A1F-4333-949C-4D48E793DA42}">
      <dgm:prSet/>
      <dgm:spPr/>
      <dgm:t>
        <a:bodyPr/>
        <a:lstStyle/>
        <a:p>
          <a:pPr latinLnBrk="1"/>
          <a:endParaRPr lang="ko-KR" altLang="en-US"/>
        </a:p>
      </dgm:t>
    </dgm:pt>
    <dgm:pt modelId="{B7305445-9FAF-42C1-9F5B-01EE5A6D69C1}" type="pres">
      <dgm:prSet presAssocID="{80D4F571-F332-4B62-AF7C-B30601A7EEE7}" presName="diagram" presStyleCnt="0">
        <dgm:presLayoutVars>
          <dgm:dir/>
          <dgm:resizeHandles val="exact"/>
        </dgm:presLayoutVars>
      </dgm:prSet>
      <dgm:spPr/>
      <dgm:t>
        <a:bodyPr/>
        <a:lstStyle/>
        <a:p>
          <a:pPr latinLnBrk="1"/>
          <a:endParaRPr lang="ko-KR" altLang="en-US"/>
        </a:p>
      </dgm:t>
    </dgm:pt>
    <dgm:pt modelId="{970BEA20-71A7-4D32-8586-228FC736ADC1}" type="pres">
      <dgm:prSet presAssocID="{67836DD2-F453-423B-AB06-1C43ACCBA0B6}" presName="node" presStyleLbl="node1" presStyleIdx="0" presStyleCnt="4" custLinFactNeighborX="137" custLinFactNeighborY="-85325">
        <dgm:presLayoutVars>
          <dgm:bulletEnabled val="1"/>
        </dgm:presLayoutVars>
      </dgm:prSet>
      <dgm:spPr/>
      <dgm:t>
        <a:bodyPr/>
        <a:lstStyle/>
        <a:p>
          <a:pPr latinLnBrk="1"/>
          <a:endParaRPr lang="ko-KR" altLang="en-US"/>
        </a:p>
      </dgm:t>
    </dgm:pt>
    <dgm:pt modelId="{38EE1E17-F180-4B91-8438-7FEC0C4296A4}" type="pres">
      <dgm:prSet presAssocID="{D52D824E-E910-483D-9C5A-1156398A56BF}" presName="sibTrans" presStyleCnt="0"/>
      <dgm:spPr/>
    </dgm:pt>
    <dgm:pt modelId="{BE4DBAB1-5517-4CDB-9353-B6CA78CAF03B}" type="pres">
      <dgm:prSet presAssocID="{7D716E71-45B7-46FF-94C4-8DEC20603D84}" presName="node" presStyleLbl="node1" presStyleIdx="1" presStyleCnt="4" custLinFactNeighborX="-1795" custLinFactNeighborY="-81003">
        <dgm:presLayoutVars>
          <dgm:bulletEnabled val="1"/>
        </dgm:presLayoutVars>
      </dgm:prSet>
      <dgm:spPr/>
      <dgm:t>
        <a:bodyPr/>
        <a:lstStyle/>
        <a:p>
          <a:pPr latinLnBrk="1"/>
          <a:endParaRPr lang="ko-KR" altLang="en-US"/>
        </a:p>
      </dgm:t>
    </dgm:pt>
    <dgm:pt modelId="{931BF284-7606-4CCB-8E3C-2DB5C52ED90D}" type="pres">
      <dgm:prSet presAssocID="{E5C4371A-3180-4C9C-881B-E8FCE7189925}" presName="sibTrans" presStyleCnt="0"/>
      <dgm:spPr/>
    </dgm:pt>
    <dgm:pt modelId="{6B0F789A-64B9-4997-8025-F9B94694E523}" type="pres">
      <dgm:prSet presAssocID="{8AD2D98D-86F6-4F76-93CA-6C45560B3C3B}" presName="node" presStyleLbl="node1" presStyleIdx="2" presStyleCnt="4" custLinFactNeighborX="-26" custLinFactNeighborY="-95098">
        <dgm:presLayoutVars>
          <dgm:bulletEnabled val="1"/>
        </dgm:presLayoutVars>
      </dgm:prSet>
      <dgm:spPr/>
      <dgm:t>
        <a:bodyPr/>
        <a:lstStyle/>
        <a:p>
          <a:pPr latinLnBrk="1"/>
          <a:endParaRPr lang="ko-KR" altLang="en-US"/>
        </a:p>
      </dgm:t>
    </dgm:pt>
    <dgm:pt modelId="{B97DBC6C-3E07-4C72-9758-B42DFE1B654D}" type="pres">
      <dgm:prSet presAssocID="{7EA0D708-BB3B-49D5-8FC5-CAE66101EA81}" presName="sibTrans" presStyleCnt="0"/>
      <dgm:spPr/>
    </dgm:pt>
    <dgm:pt modelId="{AF1B9180-9EE9-432E-9EDE-8FEBE3DAE46F}" type="pres">
      <dgm:prSet presAssocID="{15C84610-EF8F-4F86-8E06-F72DD9DA5935}" presName="node" presStyleLbl="node1" presStyleIdx="3" presStyleCnt="4" custLinFactNeighborX="-1698" custLinFactNeighborY="-90404">
        <dgm:presLayoutVars>
          <dgm:bulletEnabled val="1"/>
        </dgm:presLayoutVars>
      </dgm:prSet>
      <dgm:spPr/>
      <dgm:t>
        <a:bodyPr/>
        <a:lstStyle/>
        <a:p>
          <a:pPr latinLnBrk="1"/>
          <a:endParaRPr lang="ko-KR" altLang="en-US"/>
        </a:p>
      </dgm:t>
    </dgm:pt>
  </dgm:ptLst>
  <dgm:cxnLst>
    <dgm:cxn modelId="{D9A15A9A-4C0F-483A-9DA8-4E0525994981}" srcId="{80D4F571-F332-4B62-AF7C-B30601A7EEE7}" destId="{67836DD2-F453-423B-AB06-1C43ACCBA0B6}" srcOrd="0" destOrd="0" parTransId="{30C2E10A-FB18-4CFA-87E3-C3BAB7D2580E}" sibTransId="{D52D824E-E910-483D-9C5A-1156398A56BF}"/>
    <dgm:cxn modelId="{9CD3B0CF-94E6-4437-81E1-D9EF7D731B7B}" type="presOf" srcId="{8AD2D98D-86F6-4F76-93CA-6C45560B3C3B}" destId="{6B0F789A-64B9-4997-8025-F9B94694E523}" srcOrd="0" destOrd="0" presId="urn:microsoft.com/office/officeart/2005/8/layout/default"/>
    <dgm:cxn modelId="{7416FA63-E674-476B-8598-C4E28F35EF5A}" type="presOf" srcId="{80D4F571-F332-4B62-AF7C-B30601A7EEE7}" destId="{B7305445-9FAF-42C1-9F5B-01EE5A6D69C1}" srcOrd="0" destOrd="0" presId="urn:microsoft.com/office/officeart/2005/8/layout/default"/>
    <dgm:cxn modelId="{2EBBBCA9-7E62-4C76-A8C2-0D3A064C3B3C}" srcId="{80D4F571-F332-4B62-AF7C-B30601A7EEE7}" destId="{8AD2D98D-86F6-4F76-93CA-6C45560B3C3B}" srcOrd="2" destOrd="0" parTransId="{82A13E29-F2A6-4056-B54D-172A8052D16C}" sibTransId="{7EA0D708-BB3B-49D5-8FC5-CAE66101EA81}"/>
    <dgm:cxn modelId="{9F8E96B5-593A-4D97-B223-42B79CA5C576}" type="presOf" srcId="{7D716E71-45B7-46FF-94C4-8DEC20603D84}" destId="{BE4DBAB1-5517-4CDB-9353-B6CA78CAF03B}" srcOrd="0" destOrd="0" presId="urn:microsoft.com/office/officeart/2005/8/layout/default"/>
    <dgm:cxn modelId="{6A891D45-7A1F-4333-949C-4D48E793DA42}" srcId="{80D4F571-F332-4B62-AF7C-B30601A7EEE7}" destId="{15C84610-EF8F-4F86-8E06-F72DD9DA5935}" srcOrd="3" destOrd="0" parTransId="{450207E7-10B3-4DCE-B528-16FC86D4D16C}" sibTransId="{CFE1DBA9-0F02-4C33-81A1-F720C915349C}"/>
    <dgm:cxn modelId="{CFD68AB5-65BE-452A-A97D-6C343246BCE2}" type="presOf" srcId="{67836DD2-F453-423B-AB06-1C43ACCBA0B6}" destId="{970BEA20-71A7-4D32-8586-228FC736ADC1}" srcOrd="0" destOrd="0" presId="urn:microsoft.com/office/officeart/2005/8/layout/default"/>
    <dgm:cxn modelId="{DBE9D04D-26DB-416B-A362-63360641BF49}" type="presOf" srcId="{15C84610-EF8F-4F86-8E06-F72DD9DA5935}" destId="{AF1B9180-9EE9-432E-9EDE-8FEBE3DAE46F}" srcOrd="0" destOrd="0" presId="urn:microsoft.com/office/officeart/2005/8/layout/default"/>
    <dgm:cxn modelId="{908659BC-5FF2-4B94-944B-0CF9DFB326CB}" srcId="{80D4F571-F332-4B62-AF7C-B30601A7EEE7}" destId="{7D716E71-45B7-46FF-94C4-8DEC20603D84}" srcOrd="1" destOrd="0" parTransId="{31C53758-47A5-473C-B18D-989FF830C531}" sibTransId="{E5C4371A-3180-4C9C-881B-E8FCE7189925}"/>
    <dgm:cxn modelId="{5F007CE8-5147-4BD8-9697-CB4D95DA00F7}" type="presParOf" srcId="{B7305445-9FAF-42C1-9F5B-01EE5A6D69C1}" destId="{970BEA20-71A7-4D32-8586-228FC736ADC1}" srcOrd="0" destOrd="0" presId="urn:microsoft.com/office/officeart/2005/8/layout/default"/>
    <dgm:cxn modelId="{37C01C8E-8CBA-4DCE-8544-1CD8C931A9B2}" type="presParOf" srcId="{B7305445-9FAF-42C1-9F5B-01EE5A6D69C1}" destId="{38EE1E17-F180-4B91-8438-7FEC0C4296A4}" srcOrd="1" destOrd="0" presId="urn:microsoft.com/office/officeart/2005/8/layout/default"/>
    <dgm:cxn modelId="{8D38D57B-9A81-463C-9B2E-43FADB5A1D3B}" type="presParOf" srcId="{B7305445-9FAF-42C1-9F5B-01EE5A6D69C1}" destId="{BE4DBAB1-5517-4CDB-9353-B6CA78CAF03B}" srcOrd="2" destOrd="0" presId="urn:microsoft.com/office/officeart/2005/8/layout/default"/>
    <dgm:cxn modelId="{2AE2DF9C-FA2C-4B8B-9C1A-C666B9B0850B}" type="presParOf" srcId="{B7305445-9FAF-42C1-9F5B-01EE5A6D69C1}" destId="{931BF284-7606-4CCB-8E3C-2DB5C52ED90D}" srcOrd="3" destOrd="0" presId="urn:microsoft.com/office/officeart/2005/8/layout/default"/>
    <dgm:cxn modelId="{E9BCA9B6-7637-45C7-AF9E-6F749395C144}" type="presParOf" srcId="{B7305445-9FAF-42C1-9F5B-01EE5A6D69C1}" destId="{6B0F789A-64B9-4997-8025-F9B94694E523}" srcOrd="4" destOrd="0" presId="urn:microsoft.com/office/officeart/2005/8/layout/default"/>
    <dgm:cxn modelId="{9A3B321C-A5D0-4170-BE81-F08273D1B28F}" type="presParOf" srcId="{B7305445-9FAF-42C1-9F5B-01EE5A6D69C1}" destId="{B97DBC6C-3E07-4C72-9758-B42DFE1B654D}" srcOrd="5" destOrd="0" presId="urn:microsoft.com/office/officeart/2005/8/layout/default"/>
    <dgm:cxn modelId="{73DA2BD6-4C74-40B2-81A5-34567F0201B8}" type="presParOf" srcId="{B7305445-9FAF-42C1-9F5B-01EE5A6D69C1}" destId="{AF1B9180-9EE9-432E-9EDE-8FEBE3DAE46F}" srcOrd="6" destOrd="0" presId="urn:microsoft.com/office/officeart/2005/8/layout/default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4.xml><?xml version="1.0" encoding="utf-8"?>
<dgm:dataModel xmlns:dgm="http://schemas.openxmlformats.org/drawingml/2006/diagram" xmlns:a="http://schemas.openxmlformats.org/drawingml/2006/main">
  <dgm:ptLst>
    <dgm:pt modelId="{5743776B-EDDD-4864-AD9A-411BDE1E3C36}" type="doc">
      <dgm:prSet loTypeId="urn:microsoft.com/office/officeart/2005/8/layout/default" loCatId="list" qsTypeId="urn:microsoft.com/office/officeart/2005/8/quickstyle/simple1" qsCatId="simple" csTypeId="urn:microsoft.com/office/officeart/2005/8/colors/colorful3" csCatId="colorful" phldr="1"/>
      <dgm:spPr/>
      <dgm:t>
        <a:bodyPr/>
        <a:lstStyle/>
        <a:p>
          <a:pPr latinLnBrk="1"/>
          <a:endParaRPr lang="ko-KR" altLang="en-US"/>
        </a:p>
      </dgm:t>
    </dgm:pt>
    <dgm:pt modelId="{CBA3D8B5-2C18-4A56-A7DF-E453803EBB9B}">
      <dgm:prSet phldrT="[텍스트]"/>
      <dgm:spPr>
        <a:solidFill>
          <a:srgbClr val="FF0000"/>
        </a:solidFill>
      </dgm:spPr>
      <dgm:t>
        <a:bodyPr/>
        <a:lstStyle/>
        <a:p>
          <a:pPr latinLnBrk="1"/>
          <a:r>
            <a:rPr lang="ko-KR" altLang="en-US" dirty="0"/>
            <a:t>거짓 가공데이터</a:t>
          </a:r>
          <a:endParaRPr lang="en-US" altLang="ko-KR" dirty="0"/>
        </a:p>
      </dgm:t>
    </dgm:pt>
    <dgm:pt modelId="{557F5398-95D5-4C4E-89B5-10F0E924417B}" type="parTrans" cxnId="{D9BE4A19-8F51-4AC3-8840-57E1E1B268D3}">
      <dgm:prSet/>
      <dgm:spPr/>
      <dgm:t>
        <a:bodyPr/>
        <a:lstStyle/>
        <a:p>
          <a:pPr latinLnBrk="1"/>
          <a:endParaRPr lang="ko-KR" altLang="en-US"/>
        </a:p>
      </dgm:t>
    </dgm:pt>
    <dgm:pt modelId="{D914E5DF-DA2B-4E0C-B592-FA3858A6E8CD}" type="sibTrans" cxnId="{D9BE4A19-8F51-4AC3-8840-57E1E1B268D3}">
      <dgm:prSet/>
      <dgm:spPr/>
      <dgm:t>
        <a:bodyPr/>
        <a:lstStyle/>
        <a:p>
          <a:pPr latinLnBrk="1"/>
          <a:endParaRPr lang="ko-KR" altLang="en-US"/>
        </a:p>
      </dgm:t>
    </dgm:pt>
    <dgm:pt modelId="{4BB186F7-97DA-425C-8FAB-5467BE540841}">
      <dgm:prSet phldrT="[텍스트]"/>
      <dgm:spPr/>
      <dgm:t>
        <a:bodyPr/>
        <a:lstStyle/>
        <a:p>
          <a:pPr latinLnBrk="1"/>
          <a:r>
            <a:rPr lang="ko-KR" altLang="en-US" dirty="0"/>
            <a:t>전문가그룹의 신념에 따른 결과 상이 </a:t>
          </a:r>
        </a:p>
      </dgm:t>
    </dgm:pt>
    <dgm:pt modelId="{1D8E90F1-5DCE-43CE-99E5-2C3859F84A4B}" type="parTrans" cxnId="{FC45A8EE-E367-4B27-8ADD-87A84F55020F}">
      <dgm:prSet/>
      <dgm:spPr/>
      <dgm:t>
        <a:bodyPr/>
        <a:lstStyle/>
        <a:p>
          <a:pPr latinLnBrk="1"/>
          <a:endParaRPr lang="ko-KR" altLang="en-US"/>
        </a:p>
      </dgm:t>
    </dgm:pt>
    <dgm:pt modelId="{3F75E1D3-9E79-4255-BD85-B7526C39AA75}" type="sibTrans" cxnId="{FC45A8EE-E367-4B27-8ADD-87A84F55020F}">
      <dgm:prSet/>
      <dgm:spPr/>
      <dgm:t>
        <a:bodyPr/>
        <a:lstStyle/>
        <a:p>
          <a:pPr latinLnBrk="1"/>
          <a:endParaRPr lang="ko-KR" altLang="en-US"/>
        </a:p>
      </dgm:t>
    </dgm:pt>
    <dgm:pt modelId="{07B5C39A-5848-4F5D-A91E-3C37D5D457BF}">
      <dgm:prSet phldrT="[텍스트]"/>
      <dgm:spPr/>
      <dgm:t>
        <a:bodyPr/>
        <a:lstStyle/>
        <a:p>
          <a:pPr latinLnBrk="1"/>
          <a:r>
            <a:rPr lang="en-US" altLang="ko-KR" dirty="0"/>
            <a:t>HW /</a:t>
          </a:r>
          <a:r>
            <a:rPr lang="ko-KR" altLang="en-US" dirty="0"/>
            <a:t>인재</a:t>
          </a:r>
          <a:r>
            <a:rPr lang="en-US" altLang="ko-KR" dirty="0"/>
            <a:t>/</a:t>
          </a:r>
          <a:r>
            <a:rPr lang="ko-KR" altLang="en-US" dirty="0"/>
            <a:t>교육 등 인프라 수준 </a:t>
          </a:r>
        </a:p>
      </dgm:t>
    </dgm:pt>
    <dgm:pt modelId="{C17668FD-3487-4B1E-B419-D755E0C01008}" type="parTrans" cxnId="{87C79D2D-0850-46C3-A4BB-C44D0FA13C1A}">
      <dgm:prSet/>
      <dgm:spPr/>
      <dgm:t>
        <a:bodyPr/>
        <a:lstStyle/>
        <a:p>
          <a:pPr latinLnBrk="1"/>
          <a:endParaRPr lang="ko-KR" altLang="en-US"/>
        </a:p>
      </dgm:t>
    </dgm:pt>
    <dgm:pt modelId="{14592102-C23C-4B3B-BE83-375AE1014BB8}" type="sibTrans" cxnId="{87C79D2D-0850-46C3-A4BB-C44D0FA13C1A}">
      <dgm:prSet/>
      <dgm:spPr/>
      <dgm:t>
        <a:bodyPr/>
        <a:lstStyle/>
        <a:p>
          <a:pPr latinLnBrk="1"/>
          <a:endParaRPr lang="ko-KR" altLang="en-US"/>
        </a:p>
      </dgm:t>
    </dgm:pt>
    <dgm:pt modelId="{C4222F1A-CA87-4840-925B-DFF488FD6CD1}">
      <dgm:prSet phldrT="[텍스트]"/>
      <dgm:spPr/>
      <dgm:t>
        <a:bodyPr/>
        <a:lstStyle/>
        <a:p>
          <a:pPr latinLnBrk="1"/>
          <a:r>
            <a:rPr lang="ko-KR" altLang="en-US" dirty="0"/>
            <a:t>각국</a:t>
          </a:r>
          <a:r>
            <a:rPr lang="en-US" altLang="ko-KR" dirty="0"/>
            <a:t> </a:t>
          </a:r>
          <a:r>
            <a:rPr lang="ko-KR" altLang="en-US" dirty="0"/>
            <a:t>정치 판단과 규제의 차이 </a:t>
          </a:r>
        </a:p>
      </dgm:t>
    </dgm:pt>
    <dgm:pt modelId="{00AB9027-5AE0-4B1C-B733-EBB669B913EF}" type="parTrans" cxnId="{6BE3EEE7-57A8-4086-8DB2-79FBFC336434}">
      <dgm:prSet/>
      <dgm:spPr/>
      <dgm:t>
        <a:bodyPr/>
        <a:lstStyle/>
        <a:p>
          <a:pPr latinLnBrk="1"/>
          <a:endParaRPr lang="ko-KR" altLang="en-US"/>
        </a:p>
      </dgm:t>
    </dgm:pt>
    <dgm:pt modelId="{081BCD24-7C5E-46CC-9ACD-B2451CCCAE7F}" type="sibTrans" cxnId="{6BE3EEE7-57A8-4086-8DB2-79FBFC336434}">
      <dgm:prSet/>
      <dgm:spPr/>
      <dgm:t>
        <a:bodyPr/>
        <a:lstStyle/>
        <a:p>
          <a:pPr latinLnBrk="1"/>
          <a:endParaRPr lang="ko-KR" altLang="en-US"/>
        </a:p>
      </dgm:t>
    </dgm:pt>
    <dgm:pt modelId="{ACC3EE38-E844-479F-9390-0C650A97C3C6}">
      <dgm:prSet phldrT="[텍스트]"/>
      <dgm:spPr/>
      <dgm:t>
        <a:bodyPr/>
        <a:lstStyle/>
        <a:p>
          <a:pPr latinLnBrk="1"/>
          <a:r>
            <a:rPr lang="ko-KR" altLang="en-US" dirty="0"/>
            <a:t>언어적 차이</a:t>
          </a:r>
          <a:r>
            <a:rPr lang="en-US" altLang="ko-KR" dirty="0"/>
            <a:t>&gt; </a:t>
          </a:r>
          <a:r>
            <a:rPr lang="ko-KR" altLang="en-US" dirty="0"/>
            <a:t>글로벌 단일화  </a:t>
          </a:r>
        </a:p>
      </dgm:t>
    </dgm:pt>
    <dgm:pt modelId="{2E3D9BF0-05FE-4F66-8BDC-970CB78BAE6C}" type="parTrans" cxnId="{007E73F3-6815-4C9B-82AC-B706A3869036}">
      <dgm:prSet/>
      <dgm:spPr/>
      <dgm:t>
        <a:bodyPr/>
        <a:lstStyle/>
        <a:p>
          <a:pPr latinLnBrk="1"/>
          <a:endParaRPr lang="ko-KR" altLang="en-US"/>
        </a:p>
      </dgm:t>
    </dgm:pt>
    <dgm:pt modelId="{A71DAB86-DB98-4986-9D8E-FBE583C12CEF}" type="sibTrans" cxnId="{007E73F3-6815-4C9B-82AC-B706A3869036}">
      <dgm:prSet/>
      <dgm:spPr/>
      <dgm:t>
        <a:bodyPr/>
        <a:lstStyle/>
        <a:p>
          <a:pPr latinLnBrk="1"/>
          <a:endParaRPr lang="ko-KR" altLang="en-US"/>
        </a:p>
      </dgm:t>
    </dgm:pt>
    <dgm:pt modelId="{17B9D065-CCFF-4BAD-A8AD-3B0978347FE6}">
      <dgm:prSet/>
      <dgm:spPr/>
      <dgm:t>
        <a:bodyPr/>
        <a:lstStyle/>
        <a:p>
          <a:pPr latinLnBrk="1"/>
          <a:r>
            <a:rPr lang="ko-KR" altLang="en-US" dirty="0"/>
            <a:t>수용기업의  차이 </a:t>
          </a:r>
        </a:p>
      </dgm:t>
    </dgm:pt>
    <dgm:pt modelId="{960E3C66-2B78-433D-816F-39A449650771}" type="parTrans" cxnId="{F98FE1AC-9C0B-4035-92C3-FC2522ED4036}">
      <dgm:prSet/>
      <dgm:spPr/>
      <dgm:t>
        <a:bodyPr/>
        <a:lstStyle/>
        <a:p>
          <a:pPr latinLnBrk="1"/>
          <a:endParaRPr lang="ko-KR" altLang="en-US"/>
        </a:p>
      </dgm:t>
    </dgm:pt>
    <dgm:pt modelId="{FCCBD41E-D29F-4CA1-A0E3-F6A6E27F91DF}" type="sibTrans" cxnId="{F98FE1AC-9C0B-4035-92C3-FC2522ED4036}">
      <dgm:prSet/>
      <dgm:spPr/>
      <dgm:t>
        <a:bodyPr/>
        <a:lstStyle/>
        <a:p>
          <a:pPr latinLnBrk="1"/>
          <a:endParaRPr lang="ko-KR" altLang="en-US"/>
        </a:p>
      </dgm:t>
    </dgm:pt>
    <dgm:pt modelId="{7BF211C6-03C4-4F46-BA7F-22E54BB3FF30}">
      <dgm:prSet/>
      <dgm:spPr/>
      <dgm:t>
        <a:bodyPr/>
        <a:lstStyle/>
        <a:p>
          <a:pPr latinLnBrk="1"/>
          <a:r>
            <a:rPr lang="ko-KR" altLang="en-US" dirty="0" smtClean="0"/>
            <a:t>인간 생체에 대한 </a:t>
          </a:r>
          <a:endParaRPr lang="en-US" altLang="ko-KR" dirty="0" smtClean="0"/>
        </a:p>
        <a:p>
          <a:pPr latinLnBrk="1"/>
          <a:r>
            <a:rPr lang="ko-KR" altLang="en-US" dirty="0" smtClean="0"/>
            <a:t>비지니스 </a:t>
          </a:r>
          <a:endParaRPr lang="ko-KR" altLang="en-US" dirty="0"/>
        </a:p>
      </dgm:t>
    </dgm:pt>
    <dgm:pt modelId="{5801FEBC-E155-489E-9A2B-0701C6BBF2E1}" type="parTrans" cxnId="{6AE5BB66-D7AE-4E05-88B6-246AC3277626}">
      <dgm:prSet/>
      <dgm:spPr/>
      <dgm:t>
        <a:bodyPr/>
        <a:lstStyle/>
        <a:p>
          <a:pPr latinLnBrk="1"/>
          <a:endParaRPr lang="ko-KR" altLang="en-US"/>
        </a:p>
      </dgm:t>
    </dgm:pt>
    <dgm:pt modelId="{A2943971-F876-4DDF-82C4-C98C162D8B3B}" type="sibTrans" cxnId="{6AE5BB66-D7AE-4E05-88B6-246AC3277626}">
      <dgm:prSet/>
      <dgm:spPr/>
      <dgm:t>
        <a:bodyPr/>
        <a:lstStyle/>
        <a:p>
          <a:pPr latinLnBrk="1"/>
          <a:endParaRPr lang="ko-KR" altLang="en-US"/>
        </a:p>
      </dgm:t>
    </dgm:pt>
    <dgm:pt modelId="{9C2B8CCF-C711-4868-A67F-B899A9C75D62}">
      <dgm:prSet/>
      <dgm:spPr/>
      <dgm:t>
        <a:bodyPr/>
        <a:lstStyle/>
        <a:p>
          <a:pPr marL="0" marR="0" lvl="0" indent="0" defTabSz="914400" eaLnBrk="1" fontAlgn="auto" latinLnBrk="1" hangingPunct="1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ko-KR" altLang="en-US" dirty="0"/>
            <a:t>인간에 대한 판단 </a:t>
          </a:r>
          <a:r>
            <a:rPr lang="en-US" altLang="ko-KR" dirty="0"/>
            <a:t>( </a:t>
          </a:r>
          <a:r>
            <a:rPr lang="ko-KR" altLang="en-US" dirty="0" err="1" smtClean="0"/>
            <a:t>성적평가</a:t>
          </a:r>
          <a:r>
            <a:rPr lang="en-US" altLang="ko-KR" dirty="0" smtClean="0"/>
            <a:t>)</a:t>
          </a:r>
          <a:r>
            <a:rPr lang="ko-KR" altLang="en-US" dirty="0" smtClean="0"/>
            <a:t> </a:t>
          </a:r>
          <a:endParaRPr lang="ko-KR" altLang="en-US" dirty="0"/>
        </a:p>
        <a:p>
          <a:pPr marL="0" lvl="0" defTabSz="844550" latinLnBrk="1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ko-KR" altLang="en-US" dirty="0"/>
        </a:p>
      </dgm:t>
    </dgm:pt>
    <dgm:pt modelId="{2C6F5C2B-5C8A-4605-BCAE-6D110C6B65A5}" type="parTrans" cxnId="{424C1295-E945-425F-8803-E252CD27709A}">
      <dgm:prSet/>
      <dgm:spPr/>
      <dgm:t>
        <a:bodyPr/>
        <a:lstStyle/>
        <a:p>
          <a:pPr latinLnBrk="1"/>
          <a:endParaRPr lang="ko-KR" altLang="en-US"/>
        </a:p>
      </dgm:t>
    </dgm:pt>
    <dgm:pt modelId="{2610F248-8C2C-4FD0-B4BD-53E58BB9DECE}" type="sibTrans" cxnId="{424C1295-E945-425F-8803-E252CD27709A}">
      <dgm:prSet/>
      <dgm:spPr/>
      <dgm:t>
        <a:bodyPr/>
        <a:lstStyle/>
        <a:p>
          <a:pPr latinLnBrk="1"/>
          <a:endParaRPr lang="ko-KR" altLang="en-US"/>
        </a:p>
      </dgm:t>
    </dgm:pt>
    <dgm:pt modelId="{58A10CC1-424D-4FD1-9A2F-B48AB0A9983C}">
      <dgm:prSet/>
      <dgm:spPr/>
      <dgm:t>
        <a:bodyPr/>
        <a:lstStyle/>
        <a:p>
          <a:pPr latinLnBrk="1"/>
          <a:r>
            <a:rPr lang="ko-KR" altLang="en-US" dirty="0"/>
            <a:t>범죄</a:t>
          </a:r>
          <a:r>
            <a:rPr lang="en-US" altLang="ko-KR" dirty="0"/>
            <a:t>/</a:t>
          </a:r>
          <a:r>
            <a:rPr lang="ko-KR" altLang="en-US" dirty="0"/>
            <a:t>전쟁 활용 </a:t>
          </a:r>
        </a:p>
      </dgm:t>
    </dgm:pt>
    <dgm:pt modelId="{31845F07-56CA-47F4-B44C-4E6743507FE3}" type="parTrans" cxnId="{624A83F4-FB4A-480F-9BCD-52DAAB440FDA}">
      <dgm:prSet/>
      <dgm:spPr/>
      <dgm:t>
        <a:bodyPr/>
        <a:lstStyle/>
        <a:p>
          <a:pPr latinLnBrk="1"/>
          <a:endParaRPr lang="ko-KR" altLang="en-US"/>
        </a:p>
      </dgm:t>
    </dgm:pt>
    <dgm:pt modelId="{035997C9-2680-4F35-BB65-F5B674FE9F89}" type="sibTrans" cxnId="{624A83F4-FB4A-480F-9BCD-52DAAB440FDA}">
      <dgm:prSet/>
      <dgm:spPr/>
      <dgm:t>
        <a:bodyPr/>
        <a:lstStyle/>
        <a:p>
          <a:pPr latinLnBrk="1"/>
          <a:endParaRPr lang="ko-KR" altLang="en-US"/>
        </a:p>
      </dgm:t>
    </dgm:pt>
    <dgm:pt modelId="{3BDE0EC0-D612-4170-8545-07CB6653E434}" type="pres">
      <dgm:prSet presAssocID="{5743776B-EDDD-4864-AD9A-411BDE1E3C36}" presName="diagram" presStyleCnt="0">
        <dgm:presLayoutVars>
          <dgm:dir/>
          <dgm:resizeHandles val="exact"/>
        </dgm:presLayoutVars>
      </dgm:prSet>
      <dgm:spPr/>
      <dgm:t>
        <a:bodyPr/>
        <a:lstStyle/>
        <a:p>
          <a:pPr latinLnBrk="1"/>
          <a:endParaRPr lang="ko-KR" altLang="en-US"/>
        </a:p>
      </dgm:t>
    </dgm:pt>
    <dgm:pt modelId="{002FA37C-48A2-406C-B9D4-4A49F3B07775}" type="pres">
      <dgm:prSet presAssocID="{CBA3D8B5-2C18-4A56-A7DF-E453803EBB9B}" presName="node" presStyleLbl="node1" presStyleIdx="0" presStyleCnt="9" custLinFactNeighborX="-1953" custLinFactNeighborY="4884">
        <dgm:presLayoutVars>
          <dgm:bulletEnabled val="1"/>
        </dgm:presLayoutVars>
      </dgm:prSet>
      <dgm:spPr/>
      <dgm:t>
        <a:bodyPr/>
        <a:lstStyle/>
        <a:p>
          <a:pPr latinLnBrk="1"/>
          <a:endParaRPr lang="ko-KR" altLang="en-US"/>
        </a:p>
      </dgm:t>
    </dgm:pt>
    <dgm:pt modelId="{CC3975AD-7A51-4E8F-9796-830FF9E38357}" type="pres">
      <dgm:prSet presAssocID="{D914E5DF-DA2B-4E0C-B592-FA3858A6E8CD}" presName="sibTrans" presStyleCnt="0"/>
      <dgm:spPr/>
    </dgm:pt>
    <dgm:pt modelId="{AE7F0EEE-4BFC-4A94-AB7B-294B6B80EC07}" type="pres">
      <dgm:prSet presAssocID="{4BB186F7-97DA-425C-8FAB-5467BE540841}" presName="node" presStyleLbl="node1" presStyleIdx="1" presStyleCnt="9" custLinFactNeighborX="651" custLinFactNeighborY="3798">
        <dgm:presLayoutVars>
          <dgm:bulletEnabled val="1"/>
        </dgm:presLayoutVars>
      </dgm:prSet>
      <dgm:spPr/>
      <dgm:t>
        <a:bodyPr/>
        <a:lstStyle/>
        <a:p>
          <a:pPr latinLnBrk="1"/>
          <a:endParaRPr lang="ko-KR" altLang="en-US"/>
        </a:p>
      </dgm:t>
    </dgm:pt>
    <dgm:pt modelId="{3317C7F7-382E-4C0A-BC62-1E1A519C712D}" type="pres">
      <dgm:prSet presAssocID="{3F75E1D3-9E79-4255-BD85-B7526C39AA75}" presName="sibTrans" presStyleCnt="0"/>
      <dgm:spPr/>
    </dgm:pt>
    <dgm:pt modelId="{9155AA68-7DD1-4988-8A77-9BF53BB10014}" type="pres">
      <dgm:prSet presAssocID="{7BF211C6-03C4-4F46-BA7F-22E54BB3FF30}" presName="node" presStyleLbl="node1" presStyleIdx="2" presStyleCnt="9" custLinFactX="-100000" custLinFactY="100000" custLinFactNeighborX="-115375" custLinFactNeighborY="129536">
        <dgm:presLayoutVars>
          <dgm:bulletEnabled val="1"/>
        </dgm:presLayoutVars>
      </dgm:prSet>
      <dgm:spPr/>
      <dgm:t>
        <a:bodyPr/>
        <a:lstStyle/>
        <a:p>
          <a:pPr latinLnBrk="1"/>
          <a:endParaRPr lang="ko-KR" altLang="en-US"/>
        </a:p>
      </dgm:t>
    </dgm:pt>
    <dgm:pt modelId="{3C3566BD-B4AA-4F04-9A7F-468206495233}" type="pres">
      <dgm:prSet presAssocID="{A2943971-F876-4DDF-82C4-C98C162D8B3B}" presName="sibTrans" presStyleCnt="0"/>
      <dgm:spPr/>
    </dgm:pt>
    <dgm:pt modelId="{DD336C7B-CBC1-4C4F-B302-EFC2C83B60F2}" type="pres">
      <dgm:prSet presAssocID="{9C2B8CCF-C711-4868-A67F-B899A9C75D62}" presName="node" presStyleLbl="node1" presStyleIdx="3" presStyleCnt="9" custLinFactNeighborX="1151" custLinFactNeighborY="-2422">
        <dgm:presLayoutVars>
          <dgm:bulletEnabled val="1"/>
        </dgm:presLayoutVars>
      </dgm:prSet>
      <dgm:spPr/>
      <dgm:t>
        <a:bodyPr/>
        <a:lstStyle/>
        <a:p>
          <a:pPr latinLnBrk="1"/>
          <a:endParaRPr lang="ko-KR" altLang="en-US"/>
        </a:p>
      </dgm:t>
    </dgm:pt>
    <dgm:pt modelId="{6957BE54-560F-42ED-A0E3-77057C2F6EB8}" type="pres">
      <dgm:prSet presAssocID="{2610F248-8C2C-4FD0-B4BD-53E58BB9DECE}" presName="sibTrans" presStyleCnt="0"/>
      <dgm:spPr/>
    </dgm:pt>
    <dgm:pt modelId="{E7A5282A-9285-4FBD-8A93-19BFD0695DE0}" type="pres">
      <dgm:prSet presAssocID="{07B5C39A-5848-4F5D-A91E-3C37D5D457BF}" presName="node" presStyleLbl="node1" presStyleIdx="4" presStyleCnt="9">
        <dgm:presLayoutVars>
          <dgm:bulletEnabled val="1"/>
        </dgm:presLayoutVars>
      </dgm:prSet>
      <dgm:spPr/>
      <dgm:t>
        <a:bodyPr/>
        <a:lstStyle/>
        <a:p>
          <a:pPr latinLnBrk="1"/>
          <a:endParaRPr lang="ko-KR" altLang="en-US"/>
        </a:p>
      </dgm:t>
    </dgm:pt>
    <dgm:pt modelId="{6316D177-07EA-4F7E-9AB9-AF091E27FB8C}" type="pres">
      <dgm:prSet presAssocID="{14592102-C23C-4B3B-BE83-375AE1014BB8}" presName="sibTrans" presStyleCnt="0"/>
      <dgm:spPr/>
    </dgm:pt>
    <dgm:pt modelId="{DA782436-3C06-4009-9F49-D4E6D8C2AED1}" type="pres">
      <dgm:prSet presAssocID="{C4222F1A-CA87-4840-925B-DFF488FD6CD1}" presName="node" presStyleLbl="node1" presStyleIdx="5" presStyleCnt="9">
        <dgm:presLayoutVars>
          <dgm:bulletEnabled val="1"/>
        </dgm:presLayoutVars>
      </dgm:prSet>
      <dgm:spPr/>
      <dgm:t>
        <a:bodyPr/>
        <a:lstStyle/>
        <a:p>
          <a:pPr latinLnBrk="1"/>
          <a:endParaRPr lang="ko-KR" altLang="en-US"/>
        </a:p>
      </dgm:t>
    </dgm:pt>
    <dgm:pt modelId="{80D0D94E-E76B-42A1-BBDC-6FE15C163939}" type="pres">
      <dgm:prSet presAssocID="{081BCD24-7C5E-46CC-9ACD-B2451CCCAE7F}" presName="sibTrans" presStyleCnt="0"/>
      <dgm:spPr/>
    </dgm:pt>
    <dgm:pt modelId="{E5D1F1AF-31DF-4E82-8191-FA0BA2F2E67F}" type="pres">
      <dgm:prSet presAssocID="{ACC3EE38-E844-479F-9390-0C650A97C3C6}" presName="node" presStyleLbl="node1" presStyleIdx="6" presStyleCnt="9" custLinFactX="12645" custLinFactNeighborX="100000" custLinFactNeighborY="-1262">
        <dgm:presLayoutVars>
          <dgm:bulletEnabled val="1"/>
        </dgm:presLayoutVars>
      </dgm:prSet>
      <dgm:spPr/>
      <dgm:t>
        <a:bodyPr/>
        <a:lstStyle/>
        <a:p>
          <a:pPr latinLnBrk="1"/>
          <a:endParaRPr lang="ko-KR" altLang="en-US"/>
        </a:p>
      </dgm:t>
    </dgm:pt>
    <dgm:pt modelId="{9A9D9442-1F57-48FC-818D-081BC7C084D4}" type="pres">
      <dgm:prSet presAssocID="{A71DAB86-DB98-4986-9D8E-FBE583C12CEF}" presName="sibTrans" presStyleCnt="0"/>
      <dgm:spPr/>
    </dgm:pt>
    <dgm:pt modelId="{10B3D5B2-F746-43A1-BD39-15ED697E8743}" type="pres">
      <dgm:prSet presAssocID="{58A10CC1-424D-4FD1-9A2F-B48AB0A9983C}" presName="node" presStyleLbl="node1" presStyleIdx="7" presStyleCnt="9" custLinFactX="7981" custLinFactNeighborX="100000" custLinFactNeighborY="-1262">
        <dgm:presLayoutVars>
          <dgm:bulletEnabled val="1"/>
        </dgm:presLayoutVars>
      </dgm:prSet>
      <dgm:spPr/>
      <dgm:t>
        <a:bodyPr/>
        <a:lstStyle/>
        <a:p>
          <a:pPr latinLnBrk="1"/>
          <a:endParaRPr lang="ko-KR" altLang="en-US"/>
        </a:p>
      </dgm:t>
    </dgm:pt>
    <dgm:pt modelId="{69F912F0-C201-4FE4-8CDE-C2506CFE2D52}" type="pres">
      <dgm:prSet presAssocID="{035997C9-2680-4F35-BB65-F5B674FE9F89}" presName="sibTrans" presStyleCnt="0"/>
      <dgm:spPr/>
    </dgm:pt>
    <dgm:pt modelId="{5288E610-3DD5-4DE5-8D17-DC0F7C7EA8B9}" type="pres">
      <dgm:prSet presAssocID="{17B9D065-CCFF-4BAD-A8AD-3B0978347FE6}" presName="node" presStyleLbl="node1" presStyleIdx="8" presStyleCnt="9" custLinFactY="-100000" custLinFactNeighborX="55246" custLinFactNeighborY="-135402">
        <dgm:presLayoutVars>
          <dgm:bulletEnabled val="1"/>
        </dgm:presLayoutVars>
      </dgm:prSet>
      <dgm:spPr/>
      <dgm:t>
        <a:bodyPr/>
        <a:lstStyle/>
        <a:p>
          <a:pPr latinLnBrk="1"/>
          <a:endParaRPr lang="ko-KR" altLang="en-US"/>
        </a:p>
      </dgm:t>
    </dgm:pt>
  </dgm:ptLst>
  <dgm:cxnLst>
    <dgm:cxn modelId="{CB4D1EC8-31DA-45BB-BBBF-50D36A821E2B}" type="presOf" srcId="{5743776B-EDDD-4864-AD9A-411BDE1E3C36}" destId="{3BDE0EC0-D612-4170-8545-07CB6653E434}" srcOrd="0" destOrd="0" presId="urn:microsoft.com/office/officeart/2005/8/layout/default"/>
    <dgm:cxn modelId="{424C1295-E945-425F-8803-E252CD27709A}" srcId="{5743776B-EDDD-4864-AD9A-411BDE1E3C36}" destId="{9C2B8CCF-C711-4868-A67F-B899A9C75D62}" srcOrd="3" destOrd="0" parTransId="{2C6F5C2B-5C8A-4605-BCAE-6D110C6B65A5}" sibTransId="{2610F248-8C2C-4FD0-B4BD-53E58BB9DECE}"/>
    <dgm:cxn modelId="{F98FE1AC-9C0B-4035-92C3-FC2522ED4036}" srcId="{5743776B-EDDD-4864-AD9A-411BDE1E3C36}" destId="{17B9D065-CCFF-4BAD-A8AD-3B0978347FE6}" srcOrd="8" destOrd="0" parTransId="{960E3C66-2B78-433D-816F-39A449650771}" sibTransId="{FCCBD41E-D29F-4CA1-A0E3-F6A6E27F91DF}"/>
    <dgm:cxn modelId="{A377E93E-63D0-49B6-8773-B22AF8738605}" type="presOf" srcId="{58A10CC1-424D-4FD1-9A2F-B48AB0A9983C}" destId="{10B3D5B2-F746-43A1-BD39-15ED697E8743}" srcOrd="0" destOrd="0" presId="urn:microsoft.com/office/officeart/2005/8/layout/default"/>
    <dgm:cxn modelId="{24261C9D-F2B2-4105-B97B-C95D8C4FD412}" type="presOf" srcId="{9C2B8CCF-C711-4868-A67F-B899A9C75D62}" destId="{DD336C7B-CBC1-4C4F-B302-EFC2C83B60F2}" srcOrd="0" destOrd="0" presId="urn:microsoft.com/office/officeart/2005/8/layout/default"/>
    <dgm:cxn modelId="{D7422451-1E39-4D6C-8B14-67B69328F2F2}" type="presOf" srcId="{7BF211C6-03C4-4F46-BA7F-22E54BB3FF30}" destId="{9155AA68-7DD1-4988-8A77-9BF53BB10014}" srcOrd="0" destOrd="0" presId="urn:microsoft.com/office/officeart/2005/8/layout/default"/>
    <dgm:cxn modelId="{007E73F3-6815-4C9B-82AC-B706A3869036}" srcId="{5743776B-EDDD-4864-AD9A-411BDE1E3C36}" destId="{ACC3EE38-E844-479F-9390-0C650A97C3C6}" srcOrd="6" destOrd="0" parTransId="{2E3D9BF0-05FE-4F66-8BDC-970CB78BAE6C}" sibTransId="{A71DAB86-DB98-4986-9D8E-FBE583C12CEF}"/>
    <dgm:cxn modelId="{6BE3EEE7-57A8-4086-8DB2-79FBFC336434}" srcId="{5743776B-EDDD-4864-AD9A-411BDE1E3C36}" destId="{C4222F1A-CA87-4840-925B-DFF488FD6CD1}" srcOrd="5" destOrd="0" parTransId="{00AB9027-5AE0-4B1C-B733-EBB669B913EF}" sibTransId="{081BCD24-7C5E-46CC-9ACD-B2451CCCAE7F}"/>
    <dgm:cxn modelId="{87C79D2D-0850-46C3-A4BB-C44D0FA13C1A}" srcId="{5743776B-EDDD-4864-AD9A-411BDE1E3C36}" destId="{07B5C39A-5848-4F5D-A91E-3C37D5D457BF}" srcOrd="4" destOrd="0" parTransId="{C17668FD-3487-4B1E-B419-D755E0C01008}" sibTransId="{14592102-C23C-4B3B-BE83-375AE1014BB8}"/>
    <dgm:cxn modelId="{D9BE4A19-8F51-4AC3-8840-57E1E1B268D3}" srcId="{5743776B-EDDD-4864-AD9A-411BDE1E3C36}" destId="{CBA3D8B5-2C18-4A56-A7DF-E453803EBB9B}" srcOrd="0" destOrd="0" parTransId="{557F5398-95D5-4C4E-89B5-10F0E924417B}" sibTransId="{D914E5DF-DA2B-4E0C-B592-FA3858A6E8CD}"/>
    <dgm:cxn modelId="{518F2117-534C-4689-952C-D1D51A86179B}" type="presOf" srcId="{CBA3D8B5-2C18-4A56-A7DF-E453803EBB9B}" destId="{002FA37C-48A2-406C-B9D4-4A49F3B07775}" srcOrd="0" destOrd="0" presId="urn:microsoft.com/office/officeart/2005/8/layout/default"/>
    <dgm:cxn modelId="{73F363AD-5264-49EA-8D5E-45DA312449BD}" type="presOf" srcId="{17B9D065-CCFF-4BAD-A8AD-3B0978347FE6}" destId="{5288E610-3DD5-4DE5-8D17-DC0F7C7EA8B9}" srcOrd="0" destOrd="0" presId="urn:microsoft.com/office/officeart/2005/8/layout/default"/>
    <dgm:cxn modelId="{0041801F-0F51-47EC-918A-64BAB0843FBA}" type="presOf" srcId="{ACC3EE38-E844-479F-9390-0C650A97C3C6}" destId="{E5D1F1AF-31DF-4E82-8191-FA0BA2F2E67F}" srcOrd="0" destOrd="0" presId="urn:microsoft.com/office/officeart/2005/8/layout/default"/>
    <dgm:cxn modelId="{FC45A8EE-E367-4B27-8ADD-87A84F55020F}" srcId="{5743776B-EDDD-4864-AD9A-411BDE1E3C36}" destId="{4BB186F7-97DA-425C-8FAB-5467BE540841}" srcOrd="1" destOrd="0" parTransId="{1D8E90F1-5DCE-43CE-99E5-2C3859F84A4B}" sibTransId="{3F75E1D3-9E79-4255-BD85-B7526C39AA75}"/>
    <dgm:cxn modelId="{634D04F0-09B4-48C6-983A-4692438918B2}" type="presOf" srcId="{4BB186F7-97DA-425C-8FAB-5467BE540841}" destId="{AE7F0EEE-4BFC-4A94-AB7B-294B6B80EC07}" srcOrd="0" destOrd="0" presId="urn:microsoft.com/office/officeart/2005/8/layout/default"/>
    <dgm:cxn modelId="{624A83F4-FB4A-480F-9BCD-52DAAB440FDA}" srcId="{5743776B-EDDD-4864-AD9A-411BDE1E3C36}" destId="{58A10CC1-424D-4FD1-9A2F-B48AB0A9983C}" srcOrd="7" destOrd="0" parTransId="{31845F07-56CA-47F4-B44C-4E6743507FE3}" sibTransId="{035997C9-2680-4F35-BB65-F5B674FE9F89}"/>
    <dgm:cxn modelId="{6AE5BB66-D7AE-4E05-88B6-246AC3277626}" srcId="{5743776B-EDDD-4864-AD9A-411BDE1E3C36}" destId="{7BF211C6-03C4-4F46-BA7F-22E54BB3FF30}" srcOrd="2" destOrd="0" parTransId="{5801FEBC-E155-489E-9A2B-0701C6BBF2E1}" sibTransId="{A2943971-F876-4DDF-82C4-C98C162D8B3B}"/>
    <dgm:cxn modelId="{23242A65-50C2-4111-B5DB-E6BE0C25C592}" type="presOf" srcId="{C4222F1A-CA87-4840-925B-DFF488FD6CD1}" destId="{DA782436-3C06-4009-9F49-D4E6D8C2AED1}" srcOrd="0" destOrd="0" presId="urn:microsoft.com/office/officeart/2005/8/layout/default"/>
    <dgm:cxn modelId="{DACD8693-B8E0-444F-A2E1-0C579C18FDC2}" type="presOf" srcId="{07B5C39A-5848-4F5D-A91E-3C37D5D457BF}" destId="{E7A5282A-9285-4FBD-8A93-19BFD0695DE0}" srcOrd="0" destOrd="0" presId="urn:microsoft.com/office/officeart/2005/8/layout/default"/>
    <dgm:cxn modelId="{52F6AF02-7E3A-46F2-A840-C0E19658A6D0}" type="presParOf" srcId="{3BDE0EC0-D612-4170-8545-07CB6653E434}" destId="{002FA37C-48A2-406C-B9D4-4A49F3B07775}" srcOrd="0" destOrd="0" presId="urn:microsoft.com/office/officeart/2005/8/layout/default"/>
    <dgm:cxn modelId="{F36EC0DA-0F82-47C6-B6B0-11E7DEB4F7ED}" type="presParOf" srcId="{3BDE0EC0-D612-4170-8545-07CB6653E434}" destId="{CC3975AD-7A51-4E8F-9796-830FF9E38357}" srcOrd="1" destOrd="0" presId="urn:microsoft.com/office/officeart/2005/8/layout/default"/>
    <dgm:cxn modelId="{B60CBC97-1A41-4610-B26D-9A5223AA7615}" type="presParOf" srcId="{3BDE0EC0-D612-4170-8545-07CB6653E434}" destId="{AE7F0EEE-4BFC-4A94-AB7B-294B6B80EC07}" srcOrd="2" destOrd="0" presId="urn:microsoft.com/office/officeart/2005/8/layout/default"/>
    <dgm:cxn modelId="{2702A593-F516-4B18-B84E-99B7246A89C5}" type="presParOf" srcId="{3BDE0EC0-D612-4170-8545-07CB6653E434}" destId="{3317C7F7-382E-4C0A-BC62-1E1A519C712D}" srcOrd="3" destOrd="0" presId="urn:microsoft.com/office/officeart/2005/8/layout/default"/>
    <dgm:cxn modelId="{920B4AB2-70E0-45D1-BEF5-87EDA915E672}" type="presParOf" srcId="{3BDE0EC0-D612-4170-8545-07CB6653E434}" destId="{9155AA68-7DD1-4988-8A77-9BF53BB10014}" srcOrd="4" destOrd="0" presId="urn:microsoft.com/office/officeart/2005/8/layout/default"/>
    <dgm:cxn modelId="{099BA978-4E33-4216-98D1-1F89DB1333BF}" type="presParOf" srcId="{3BDE0EC0-D612-4170-8545-07CB6653E434}" destId="{3C3566BD-B4AA-4F04-9A7F-468206495233}" srcOrd="5" destOrd="0" presId="urn:microsoft.com/office/officeart/2005/8/layout/default"/>
    <dgm:cxn modelId="{A171ED77-A516-4D47-AF39-D566F901A05E}" type="presParOf" srcId="{3BDE0EC0-D612-4170-8545-07CB6653E434}" destId="{DD336C7B-CBC1-4C4F-B302-EFC2C83B60F2}" srcOrd="6" destOrd="0" presId="urn:microsoft.com/office/officeart/2005/8/layout/default"/>
    <dgm:cxn modelId="{84E84F85-3551-4599-A900-DA6AC8BE8E1A}" type="presParOf" srcId="{3BDE0EC0-D612-4170-8545-07CB6653E434}" destId="{6957BE54-560F-42ED-A0E3-77057C2F6EB8}" srcOrd="7" destOrd="0" presId="urn:microsoft.com/office/officeart/2005/8/layout/default"/>
    <dgm:cxn modelId="{288471A9-A9FF-40B4-96F4-AA54FE86C1E8}" type="presParOf" srcId="{3BDE0EC0-D612-4170-8545-07CB6653E434}" destId="{E7A5282A-9285-4FBD-8A93-19BFD0695DE0}" srcOrd="8" destOrd="0" presId="urn:microsoft.com/office/officeart/2005/8/layout/default"/>
    <dgm:cxn modelId="{7B6B4665-D66E-4AC8-940E-F33D7DEE9FD1}" type="presParOf" srcId="{3BDE0EC0-D612-4170-8545-07CB6653E434}" destId="{6316D177-07EA-4F7E-9AB9-AF091E27FB8C}" srcOrd="9" destOrd="0" presId="urn:microsoft.com/office/officeart/2005/8/layout/default"/>
    <dgm:cxn modelId="{7AE1C138-F4D6-4E47-B0AC-2A7C38581621}" type="presParOf" srcId="{3BDE0EC0-D612-4170-8545-07CB6653E434}" destId="{DA782436-3C06-4009-9F49-D4E6D8C2AED1}" srcOrd="10" destOrd="0" presId="urn:microsoft.com/office/officeart/2005/8/layout/default"/>
    <dgm:cxn modelId="{74496D67-D047-474F-AAEC-BADFFD82D9CA}" type="presParOf" srcId="{3BDE0EC0-D612-4170-8545-07CB6653E434}" destId="{80D0D94E-E76B-42A1-BBDC-6FE15C163939}" srcOrd="11" destOrd="0" presId="urn:microsoft.com/office/officeart/2005/8/layout/default"/>
    <dgm:cxn modelId="{66969746-A967-46F6-B8B1-C0F61F64E490}" type="presParOf" srcId="{3BDE0EC0-D612-4170-8545-07CB6653E434}" destId="{E5D1F1AF-31DF-4E82-8191-FA0BA2F2E67F}" srcOrd="12" destOrd="0" presId="urn:microsoft.com/office/officeart/2005/8/layout/default"/>
    <dgm:cxn modelId="{24C410B6-DBA5-466C-AB2D-8FEB71756D26}" type="presParOf" srcId="{3BDE0EC0-D612-4170-8545-07CB6653E434}" destId="{9A9D9442-1F57-48FC-818D-081BC7C084D4}" srcOrd="13" destOrd="0" presId="urn:microsoft.com/office/officeart/2005/8/layout/default"/>
    <dgm:cxn modelId="{72D08807-A627-4B14-B20F-B1B123024EF1}" type="presParOf" srcId="{3BDE0EC0-D612-4170-8545-07CB6653E434}" destId="{10B3D5B2-F746-43A1-BD39-15ED697E8743}" srcOrd="14" destOrd="0" presId="urn:microsoft.com/office/officeart/2005/8/layout/default"/>
    <dgm:cxn modelId="{A091EA0E-3B84-4E6D-9FAD-DA1FCAA012D8}" type="presParOf" srcId="{3BDE0EC0-D612-4170-8545-07CB6653E434}" destId="{69F912F0-C201-4FE4-8CDE-C2506CFE2D52}" srcOrd="15" destOrd="0" presId="urn:microsoft.com/office/officeart/2005/8/layout/default"/>
    <dgm:cxn modelId="{27D9B74C-7C35-45AE-8AF6-9B3CBB0B185E}" type="presParOf" srcId="{3BDE0EC0-D612-4170-8545-07CB6653E434}" destId="{5288E610-3DD5-4DE5-8D17-DC0F7C7EA8B9}" srcOrd="16" destOrd="0" presId="urn:microsoft.com/office/officeart/2005/8/layout/default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33C3BFC1-3EFE-4731-A8A3-8B20651D871D}" type="doc">
      <dgm:prSet loTypeId="urn:microsoft.com/office/officeart/2005/8/layout/hProcess9" loCatId="process" qsTypeId="urn:microsoft.com/office/officeart/2005/8/quickstyle/simple1" qsCatId="simple" csTypeId="urn:microsoft.com/office/officeart/2005/8/colors/accent1_3" csCatId="accent1" phldr="1"/>
      <dgm:spPr/>
    </dgm:pt>
    <dgm:pt modelId="{B4A97493-ABFD-4F0C-A73C-A7A0A1B775E9}">
      <dgm:prSet phldrT="[텍스트]"/>
      <dgm:spPr/>
      <dgm:t>
        <a:bodyPr/>
        <a:lstStyle/>
        <a:p>
          <a:pPr latinLnBrk="1"/>
          <a:r>
            <a:rPr lang="ko-KR" altLang="en-US" dirty="0"/>
            <a:t>유통산업 </a:t>
          </a:r>
        </a:p>
      </dgm:t>
    </dgm:pt>
    <dgm:pt modelId="{DF7A0804-5734-47DE-BE75-8562C1F63028}" type="parTrans" cxnId="{84251FA9-2998-4C9D-856C-EA91FA9A1E36}">
      <dgm:prSet/>
      <dgm:spPr/>
      <dgm:t>
        <a:bodyPr/>
        <a:lstStyle/>
        <a:p>
          <a:pPr latinLnBrk="1"/>
          <a:endParaRPr lang="ko-KR" altLang="en-US"/>
        </a:p>
      </dgm:t>
    </dgm:pt>
    <dgm:pt modelId="{0936F9F9-7FFC-4671-9FF2-CD5A90ECF92F}" type="sibTrans" cxnId="{84251FA9-2998-4C9D-856C-EA91FA9A1E36}">
      <dgm:prSet/>
      <dgm:spPr/>
      <dgm:t>
        <a:bodyPr/>
        <a:lstStyle/>
        <a:p>
          <a:pPr latinLnBrk="1"/>
          <a:endParaRPr lang="ko-KR" altLang="en-US"/>
        </a:p>
      </dgm:t>
    </dgm:pt>
    <dgm:pt modelId="{C0C936FD-4350-4110-A722-506D2E10AC16}">
      <dgm:prSet phldrT="[텍스트]"/>
      <dgm:spPr/>
      <dgm:t>
        <a:bodyPr/>
        <a:lstStyle/>
        <a:p>
          <a:pPr marL="0" marR="0" lvl="0" indent="0" defTabSz="914400" eaLnBrk="1" fontAlgn="auto" latinLnBrk="1" hangingPunct="1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ko-KR" altLang="en-US" dirty="0"/>
            <a:t>유통기업의 </a:t>
          </a:r>
          <a:r>
            <a:rPr lang="en-US" altLang="ko-KR" dirty="0"/>
            <a:t>AI</a:t>
          </a:r>
          <a:r>
            <a:rPr lang="ko-KR" altLang="en-US" dirty="0"/>
            <a:t>활용전략</a:t>
          </a:r>
        </a:p>
        <a:p>
          <a:pPr marL="0" lvl="0" defTabSz="1822450" latinLnBrk="1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ko-KR" altLang="en-US" dirty="0"/>
        </a:p>
      </dgm:t>
    </dgm:pt>
    <dgm:pt modelId="{95183F79-2B6E-446C-B7AE-8388D15508E9}" type="parTrans" cxnId="{AA1A58FD-99A0-46DD-B2C8-3CE6FEA17D2F}">
      <dgm:prSet/>
      <dgm:spPr/>
      <dgm:t>
        <a:bodyPr/>
        <a:lstStyle/>
        <a:p>
          <a:pPr latinLnBrk="1"/>
          <a:endParaRPr lang="ko-KR" altLang="en-US"/>
        </a:p>
      </dgm:t>
    </dgm:pt>
    <dgm:pt modelId="{8DABBBC7-EB53-4355-8050-15BB2941ACF1}" type="sibTrans" cxnId="{AA1A58FD-99A0-46DD-B2C8-3CE6FEA17D2F}">
      <dgm:prSet/>
      <dgm:spPr/>
      <dgm:t>
        <a:bodyPr/>
        <a:lstStyle/>
        <a:p>
          <a:pPr latinLnBrk="1"/>
          <a:endParaRPr lang="ko-KR" altLang="en-US"/>
        </a:p>
      </dgm:t>
    </dgm:pt>
    <dgm:pt modelId="{3BEB96FD-4187-432D-8283-90F8FCD1DE5B}">
      <dgm:prSet phldrT="[텍스트]"/>
      <dgm:spPr/>
      <dgm:t>
        <a:bodyPr/>
        <a:lstStyle/>
        <a:p>
          <a:pPr latinLnBrk="1"/>
          <a:r>
            <a:rPr lang="ko-KR" altLang="en-US" dirty="0"/>
            <a:t>유통산업을 위한 정책</a:t>
          </a:r>
          <a:endParaRPr lang="en-US" altLang="ko-KR" dirty="0"/>
        </a:p>
        <a:p>
          <a:pPr latinLnBrk="1"/>
          <a:r>
            <a:rPr lang="ko-KR" altLang="en-US" dirty="0"/>
            <a:t>제안 </a:t>
          </a:r>
        </a:p>
      </dgm:t>
    </dgm:pt>
    <dgm:pt modelId="{934F62F5-6675-4FC7-92F0-5B199952D443}" type="parTrans" cxnId="{A008FFD4-A9A6-4296-A8F8-29FDB1DC9EB0}">
      <dgm:prSet/>
      <dgm:spPr/>
      <dgm:t>
        <a:bodyPr/>
        <a:lstStyle/>
        <a:p>
          <a:pPr latinLnBrk="1"/>
          <a:endParaRPr lang="ko-KR" altLang="en-US"/>
        </a:p>
      </dgm:t>
    </dgm:pt>
    <dgm:pt modelId="{C2F14BF7-D999-4DCF-806B-494CE71652F7}" type="sibTrans" cxnId="{A008FFD4-A9A6-4296-A8F8-29FDB1DC9EB0}">
      <dgm:prSet/>
      <dgm:spPr/>
      <dgm:t>
        <a:bodyPr/>
        <a:lstStyle/>
        <a:p>
          <a:pPr latinLnBrk="1"/>
          <a:endParaRPr lang="ko-KR" altLang="en-US"/>
        </a:p>
      </dgm:t>
    </dgm:pt>
    <dgm:pt modelId="{AF291FCC-68B6-474E-BD8A-E672AC540184}" type="pres">
      <dgm:prSet presAssocID="{33C3BFC1-3EFE-4731-A8A3-8B20651D871D}" presName="CompostProcess" presStyleCnt="0">
        <dgm:presLayoutVars>
          <dgm:dir/>
          <dgm:resizeHandles val="exact"/>
        </dgm:presLayoutVars>
      </dgm:prSet>
      <dgm:spPr/>
    </dgm:pt>
    <dgm:pt modelId="{A57080C2-6D2E-437A-BA8D-11E276065E31}" type="pres">
      <dgm:prSet presAssocID="{33C3BFC1-3EFE-4731-A8A3-8B20651D871D}" presName="arrow" presStyleLbl="bgShp" presStyleIdx="0" presStyleCnt="1" custLinFactNeighborX="-1412" custLinFactNeighborY="20700"/>
      <dgm:spPr/>
    </dgm:pt>
    <dgm:pt modelId="{6364D71A-9325-4D60-8F12-715D2F777A54}" type="pres">
      <dgm:prSet presAssocID="{33C3BFC1-3EFE-4731-A8A3-8B20651D871D}" presName="linearProcess" presStyleCnt="0"/>
      <dgm:spPr/>
    </dgm:pt>
    <dgm:pt modelId="{9D496B10-B9C9-4637-8072-1AAEC2A54A15}" type="pres">
      <dgm:prSet presAssocID="{B4A97493-ABFD-4F0C-A73C-A7A0A1B775E9}" presName="textNode" presStyleLbl="node1" presStyleIdx="0" presStyleCnt="3">
        <dgm:presLayoutVars>
          <dgm:bulletEnabled val="1"/>
        </dgm:presLayoutVars>
      </dgm:prSet>
      <dgm:spPr/>
      <dgm:t>
        <a:bodyPr/>
        <a:lstStyle/>
        <a:p>
          <a:pPr latinLnBrk="1"/>
          <a:endParaRPr lang="ko-KR" altLang="en-US"/>
        </a:p>
      </dgm:t>
    </dgm:pt>
    <dgm:pt modelId="{B3FCF976-4B8B-48F0-97EB-78D60915C54B}" type="pres">
      <dgm:prSet presAssocID="{0936F9F9-7FFC-4671-9FF2-CD5A90ECF92F}" presName="sibTrans" presStyleCnt="0"/>
      <dgm:spPr/>
    </dgm:pt>
    <dgm:pt modelId="{F2DB3207-8680-4D50-BA19-9F5C0989E1EE}" type="pres">
      <dgm:prSet presAssocID="{C0C936FD-4350-4110-A722-506D2E10AC16}" presName="textNode" presStyleLbl="node1" presStyleIdx="1" presStyleCnt="3">
        <dgm:presLayoutVars>
          <dgm:bulletEnabled val="1"/>
        </dgm:presLayoutVars>
      </dgm:prSet>
      <dgm:spPr/>
      <dgm:t>
        <a:bodyPr/>
        <a:lstStyle/>
        <a:p>
          <a:pPr latinLnBrk="1"/>
          <a:endParaRPr lang="ko-KR" altLang="en-US"/>
        </a:p>
      </dgm:t>
    </dgm:pt>
    <dgm:pt modelId="{DA6F7CCA-ABCE-4FDD-B5C9-25AC04CC2AB7}" type="pres">
      <dgm:prSet presAssocID="{8DABBBC7-EB53-4355-8050-15BB2941ACF1}" presName="sibTrans" presStyleCnt="0"/>
      <dgm:spPr/>
    </dgm:pt>
    <dgm:pt modelId="{7D857E43-C72F-46C3-A520-3938F14F8ADE}" type="pres">
      <dgm:prSet presAssocID="{3BEB96FD-4187-432D-8283-90F8FCD1DE5B}" presName="textNode" presStyleLbl="node1" presStyleIdx="2" presStyleCnt="3">
        <dgm:presLayoutVars>
          <dgm:bulletEnabled val="1"/>
        </dgm:presLayoutVars>
      </dgm:prSet>
      <dgm:spPr/>
      <dgm:t>
        <a:bodyPr/>
        <a:lstStyle/>
        <a:p>
          <a:pPr latinLnBrk="1"/>
          <a:endParaRPr lang="ko-KR" altLang="en-US"/>
        </a:p>
      </dgm:t>
    </dgm:pt>
  </dgm:ptLst>
  <dgm:cxnLst>
    <dgm:cxn modelId="{AA1A58FD-99A0-46DD-B2C8-3CE6FEA17D2F}" srcId="{33C3BFC1-3EFE-4731-A8A3-8B20651D871D}" destId="{C0C936FD-4350-4110-A722-506D2E10AC16}" srcOrd="1" destOrd="0" parTransId="{95183F79-2B6E-446C-B7AE-8388D15508E9}" sibTransId="{8DABBBC7-EB53-4355-8050-15BB2941ACF1}"/>
    <dgm:cxn modelId="{84251FA9-2998-4C9D-856C-EA91FA9A1E36}" srcId="{33C3BFC1-3EFE-4731-A8A3-8B20651D871D}" destId="{B4A97493-ABFD-4F0C-A73C-A7A0A1B775E9}" srcOrd="0" destOrd="0" parTransId="{DF7A0804-5734-47DE-BE75-8562C1F63028}" sibTransId="{0936F9F9-7FFC-4671-9FF2-CD5A90ECF92F}"/>
    <dgm:cxn modelId="{34BE2EFD-2619-4BD5-9E18-7E03FC94AC76}" type="presOf" srcId="{3BEB96FD-4187-432D-8283-90F8FCD1DE5B}" destId="{7D857E43-C72F-46C3-A520-3938F14F8ADE}" srcOrd="0" destOrd="0" presId="urn:microsoft.com/office/officeart/2005/8/layout/hProcess9"/>
    <dgm:cxn modelId="{A008FFD4-A9A6-4296-A8F8-29FDB1DC9EB0}" srcId="{33C3BFC1-3EFE-4731-A8A3-8B20651D871D}" destId="{3BEB96FD-4187-432D-8283-90F8FCD1DE5B}" srcOrd="2" destOrd="0" parTransId="{934F62F5-6675-4FC7-92F0-5B199952D443}" sibTransId="{C2F14BF7-D999-4DCF-806B-494CE71652F7}"/>
    <dgm:cxn modelId="{621940F7-3CE1-4BB4-AF8C-11D3F05094D5}" type="presOf" srcId="{C0C936FD-4350-4110-A722-506D2E10AC16}" destId="{F2DB3207-8680-4D50-BA19-9F5C0989E1EE}" srcOrd="0" destOrd="0" presId="urn:microsoft.com/office/officeart/2005/8/layout/hProcess9"/>
    <dgm:cxn modelId="{111429AD-914C-451B-A2DB-E9651AC6D9E0}" type="presOf" srcId="{33C3BFC1-3EFE-4731-A8A3-8B20651D871D}" destId="{AF291FCC-68B6-474E-BD8A-E672AC540184}" srcOrd="0" destOrd="0" presId="urn:microsoft.com/office/officeart/2005/8/layout/hProcess9"/>
    <dgm:cxn modelId="{C738A8F2-7553-40EF-BCE7-B09D54F0009B}" type="presOf" srcId="{B4A97493-ABFD-4F0C-A73C-A7A0A1B775E9}" destId="{9D496B10-B9C9-4637-8072-1AAEC2A54A15}" srcOrd="0" destOrd="0" presId="urn:microsoft.com/office/officeart/2005/8/layout/hProcess9"/>
    <dgm:cxn modelId="{A5538EA5-D5FE-4492-990F-02165BB19C5D}" type="presParOf" srcId="{AF291FCC-68B6-474E-BD8A-E672AC540184}" destId="{A57080C2-6D2E-437A-BA8D-11E276065E31}" srcOrd="0" destOrd="0" presId="urn:microsoft.com/office/officeart/2005/8/layout/hProcess9"/>
    <dgm:cxn modelId="{299E23A2-6967-42D2-B1F3-BCF0F3E3C9EA}" type="presParOf" srcId="{AF291FCC-68B6-474E-BD8A-E672AC540184}" destId="{6364D71A-9325-4D60-8F12-715D2F777A54}" srcOrd="1" destOrd="0" presId="urn:microsoft.com/office/officeart/2005/8/layout/hProcess9"/>
    <dgm:cxn modelId="{F974835C-2030-4D7F-8490-B49ABDB4531A}" type="presParOf" srcId="{6364D71A-9325-4D60-8F12-715D2F777A54}" destId="{9D496B10-B9C9-4637-8072-1AAEC2A54A15}" srcOrd="0" destOrd="0" presId="urn:microsoft.com/office/officeart/2005/8/layout/hProcess9"/>
    <dgm:cxn modelId="{00CE3774-E206-4885-A2CD-CD3339D69CC9}" type="presParOf" srcId="{6364D71A-9325-4D60-8F12-715D2F777A54}" destId="{B3FCF976-4B8B-48F0-97EB-78D60915C54B}" srcOrd="1" destOrd="0" presId="urn:microsoft.com/office/officeart/2005/8/layout/hProcess9"/>
    <dgm:cxn modelId="{74E923BD-BC56-4559-8E70-3FE4B868D3FE}" type="presParOf" srcId="{6364D71A-9325-4D60-8F12-715D2F777A54}" destId="{F2DB3207-8680-4D50-BA19-9F5C0989E1EE}" srcOrd="2" destOrd="0" presId="urn:microsoft.com/office/officeart/2005/8/layout/hProcess9"/>
    <dgm:cxn modelId="{F9B59C85-801A-40A4-A62A-022792EE7BED}" type="presParOf" srcId="{6364D71A-9325-4D60-8F12-715D2F777A54}" destId="{DA6F7CCA-ABCE-4FDD-B5C9-25AC04CC2AB7}" srcOrd="3" destOrd="0" presId="urn:microsoft.com/office/officeart/2005/8/layout/hProcess9"/>
    <dgm:cxn modelId="{1F2C785D-49BB-4272-A4A1-1059157EE8F9}" type="presParOf" srcId="{6364D71A-9325-4D60-8F12-715D2F777A54}" destId="{7D857E43-C72F-46C3-A520-3938F14F8ADE}" srcOrd="4" destOrd="0" presId="urn:microsoft.com/office/officeart/2005/8/layout/hProcess9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A3B70DD1-95FE-451F-B705-040E68BCF743}" type="doc">
      <dgm:prSet loTypeId="urn:microsoft.com/office/officeart/2005/8/layout/radial4" loCatId="relationship" qsTypeId="urn:microsoft.com/office/officeart/2005/8/quickstyle/simple1" qsCatId="simple" csTypeId="urn:microsoft.com/office/officeart/2005/8/colors/accent4_1" csCatId="accent4" phldr="1"/>
      <dgm:spPr/>
      <dgm:t>
        <a:bodyPr/>
        <a:lstStyle/>
        <a:p>
          <a:pPr latinLnBrk="1"/>
          <a:endParaRPr lang="ko-KR" altLang="en-US"/>
        </a:p>
      </dgm:t>
    </dgm:pt>
    <dgm:pt modelId="{C907EEFD-B962-4A14-BAD7-DE8806D15CEF}">
      <dgm:prSet phldrT="[텍스트]" custT="1"/>
      <dgm:spPr>
        <a:solidFill>
          <a:srgbClr val="002060"/>
        </a:solidFill>
      </dgm:spPr>
      <dgm:t>
        <a:bodyPr/>
        <a:lstStyle/>
        <a:p>
          <a:pPr marL="0" marR="0" lvl="0" indent="0" defTabSz="914400" eaLnBrk="1" fontAlgn="auto" latinLnBrk="1" hangingPunct="1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endParaRPr lang="en-US" altLang="ko-KR" sz="4000" dirty="0"/>
        </a:p>
        <a:p>
          <a:pPr marL="0" marR="0" lvl="0" indent="0" defTabSz="914400" eaLnBrk="1" fontAlgn="auto" latinLnBrk="1" hangingPunct="1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en-US" altLang="ko-KR" sz="4000" dirty="0">
              <a:solidFill>
                <a:schemeClr val="bg1"/>
              </a:solidFill>
            </a:rPr>
            <a:t>Big</a:t>
          </a:r>
          <a:r>
            <a:rPr lang="ko-KR" altLang="en-US" sz="4000" dirty="0">
              <a:solidFill>
                <a:schemeClr val="bg1"/>
              </a:solidFill>
            </a:rPr>
            <a:t> </a:t>
          </a:r>
          <a:r>
            <a:rPr lang="en-US" altLang="ko-KR" sz="4000" dirty="0">
              <a:solidFill>
                <a:schemeClr val="bg1"/>
              </a:solidFill>
            </a:rPr>
            <a:t>Data</a:t>
          </a:r>
        </a:p>
        <a:p>
          <a:pPr marL="0" marR="0" lvl="0" indent="0" defTabSz="914400" eaLnBrk="1" fontAlgn="auto" latinLnBrk="1" hangingPunct="1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ko-KR" altLang="en-US" sz="2400" dirty="0">
              <a:solidFill>
                <a:schemeClr val="bg1"/>
              </a:solidFill>
            </a:rPr>
            <a:t>변화 지속</a:t>
          </a:r>
          <a:endParaRPr lang="en-US" altLang="ko-KR" sz="2400" dirty="0">
            <a:solidFill>
              <a:schemeClr val="bg1"/>
            </a:solidFill>
          </a:endParaRPr>
        </a:p>
        <a:p>
          <a:pPr marL="0" marR="0" lvl="0" indent="0" defTabSz="914400" eaLnBrk="1" fontAlgn="auto" latinLnBrk="1" hangingPunct="1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en-US" altLang="ko-KR" sz="1200" dirty="0" err="1">
              <a:solidFill>
                <a:schemeClr val="bg1"/>
              </a:solidFill>
            </a:rPr>
            <a:t>Mckinsey</a:t>
          </a:r>
          <a:r>
            <a:rPr lang="en-US" altLang="ko-KR" sz="1200" dirty="0">
              <a:solidFill>
                <a:schemeClr val="bg1"/>
              </a:solidFill>
            </a:rPr>
            <a:t> </a:t>
          </a:r>
          <a:r>
            <a:rPr lang="ko-KR" altLang="en-US" sz="1200" dirty="0">
              <a:solidFill>
                <a:schemeClr val="bg1"/>
              </a:solidFill>
            </a:rPr>
            <a:t> </a:t>
          </a:r>
          <a:r>
            <a:rPr lang="en-US" altLang="ko-KR" sz="2400" dirty="0">
              <a:solidFill>
                <a:schemeClr val="bg1"/>
              </a:solidFill>
            </a:rPr>
            <a:t> </a:t>
          </a:r>
          <a:endParaRPr lang="ko-KR" altLang="en-US" sz="2400" dirty="0">
            <a:solidFill>
              <a:schemeClr val="bg1"/>
            </a:solidFill>
          </a:endParaRPr>
        </a:p>
        <a:p>
          <a:pPr marL="0" lvl="0" defTabSz="2889250" latinLnBrk="1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ko-KR" altLang="en-US" sz="4000" b="1" i="1" dirty="0">
            <a:solidFill>
              <a:schemeClr val="bg1"/>
            </a:solidFill>
          </a:endParaRPr>
        </a:p>
      </dgm:t>
    </dgm:pt>
    <dgm:pt modelId="{01148B5B-A810-4485-9C54-28EBDB9EA478}" type="parTrans" cxnId="{4D6C60FD-F473-48E2-8401-4FBFD2465D97}">
      <dgm:prSet/>
      <dgm:spPr/>
      <dgm:t>
        <a:bodyPr/>
        <a:lstStyle/>
        <a:p>
          <a:pPr latinLnBrk="1"/>
          <a:endParaRPr lang="ko-KR" altLang="en-US"/>
        </a:p>
      </dgm:t>
    </dgm:pt>
    <dgm:pt modelId="{5B1F1FDC-3391-4719-B489-ACD10E2EA777}" type="sibTrans" cxnId="{4D6C60FD-F473-48E2-8401-4FBFD2465D97}">
      <dgm:prSet/>
      <dgm:spPr/>
      <dgm:t>
        <a:bodyPr/>
        <a:lstStyle/>
        <a:p>
          <a:pPr latinLnBrk="1"/>
          <a:endParaRPr lang="ko-KR" altLang="en-US"/>
        </a:p>
      </dgm:t>
    </dgm:pt>
    <dgm:pt modelId="{7379F841-48B7-4EEB-9B6D-52B61C8BF860}">
      <dgm:prSet phldrT="[텍스트]"/>
      <dgm:spPr/>
      <dgm:t>
        <a:bodyPr/>
        <a:lstStyle/>
        <a:p>
          <a:pPr latinLnBrk="1"/>
          <a:r>
            <a:rPr lang="ko-KR" altLang="en-US" b="1" dirty="0">
              <a:solidFill>
                <a:srgbClr val="222222"/>
              </a:solidFill>
              <a:latin typeface="AppleSDGothicNeo-Light"/>
            </a:rPr>
            <a:t>생성소멸 속도</a:t>
          </a:r>
          <a:r>
            <a:rPr lang="en-US" altLang="ko-KR" b="1" dirty="0">
              <a:solidFill>
                <a:srgbClr val="222222"/>
              </a:solidFill>
              <a:latin typeface="AppleSDGothicNeo-Light"/>
            </a:rPr>
            <a:t>/</a:t>
          </a:r>
          <a:r>
            <a:rPr lang="ko-KR" altLang="en-US" b="1" dirty="0">
              <a:solidFill>
                <a:srgbClr val="222222"/>
              </a:solidFill>
              <a:latin typeface="AppleSDGothicNeo-Light"/>
            </a:rPr>
            <a:t>주기 단축             </a:t>
          </a:r>
          <a:r>
            <a:rPr lang="en-US" altLang="ko-KR" b="1" dirty="0">
              <a:solidFill>
                <a:srgbClr val="222222"/>
              </a:solidFill>
              <a:latin typeface="AppleSDGothicNeo-Light"/>
            </a:rPr>
            <a:t>* </a:t>
          </a:r>
          <a:r>
            <a:rPr lang="ko-KR" altLang="en-US" b="1" dirty="0">
              <a:solidFill>
                <a:srgbClr val="222222"/>
              </a:solidFill>
              <a:latin typeface="AppleSDGothicNeo-Light"/>
            </a:rPr>
            <a:t>다이내믹하게 변화 </a:t>
          </a:r>
          <a:endParaRPr lang="ko-KR" altLang="en-US" dirty="0"/>
        </a:p>
      </dgm:t>
    </dgm:pt>
    <dgm:pt modelId="{3F1C469D-05A8-420A-BC92-872A5AE70B6E}" type="parTrans" cxnId="{730429FC-EFD1-4FBA-833C-213E527980E7}">
      <dgm:prSet/>
      <dgm:spPr/>
      <dgm:t>
        <a:bodyPr/>
        <a:lstStyle/>
        <a:p>
          <a:pPr latinLnBrk="1"/>
          <a:endParaRPr lang="ko-KR" altLang="en-US"/>
        </a:p>
      </dgm:t>
    </dgm:pt>
    <dgm:pt modelId="{26D3C7FB-19E4-40D9-8B74-EE8451D4EFD5}" type="sibTrans" cxnId="{730429FC-EFD1-4FBA-833C-213E527980E7}">
      <dgm:prSet/>
      <dgm:spPr/>
      <dgm:t>
        <a:bodyPr/>
        <a:lstStyle/>
        <a:p>
          <a:pPr latinLnBrk="1"/>
          <a:endParaRPr lang="ko-KR" altLang="en-US"/>
        </a:p>
      </dgm:t>
    </dgm:pt>
    <dgm:pt modelId="{60B73059-85C1-4E86-98E5-356C64630D05}">
      <dgm:prSet phldrT="[텍스트]"/>
      <dgm:spPr/>
      <dgm:t>
        <a:bodyPr/>
        <a:lstStyle/>
        <a:p>
          <a:pPr latinLnBrk="1"/>
          <a:r>
            <a:rPr lang="ko-KR" altLang="en-US" b="1" dirty="0">
              <a:solidFill>
                <a:srgbClr val="222222"/>
              </a:solidFill>
              <a:latin typeface="AppleSDGothicNeo-Light"/>
            </a:rPr>
            <a:t>사용자의 필요성에 따라 목적성  </a:t>
          </a:r>
          <a:endParaRPr lang="en-US" altLang="ko-KR" b="1" dirty="0">
            <a:solidFill>
              <a:srgbClr val="222222"/>
            </a:solidFill>
            <a:latin typeface="AppleSDGothicNeo-Light"/>
          </a:endParaRPr>
        </a:p>
        <a:p>
          <a:pPr latinLnBrk="1"/>
          <a:r>
            <a:rPr lang="ko-KR" altLang="en-US" b="1" dirty="0">
              <a:solidFill>
                <a:srgbClr val="222222"/>
              </a:solidFill>
              <a:latin typeface="AppleSDGothicNeo-Light"/>
            </a:rPr>
            <a:t> </a:t>
          </a:r>
          <a:endParaRPr lang="ko-KR" altLang="en-US" dirty="0"/>
        </a:p>
      </dgm:t>
    </dgm:pt>
    <dgm:pt modelId="{1C1809AF-95F0-4A93-9065-E0264F3D57F0}" type="parTrans" cxnId="{F8436ACF-50AC-4F5E-9417-FB69C2850265}">
      <dgm:prSet/>
      <dgm:spPr/>
      <dgm:t>
        <a:bodyPr/>
        <a:lstStyle/>
        <a:p>
          <a:pPr latinLnBrk="1"/>
          <a:endParaRPr lang="ko-KR" altLang="en-US"/>
        </a:p>
      </dgm:t>
    </dgm:pt>
    <dgm:pt modelId="{460BAEE9-C53B-4973-A98C-A3EC4A315FB4}" type="sibTrans" cxnId="{F8436ACF-50AC-4F5E-9417-FB69C2850265}">
      <dgm:prSet/>
      <dgm:spPr/>
      <dgm:t>
        <a:bodyPr/>
        <a:lstStyle/>
        <a:p>
          <a:pPr latinLnBrk="1"/>
          <a:endParaRPr lang="ko-KR" altLang="en-US"/>
        </a:p>
      </dgm:t>
    </dgm:pt>
    <dgm:pt modelId="{482BD57B-7175-47D8-A2AC-860AB8280CDC}">
      <dgm:prSet phldrT="[텍스트]" custT="1"/>
      <dgm:spPr>
        <a:solidFill>
          <a:srgbClr val="FF0000"/>
        </a:solidFill>
      </dgm:spPr>
      <dgm:t>
        <a:bodyPr/>
        <a:lstStyle/>
        <a:p>
          <a:pPr latinLnBrk="1"/>
          <a:r>
            <a:rPr lang="ko-KR" altLang="en-US" sz="1600" b="0" dirty="0">
              <a:solidFill>
                <a:schemeClr val="bg1"/>
              </a:solidFill>
              <a:latin typeface="AppleSDGothicNeo-Light"/>
            </a:rPr>
            <a:t>가치와 수익성</a:t>
          </a:r>
          <a:endParaRPr lang="en-US" altLang="ko-KR" sz="1600" b="0" dirty="0">
            <a:solidFill>
              <a:schemeClr val="bg1"/>
            </a:solidFill>
            <a:latin typeface="AppleSDGothicNeo-Light"/>
          </a:endParaRPr>
        </a:p>
        <a:p>
          <a:pPr latinLnBrk="1"/>
          <a:r>
            <a:rPr lang="ko-KR" altLang="en-US" sz="1600" b="0" dirty="0">
              <a:solidFill>
                <a:schemeClr val="bg1"/>
              </a:solidFill>
              <a:latin typeface="AppleSDGothicNeo-Light"/>
            </a:rPr>
            <a:t> </a:t>
          </a:r>
          <a:r>
            <a:rPr lang="en-US" altLang="ko-KR" sz="1600" b="0" dirty="0">
              <a:solidFill>
                <a:schemeClr val="bg1"/>
              </a:solidFill>
              <a:latin typeface="AppleSDGothicNeo-Light"/>
            </a:rPr>
            <a:t>NEW Business </a:t>
          </a:r>
          <a:endParaRPr lang="ko-KR" altLang="en-US" sz="1600" b="0" dirty="0">
            <a:solidFill>
              <a:schemeClr val="bg1"/>
            </a:solidFill>
          </a:endParaRPr>
        </a:p>
      </dgm:t>
    </dgm:pt>
    <dgm:pt modelId="{B1C3B7A8-1EEF-4144-B453-597B141072B7}" type="parTrans" cxnId="{F697B2A9-78E2-49A1-B9FD-DA30C0BB2260}">
      <dgm:prSet/>
      <dgm:spPr/>
      <dgm:t>
        <a:bodyPr/>
        <a:lstStyle/>
        <a:p>
          <a:pPr latinLnBrk="1"/>
          <a:endParaRPr lang="ko-KR" altLang="en-US"/>
        </a:p>
      </dgm:t>
    </dgm:pt>
    <dgm:pt modelId="{8291CA5B-4560-4B50-A98D-D777061DEE46}" type="sibTrans" cxnId="{F697B2A9-78E2-49A1-B9FD-DA30C0BB2260}">
      <dgm:prSet/>
      <dgm:spPr/>
      <dgm:t>
        <a:bodyPr/>
        <a:lstStyle/>
        <a:p>
          <a:pPr latinLnBrk="1"/>
          <a:endParaRPr lang="ko-KR" altLang="en-US"/>
        </a:p>
      </dgm:t>
    </dgm:pt>
    <dgm:pt modelId="{F85D8A22-8051-45E3-9983-3E27F91A4B58}">
      <dgm:prSet/>
      <dgm:spPr>
        <a:solidFill>
          <a:srgbClr val="FFC000"/>
        </a:solidFill>
      </dgm:spPr>
      <dgm:t>
        <a:bodyPr/>
        <a:lstStyle/>
        <a:p>
          <a:pPr latinLnBrk="1"/>
          <a:r>
            <a:rPr lang="ko-KR" altLang="en-US" b="1" dirty="0">
              <a:solidFill>
                <a:srgbClr val="222222"/>
              </a:solidFill>
              <a:latin typeface="AppleSDGothicNeo-Light"/>
            </a:rPr>
            <a:t>방대한 양</a:t>
          </a:r>
          <a:endParaRPr lang="en-US" altLang="ko-KR" b="1" dirty="0">
            <a:solidFill>
              <a:srgbClr val="222222"/>
            </a:solidFill>
            <a:latin typeface="AppleSDGothicNeo-Light"/>
          </a:endParaRPr>
        </a:p>
        <a:p>
          <a:pPr latinLnBrk="1"/>
          <a:r>
            <a:rPr lang="en-US" altLang="ko-KR" b="1" dirty="0">
              <a:solidFill>
                <a:srgbClr val="222222"/>
              </a:solidFill>
              <a:latin typeface="AppleSDGothicNeo-Light"/>
            </a:rPr>
            <a:t>* </a:t>
          </a:r>
          <a:r>
            <a:rPr lang="ko-KR" altLang="en-US" b="1" dirty="0">
              <a:solidFill>
                <a:srgbClr val="222222"/>
              </a:solidFill>
              <a:latin typeface="AppleSDGothicNeo-Light"/>
            </a:rPr>
            <a:t>테라</a:t>
          </a:r>
          <a:r>
            <a:rPr lang="en-US" altLang="ko-KR" b="1" dirty="0">
              <a:solidFill>
                <a:srgbClr val="222222"/>
              </a:solidFill>
              <a:latin typeface="AppleSDGothicNeo-Light"/>
            </a:rPr>
            <a:t>/</a:t>
          </a:r>
          <a:r>
            <a:rPr lang="ko-KR" altLang="en-US" b="1" dirty="0" err="1">
              <a:solidFill>
                <a:srgbClr val="222222"/>
              </a:solidFill>
              <a:latin typeface="AppleSDGothicNeo-Light"/>
            </a:rPr>
            <a:t>페타바이트</a:t>
          </a:r>
          <a:r>
            <a:rPr lang="ko-KR" altLang="en-US" b="1" dirty="0">
              <a:solidFill>
                <a:srgbClr val="222222"/>
              </a:solidFill>
              <a:latin typeface="AppleSDGothicNeo-Light"/>
            </a:rPr>
            <a:t>  </a:t>
          </a:r>
          <a:endParaRPr lang="ko-KR" altLang="en-US" dirty="0"/>
        </a:p>
      </dgm:t>
    </dgm:pt>
    <dgm:pt modelId="{2F884952-0D4B-4873-AB99-9894A16D6651}" type="parTrans" cxnId="{244BF23F-7DE2-408B-8E76-29E072A862EF}">
      <dgm:prSet/>
      <dgm:spPr/>
      <dgm:t>
        <a:bodyPr/>
        <a:lstStyle/>
        <a:p>
          <a:pPr latinLnBrk="1"/>
          <a:endParaRPr lang="ko-KR" altLang="en-US"/>
        </a:p>
      </dgm:t>
    </dgm:pt>
    <dgm:pt modelId="{0EB38404-81CC-4AEC-982B-59DBC4B52687}" type="sibTrans" cxnId="{244BF23F-7DE2-408B-8E76-29E072A862EF}">
      <dgm:prSet/>
      <dgm:spPr/>
      <dgm:t>
        <a:bodyPr/>
        <a:lstStyle/>
        <a:p>
          <a:pPr latinLnBrk="1"/>
          <a:endParaRPr lang="ko-KR" altLang="en-US"/>
        </a:p>
      </dgm:t>
    </dgm:pt>
    <dgm:pt modelId="{CBE5A93B-A0A7-46DB-BFAC-1F69C2593EA9}">
      <dgm:prSet/>
      <dgm:spPr>
        <a:solidFill>
          <a:schemeClr val="accent1">
            <a:lumMod val="40000"/>
            <a:lumOff val="60000"/>
          </a:schemeClr>
        </a:solidFill>
      </dgm:spPr>
      <dgm:t>
        <a:bodyPr/>
        <a:lstStyle/>
        <a:p>
          <a:pPr marL="0" marR="0" lvl="0" indent="0" defTabSz="914400" eaLnBrk="1" fontAlgn="auto" latinLnBrk="1" hangingPunct="1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ko-KR" altLang="en-US" b="1" dirty="0">
              <a:solidFill>
                <a:srgbClr val="222222"/>
              </a:solidFill>
              <a:latin typeface="AppleSDGothicNeo-Light"/>
            </a:rPr>
            <a:t>다양한 형태</a:t>
          </a:r>
          <a:r>
            <a:rPr lang="en-US" altLang="ko-KR" b="1" dirty="0">
              <a:solidFill>
                <a:srgbClr val="222222"/>
              </a:solidFill>
              <a:latin typeface="AppleSDGothicNeo-Light"/>
            </a:rPr>
            <a:t>/</a:t>
          </a:r>
        </a:p>
        <a:p>
          <a:pPr marL="0" marR="0" lvl="0" indent="0" defTabSz="914400" eaLnBrk="1" fontAlgn="auto" latinLnBrk="1" hangingPunct="1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ko-KR" altLang="en-US" b="1" dirty="0">
              <a:solidFill>
                <a:srgbClr val="222222"/>
              </a:solidFill>
              <a:latin typeface="AppleSDGothicNeo-Light"/>
            </a:rPr>
            <a:t>복잡 혼용 </a:t>
          </a:r>
          <a:endParaRPr lang="ko-KR" altLang="en-US" b="1" dirty="0"/>
        </a:p>
        <a:p>
          <a:pPr marL="0" lvl="0" defTabSz="1022350" latinLnBrk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ko-KR" altLang="en-US" dirty="0"/>
        </a:p>
      </dgm:t>
    </dgm:pt>
    <dgm:pt modelId="{BC27B8E9-F4F2-4DEE-958D-87FEA6B849DD}" type="parTrans" cxnId="{7C547677-10B7-4B9F-9950-16AC6C5A6B32}">
      <dgm:prSet/>
      <dgm:spPr/>
      <dgm:t>
        <a:bodyPr/>
        <a:lstStyle/>
        <a:p>
          <a:pPr latinLnBrk="1"/>
          <a:endParaRPr lang="ko-KR" altLang="en-US"/>
        </a:p>
      </dgm:t>
    </dgm:pt>
    <dgm:pt modelId="{BC35D436-8DFD-46B5-83A6-8D1FE64FAC58}" type="sibTrans" cxnId="{7C547677-10B7-4B9F-9950-16AC6C5A6B32}">
      <dgm:prSet/>
      <dgm:spPr/>
      <dgm:t>
        <a:bodyPr/>
        <a:lstStyle/>
        <a:p>
          <a:pPr latinLnBrk="1"/>
          <a:endParaRPr lang="ko-KR" altLang="en-US"/>
        </a:p>
      </dgm:t>
    </dgm:pt>
    <dgm:pt modelId="{094D204E-6D51-42D4-96A6-57D95E2C0E45}">
      <dgm:prSet custT="1"/>
      <dgm:spPr/>
      <dgm:t>
        <a:bodyPr/>
        <a:lstStyle/>
        <a:p>
          <a:pPr latinLnBrk="1"/>
          <a:r>
            <a:rPr lang="ko-KR" altLang="en-US" sz="1800" b="1" dirty="0">
              <a:solidFill>
                <a:srgbClr val="222222"/>
              </a:solidFill>
              <a:latin typeface="AppleSDGothicNeo-Light"/>
            </a:rPr>
            <a:t>발굴</a:t>
          </a:r>
          <a:r>
            <a:rPr lang="en-US" altLang="ko-KR" sz="1800" b="1" dirty="0">
              <a:solidFill>
                <a:srgbClr val="222222"/>
              </a:solidFill>
              <a:latin typeface="AppleSDGothicNeo-Light"/>
            </a:rPr>
            <a:t>/</a:t>
          </a:r>
          <a:r>
            <a:rPr lang="ko-KR" altLang="en-US" sz="1800" b="1" dirty="0">
              <a:solidFill>
                <a:srgbClr val="222222"/>
              </a:solidFill>
              <a:latin typeface="AppleSDGothicNeo-Light"/>
            </a:rPr>
            <a:t>저장</a:t>
          </a:r>
          <a:r>
            <a:rPr lang="en-US" altLang="ko-KR" sz="1800" b="1" dirty="0">
              <a:solidFill>
                <a:srgbClr val="222222"/>
              </a:solidFill>
              <a:latin typeface="AppleSDGothicNeo-Light"/>
            </a:rPr>
            <a:t>/</a:t>
          </a:r>
          <a:r>
            <a:rPr lang="ko-KR" altLang="en-US" sz="1800" b="1" dirty="0">
              <a:solidFill>
                <a:srgbClr val="222222"/>
              </a:solidFill>
              <a:latin typeface="AppleSDGothicNeo-Light"/>
            </a:rPr>
            <a:t>관리</a:t>
          </a:r>
          <a:r>
            <a:rPr lang="en-US" altLang="ko-KR" sz="1800" b="1" dirty="0">
              <a:solidFill>
                <a:srgbClr val="222222"/>
              </a:solidFill>
              <a:latin typeface="AppleSDGothicNeo-Light"/>
            </a:rPr>
            <a:t>/</a:t>
          </a:r>
        </a:p>
        <a:p>
          <a:pPr latinLnBrk="1"/>
          <a:r>
            <a:rPr lang="ko-KR" altLang="en-US" sz="1800" b="1" dirty="0">
              <a:solidFill>
                <a:srgbClr val="222222"/>
              </a:solidFill>
              <a:latin typeface="AppleSDGothicNeo-Light"/>
            </a:rPr>
            <a:t>분석</a:t>
          </a:r>
          <a:r>
            <a:rPr lang="en-US" altLang="ko-KR" sz="1800" b="1" dirty="0">
              <a:solidFill>
                <a:srgbClr val="222222"/>
              </a:solidFill>
              <a:latin typeface="AppleSDGothicNeo-Light"/>
            </a:rPr>
            <a:t>&gt; </a:t>
          </a:r>
          <a:r>
            <a:rPr lang="ko-KR" altLang="en-US" sz="1800" b="1" dirty="0">
              <a:solidFill>
                <a:srgbClr val="222222"/>
              </a:solidFill>
              <a:latin typeface="AppleSDGothicNeo-Light"/>
            </a:rPr>
            <a:t>표현 전달</a:t>
          </a:r>
          <a:endParaRPr lang="en-US" altLang="ko-KR" sz="1800" b="1" dirty="0">
            <a:solidFill>
              <a:srgbClr val="222222"/>
            </a:solidFill>
            <a:latin typeface="AppleSDGothicNeo-Light"/>
          </a:endParaRPr>
        </a:p>
        <a:p>
          <a:pPr latinLnBrk="1"/>
          <a:r>
            <a:rPr lang="ko-KR" altLang="en-US" sz="1800" b="1" dirty="0">
              <a:solidFill>
                <a:srgbClr val="222222"/>
              </a:solidFill>
              <a:latin typeface="AppleSDGothicNeo-Light"/>
            </a:rPr>
            <a:t>통합프로세스</a:t>
          </a:r>
          <a:endParaRPr lang="ko-KR" altLang="en-US" sz="1600" dirty="0"/>
        </a:p>
      </dgm:t>
    </dgm:pt>
    <dgm:pt modelId="{A44D9AFB-B154-4CAB-89BE-E6AB1745435B}" type="parTrans" cxnId="{7A4024F0-92A3-4788-A423-96F7ECC802A7}">
      <dgm:prSet/>
      <dgm:spPr/>
      <dgm:t>
        <a:bodyPr/>
        <a:lstStyle/>
        <a:p>
          <a:pPr latinLnBrk="1"/>
          <a:endParaRPr lang="ko-KR" altLang="en-US"/>
        </a:p>
      </dgm:t>
    </dgm:pt>
    <dgm:pt modelId="{335CAD0B-9ACA-424E-BED1-0E077FC7EAA1}" type="sibTrans" cxnId="{7A4024F0-92A3-4788-A423-96F7ECC802A7}">
      <dgm:prSet/>
      <dgm:spPr/>
      <dgm:t>
        <a:bodyPr/>
        <a:lstStyle/>
        <a:p>
          <a:pPr latinLnBrk="1"/>
          <a:endParaRPr lang="ko-KR" altLang="en-US"/>
        </a:p>
      </dgm:t>
    </dgm:pt>
    <dgm:pt modelId="{F3D48464-37F0-4E6B-AE0A-171548AD0BA7}" type="pres">
      <dgm:prSet presAssocID="{A3B70DD1-95FE-451F-B705-040E68BCF743}" presName="cycle" presStyleCnt="0">
        <dgm:presLayoutVars>
          <dgm:chMax val="1"/>
          <dgm:dir/>
          <dgm:animLvl val="ctr"/>
          <dgm:resizeHandles val="exact"/>
        </dgm:presLayoutVars>
      </dgm:prSet>
      <dgm:spPr/>
      <dgm:t>
        <a:bodyPr/>
        <a:lstStyle/>
        <a:p>
          <a:pPr latinLnBrk="1"/>
          <a:endParaRPr lang="ko-KR" altLang="en-US"/>
        </a:p>
      </dgm:t>
    </dgm:pt>
    <dgm:pt modelId="{57727328-49F7-4D72-80DC-1865A3C2C4F9}" type="pres">
      <dgm:prSet presAssocID="{C907EEFD-B962-4A14-BAD7-DE8806D15CEF}" presName="centerShape" presStyleLbl="node0" presStyleIdx="0" presStyleCnt="1"/>
      <dgm:spPr/>
      <dgm:t>
        <a:bodyPr/>
        <a:lstStyle/>
        <a:p>
          <a:pPr latinLnBrk="1"/>
          <a:endParaRPr lang="ko-KR" altLang="en-US"/>
        </a:p>
      </dgm:t>
    </dgm:pt>
    <dgm:pt modelId="{D84B4087-DBA9-45EB-A9D2-82E339EF6091}" type="pres">
      <dgm:prSet presAssocID="{BC27B8E9-F4F2-4DEE-958D-87FEA6B849DD}" presName="parTrans" presStyleLbl="bgSibTrans2D1" presStyleIdx="0" presStyleCnt="6"/>
      <dgm:spPr/>
      <dgm:t>
        <a:bodyPr/>
        <a:lstStyle/>
        <a:p>
          <a:pPr latinLnBrk="1"/>
          <a:endParaRPr lang="ko-KR" altLang="en-US"/>
        </a:p>
      </dgm:t>
    </dgm:pt>
    <dgm:pt modelId="{B05B0508-FC91-4D63-9E72-81202E267C93}" type="pres">
      <dgm:prSet presAssocID="{CBE5A93B-A0A7-46DB-BFAC-1F69C2593EA9}" presName="node" presStyleLbl="node1" presStyleIdx="0" presStyleCnt="6" custScaleX="128476" custScaleY="103658" custRadScaleRad="97739" custRadScaleInc="-6241">
        <dgm:presLayoutVars>
          <dgm:bulletEnabled val="1"/>
        </dgm:presLayoutVars>
      </dgm:prSet>
      <dgm:spPr/>
      <dgm:t>
        <a:bodyPr/>
        <a:lstStyle/>
        <a:p>
          <a:pPr latinLnBrk="1"/>
          <a:endParaRPr lang="ko-KR" altLang="en-US"/>
        </a:p>
      </dgm:t>
    </dgm:pt>
    <dgm:pt modelId="{A216A879-4BAB-42DE-9E23-C7747B8E0E7F}" type="pres">
      <dgm:prSet presAssocID="{3F1C469D-05A8-420A-BC92-872A5AE70B6E}" presName="parTrans" presStyleLbl="bgSibTrans2D1" presStyleIdx="1" presStyleCnt="6"/>
      <dgm:spPr/>
      <dgm:t>
        <a:bodyPr/>
        <a:lstStyle/>
        <a:p>
          <a:pPr latinLnBrk="1"/>
          <a:endParaRPr lang="ko-KR" altLang="en-US"/>
        </a:p>
      </dgm:t>
    </dgm:pt>
    <dgm:pt modelId="{CBE14429-FD07-40B2-967D-5D7B3B09A37C}" type="pres">
      <dgm:prSet presAssocID="{7379F841-48B7-4EEB-9B6D-52B61C8BF860}" presName="node" presStyleLbl="node1" presStyleIdx="1" presStyleCnt="6" custScaleX="170991" custScaleY="103046" custRadScaleRad="125640" custRadScaleInc="-26051">
        <dgm:presLayoutVars>
          <dgm:bulletEnabled val="1"/>
        </dgm:presLayoutVars>
      </dgm:prSet>
      <dgm:spPr/>
      <dgm:t>
        <a:bodyPr/>
        <a:lstStyle/>
        <a:p>
          <a:pPr latinLnBrk="1"/>
          <a:endParaRPr lang="ko-KR" altLang="en-US"/>
        </a:p>
      </dgm:t>
    </dgm:pt>
    <dgm:pt modelId="{06656FCF-0186-4F6C-BCCA-643DD323E928}" type="pres">
      <dgm:prSet presAssocID="{2F884952-0D4B-4873-AB99-9894A16D6651}" presName="parTrans" presStyleLbl="bgSibTrans2D1" presStyleIdx="2" presStyleCnt="6"/>
      <dgm:spPr/>
      <dgm:t>
        <a:bodyPr/>
        <a:lstStyle/>
        <a:p>
          <a:pPr latinLnBrk="1"/>
          <a:endParaRPr lang="ko-KR" altLang="en-US"/>
        </a:p>
      </dgm:t>
    </dgm:pt>
    <dgm:pt modelId="{CBE3698D-D2A8-4902-AE62-6C5DC6B269E0}" type="pres">
      <dgm:prSet presAssocID="{F85D8A22-8051-45E3-9983-3E27F91A4B58}" presName="node" presStyleLbl="node1" presStyleIdx="2" presStyleCnt="6" custScaleY="53309" custRadScaleRad="104549" custRadScaleInc="-3171">
        <dgm:presLayoutVars>
          <dgm:bulletEnabled val="1"/>
        </dgm:presLayoutVars>
      </dgm:prSet>
      <dgm:spPr/>
      <dgm:t>
        <a:bodyPr/>
        <a:lstStyle/>
        <a:p>
          <a:pPr latinLnBrk="1"/>
          <a:endParaRPr lang="ko-KR" altLang="en-US"/>
        </a:p>
      </dgm:t>
    </dgm:pt>
    <dgm:pt modelId="{F4AAD968-F570-4E8E-9211-C5CE34B566D5}" type="pres">
      <dgm:prSet presAssocID="{1C1809AF-95F0-4A93-9065-E0264F3D57F0}" presName="parTrans" presStyleLbl="bgSibTrans2D1" presStyleIdx="3" presStyleCnt="6"/>
      <dgm:spPr/>
      <dgm:t>
        <a:bodyPr/>
        <a:lstStyle/>
        <a:p>
          <a:pPr latinLnBrk="1"/>
          <a:endParaRPr lang="ko-KR" altLang="en-US"/>
        </a:p>
      </dgm:t>
    </dgm:pt>
    <dgm:pt modelId="{1C206728-A5E3-4CB7-90AC-ADF401461907}" type="pres">
      <dgm:prSet presAssocID="{60B73059-85C1-4E86-98E5-356C64630D05}" presName="node" presStyleLbl="node1" presStyleIdx="3" presStyleCnt="6" custScaleX="116459">
        <dgm:presLayoutVars>
          <dgm:bulletEnabled val="1"/>
        </dgm:presLayoutVars>
      </dgm:prSet>
      <dgm:spPr/>
      <dgm:t>
        <a:bodyPr/>
        <a:lstStyle/>
        <a:p>
          <a:pPr latinLnBrk="1"/>
          <a:endParaRPr lang="ko-KR" altLang="en-US"/>
        </a:p>
      </dgm:t>
    </dgm:pt>
    <dgm:pt modelId="{CDF58959-1B25-46E8-B680-F9887631E197}" type="pres">
      <dgm:prSet presAssocID="{A44D9AFB-B154-4CAB-89BE-E6AB1745435B}" presName="parTrans" presStyleLbl="bgSibTrans2D1" presStyleIdx="4" presStyleCnt="6"/>
      <dgm:spPr/>
      <dgm:t>
        <a:bodyPr/>
        <a:lstStyle/>
        <a:p>
          <a:pPr latinLnBrk="1"/>
          <a:endParaRPr lang="ko-KR" altLang="en-US"/>
        </a:p>
      </dgm:t>
    </dgm:pt>
    <dgm:pt modelId="{EF77754D-56B4-4401-9AD8-AD37E6068462}" type="pres">
      <dgm:prSet presAssocID="{094D204E-6D51-42D4-96A6-57D95E2C0E45}" presName="node" presStyleLbl="node1" presStyleIdx="4" presStyleCnt="6" custScaleX="158352" custRadScaleRad="106941" custRadScaleInc="23026">
        <dgm:presLayoutVars>
          <dgm:bulletEnabled val="1"/>
        </dgm:presLayoutVars>
      </dgm:prSet>
      <dgm:spPr/>
      <dgm:t>
        <a:bodyPr/>
        <a:lstStyle/>
        <a:p>
          <a:pPr latinLnBrk="1"/>
          <a:endParaRPr lang="ko-KR" altLang="en-US"/>
        </a:p>
      </dgm:t>
    </dgm:pt>
    <dgm:pt modelId="{44115350-4BA4-457D-BFAF-EE330E470B37}" type="pres">
      <dgm:prSet presAssocID="{B1C3B7A8-1EEF-4144-B453-597B141072B7}" presName="parTrans" presStyleLbl="bgSibTrans2D1" presStyleIdx="5" presStyleCnt="6" custLinFactNeighborX="-14569" custLinFactNeighborY="2142"/>
      <dgm:spPr/>
      <dgm:t>
        <a:bodyPr/>
        <a:lstStyle/>
        <a:p>
          <a:pPr latinLnBrk="1"/>
          <a:endParaRPr lang="ko-KR" altLang="en-US"/>
        </a:p>
      </dgm:t>
    </dgm:pt>
    <dgm:pt modelId="{722FCAA7-2D67-42B0-97EC-1C90504F4B1E}" type="pres">
      <dgm:prSet presAssocID="{482BD57B-7175-47D8-A2AC-860AB8280CDC}" presName="node" presStyleLbl="node1" presStyleIdx="5" presStyleCnt="6" custScaleX="131178" custRadScaleRad="85696" custRadScaleInc="18935">
        <dgm:presLayoutVars>
          <dgm:bulletEnabled val="1"/>
        </dgm:presLayoutVars>
      </dgm:prSet>
      <dgm:spPr/>
      <dgm:t>
        <a:bodyPr/>
        <a:lstStyle/>
        <a:p>
          <a:pPr latinLnBrk="1"/>
          <a:endParaRPr lang="ko-KR" altLang="en-US"/>
        </a:p>
      </dgm:t>
    </dgm:pt>
  </dgm:ptLst>
  <dgm:cxnLst>
    <dgm:cxn modelId="{94622863-641B-4D61-BAAF-BB2B007E2234}" type="presOf" srcId="{A44D9AFB-B154-4CAB-89BE-E6AB1745435B}" destId="{CDF58959-1B25-46E8-B680-F9887631E197}" srcOrd="0" destOrd="0" presId="urn:microsoft.com/office/officeart/2005/8/layout/radial4"/>
    <dgm:cxn modelId="{F30D6B81-BB3B-401E-84DF-BF5DE5872720}" type="presOf" srcId="{B1C3B7A8-1EEF-4144-B453-597B141072B7}" destId="{44115350-4BA4-457D-BFAF-EE330E470B37}" srcOrd="0" destOrd="0" presId="urn:microsoft.com/office/officeart/2005/8/layout/radial4"/>
    <dgm:cxn modelId="{7C547677-10B7-4B9F-9950-16AC6C5A6B32}" srcId="{C907EEFD-B962-4A14-BAD7-DE8806D15CEF}" destId="{CBE5A93B-A0A7-46DB-BFAC-1F69C2593EA9}" srcOrd="0" destOrd="0" parTransId="{BC27B8E9-F4F2-4DEE-958D-87FEA6B849DD}" sibTransId="{BC35D436-8DFD-46B5-83A6-8D1FE64FAC58}"/>
    <dgm:cxn modelId="{11E1D68B-A3E9-4553-8750-5F8F04D42600}" type="presOf" srcId="{3F1C469D-05A8-420A-BC92-872A5AE70B6E}" destId="{A216A879-4BAB-42DE-9E23-C7747B8E0E7F}" srcOrd="0" destOrd="0" presId="urn:microsoft.com/office/officeart/2005/8/layout/radial4"/>
    <dgm:cxn modelId="{DFC5FDAC-F369-4267-83A0-A9190A71EC76}" type="presOf" srcId="{60B73059-85C1-4E86-98E5-356C64630D05}" destId="{1C206728-A5E3-4CB7-90AC-ADF401461907}" srcOrd="0" destOrd="0" presId="urn:microsoft.com/office/officeart/2005/8/layout/radial4"/>
    <dgm:cxn modelId="{4D6C60FD-F473-48E2-8401-4FBFD2465D97}" srcId="{A3B70DD1-95FE-451F-B705-040E68BCF743}" destId="{C907EEFD-B962-4A14-BAD7-DE8806D15CEF}" srcOrd="0" destOrd="0" parTransId="{01148B5B-A810-4485-9C54-28EBDB9EA478}" sibTransId="{5B1F1FDC-3391-4719-B489-ACD10E2EA777}"/>
    <dgm:cxn modelId="{7A4024F0-92A3-4788-A423-96F7ECC802A7}" srcId="{C907EEFD-B962-4A14-BAD7-DE8806D15CEF}" destId="{094D204E-6D51-42D4-96A6-57D95E2C0E45}" srcOrd="4" destOrd="0" parTransId="{A44D9AFB-B154-4CAB-89BE-E6AB1745435B}" sibTransId="{335CAD0B-9ACA-424E-BED1-0E077FC7EAA1}"/>
    <dgm:cxn modelId="{7C77E5AC-9BEC-4CA7-A8F6-98867BBCEADA}" type="presOf" srcId="{BC27B8E9-F4F2-4DEE-958D-87FEA6B849DD}" destId="{D84B4087-DBA9-45EB-A9D2-82E339EF6091}" srcOrd="0" destOrd="0" presId="urn:microsoft.com/office/officeart/2005/8/layout/radial4"/>
    <dgm:cxn modelId="{E6BADB86-0F07-4B49-A1FE-20417093BC20}" type="presOf" srcId="{7379F841-48B7-4EEB-9B6D-52B61C8BF860}" destId="{CBE14429-FD07-40B2-967D-5D7B3B09A37C}" srcOrd="0" destOrd="0" presId="urn:microsoft.com/office/officeart/2005/8/layout/radial4"/>
    <dgm:cxn modelId="{83C3D94D-7DBA-475D-9F0C-5903AF46B3A2}" type="presOf" srcId="{2F884952-0D4B-4873-AB99-9894A16D6651}" destId="{06656FCF-0186-4F6C-BCCA-643DD323E928}" srcOrd="0" destOrd="0" presId="urn:microsoft.com/office/officeart/2005/8/layout/radial4"/>
    <dgm:cxn modelId="{244BF23F-7DE2-408B-8E76-29E072A862EF}" srcId="{C907EEFD-B962-4A14-BAD7-DE8806D15CEF}" destId="{F85D8A22-8051-45E3-9983-3E27F91A4B58}" srcOrd="2" destOrd="0" parTransId="{2F884952-0D4B-4873-AB99-9894A16D6651}" sibTransId="{0EB38404-81CC-4AEC-982B-59DBC4B52687}"/>
    <dgm:cxn modelId="{8E9865EB-9819-4C55-907A-BDF18C082A78}" type="presOf" srcId="{F85D8A22-8051-45E3-9983-3E27F91A4B58}" destId="{CBE3698D-D2A8-4902-AE62-6C5DC6B269E0}" srcOrd="0" destOrd="0" presId="urn:microsoft.com/office/officeart/2005/8/layout/radial4"/>
    <dgm:cxn modelId="{CA8E64C4-80A8-4769-9220-29FE47D211B8}" type="presOf" srcId="{C907EEFD-B962-4A14-BAD7-DE8806D15CEF}" destId="{57727328-49F7-4D72-80DC-1865A3C2C4F9}" srcOrd="0" destOrd="0" presId="urn:microsoft.com/office/officeart/2005/8/layout/radial4"/>
    <dgm:cxn modelId="{5640D69C-CADF-49E4-93CF-84B766E3BA8E}" type="presOf" srcId="{482BD57B-7175-47D8-A2AC-860AB8280CDC}" destId="{722FCAA7-2D67-42B0-97EC-1C90504F4B1E}" srcOrd="0" destOrd="0" presId="urn:microsoft.com/office/officeart/2005/8/layout/radial4"/>
    <dgm:cxn modelId="{25B2BBA2-C55E-403F-B200-FB1C210838C3}" type="presOf" srcId="{CBE5A93B-A0A7-46DB-BFAC-1F69C2593EA9}" destId="{B05B0508-FC91-4D63-9E72-81202E267C93}" srcOrd="0" destOrd="0" presId="urn:microsoft.com/office/officeart/2005/8/layout/radial4"/>
    <dgm:cxn modelId="{A6B79AA5-42FF-49A7-A024-81C089B57031}" type="presOf" srcId="{A3B70DD1-95FE-451F-B705-040E68BCF743}" destId="{F3D48464-37F0-4E6B-AE0A-171548AD0BA7}" srcOrd="0" destOrd="0" presId="urn:microsoft.com/office/officeart/2005/8/layout/radial4"/>
    <dgm:cxn modelId="{B1EA0EC9-F4B4-4248-9CE0-C55843A1E21D}" type="presOf" srcId="{1C1809AF-95F0-4A93-9065-E0264F3D57F0}" destId="{F4AAD968-F570-4E8E-9211-C5CE34B566D5}" srcOrd="0" destOrd="0" presId="urn:microsoft.com/office/officeart/2005/8/layout/radial4"/>
    <dgm:cxn modelId="{7BC9D501-65DD-4C2C-B892-A644736D0692}" type="presOf" srcId="{094D204E-6D51-42D4-96A6-57D95E2C0E45}" destId="{EF77754D-56B4-4401-9AD8-AD37E6068462}" srcOrd="0" destOrd="0" presId="urn:microsoft.com/office/officeart/2005/8/layout/radial4"/>
    <dgm:cxn modelId="{730429FC-EFD1-4FBA-833C-213E527980E7}" srcId="{C907EEFD-B962-4A14-BAD7-DE8806D15CEF}" destId="{7379F841-48B7-4EEB-9B6D-52B61C8BF860}" srcOrd="1" destOrd="0" parTransId="{3F1C469D-05A8-420A-BC92-872A5AE70B6E}" sibTransId="{26D3C7FB-19E4-40D9-8B74-EE8451D4EFD5}"/>
    <dgm:cxn modelId="{F697B2A9-78E2-49A1-B9FD-DA30C0BB2260}" srcId="{C907EEFD-B962-4A14-BAD7-DE8806D15CEF}" destId="{482BD57B-7175-47D8-A2AC-860AB8280CDC}" srcOrd="5" destOrd="0" parTransId="{B1C3B7A8-1EEF-4144-B453-597B141072B7}" sibTransId="{8291CA5B-4560-4B50-A98D-D777061DEE46}"/>
    <dgm:cxn modelId="{F8436ACF-50AC-4F5E-9417-FB69C2850265}" srcId="{C907EEFD-B962-4A14-BAD7-DE8806D15CEF}" destId="{60B73059-85C1-4E86-98E5-356C64630D05}" srcOrd="3" destOrd="0" parTransId="{1C1809AF-95F0-4A93-9065-E0264F3D57F0}" sibTransId="{460BAEE9-C53B-4973-A98C-A3EC4A315FB4}"/>
    <dgm:cxn modelId="{919B82A5-4161-42B6-90AF-9686D35A2300}" type="presParOf" srcId="{F3D48464-37F0-4E6B-AE0A-171548AD0BA7}" destId="{57727328-49F7-4D72-80DC-1865A3C2C4F9}" srcOrd="0" destOrd="0" presId="urn:microsoft.com/office/officeart/2005/8/layout/radial4"/>
    <dgm:cxn modelId="{2D464A45-2A81-43F6-A371-FA475F601C7C}" type="presParOf" srcId="{F3D48464-37F0-4E6B-AE0A-171548AD0BA7}" destId="{D84B4087-DBA9-45EB-A9D2-82E339EF6091}" srcOrd="1" destOrd="0" presId="urn:microsoft.com/office/officeart/2005/8/layout/radial4"/>
    <dgm:cxn modelId="{368DD6AB-BDB9-42B2-9583-5343D9ED113D}" type="presParOf" srcId="{F3D48464-37F0-4E6B-AE0A-171548AD0BA7}" destId="{B05B0508-FC91-4D63-9E72-81202E267C93}" srcOrd="2" destOrd="0" presId="urn:microsoft.com/office/officeart/2005/8/layout/radial4"/>
    <dgm:cxn modelId="{FD7BA9E5-4CF7-4BBE-BE68-C343F8399D67}" type="presParOf" srcId="{F3D48464-37F0-4E6B-AE0A-171548AD0BA7}" destId="{A216A879-4BAB-42DE-9E23-C7747B8E0E7F}" srcOrd="3" destOrd="0" presId="urn:microsoft.com/office/officeart/2005/8/layout/radial4"/>
    <dgm:cxn modelId="{58CEF28D-2637-4EFD-97CD-B2B144FBF821}" type="presParOf" srcId="{F3D48464-37F0-4E6B-AE0A-171548AD0BA7}" destId="{CBE14429-FD07-40B2-967D-5D7B3B09A37C}" srcOrd="4" destOrd="0" presId="urn:microsoft.com/office/officeart/2005/8/layout/radial4"/>
    <dgm:cxn modelId="{7C5F995B-C75B-4528-908E-98C75CA22C76}" type="presParOf" srcId="{F3D48464-37F0-4E6B-AE0A-171548AD0BA7}" destId="{06656FCF-0186-4F6C-BCCA-643DD323E928}" srcOrd="5" destOrd="0" presId="urn:microsoft.com/office/officeart/2005/8/layout/radial4"/>
    <dgm:cxn modelId="{26718510-59DE-4A1F-9E16-001B20A67749}" type="presParOf" srcId="{F3D48464-37F0-4E6B-AE0A-171548AD0BA7}" destId="{CBE3698D-D2A8-4902-AE62-6C5DC6B269E0}" srcOrd="6" destOrd="0" presId="urn:microsoft.com/office/officeart/2005/8/layout/radial4"/>
    <dgm:cxn modelId="{2A24E5BB-4728-4FEC-AF4A-E5AA94AC0DE4}" type="presParOf" srcId="{F3D48464-37F0-4E6B-AE0A-171548AD0BA7}" destId="{F4AAD968-F570-4E8E-9211-C5CE34B566D5}" srcOrd="7" destOrd="0" presId="urn:microsoft.com/office/officeart/2005/8/layout/radial4"/>
    <dgm:cxn modelId="{40C442C5-45F1-408C-90CB-B1CEBED9213F}" type="presParOf" srcId="{F3D48464-37F0-4E6B-AE0A-171548AD0BA7}" destId="{1C206728-A5E3-4CB7-90AC-ADF401461907}" srcOrd="8" destOrd="0" presId="urn:microsoft.com/office/officeart/2005/8/layout/radial4"/>
    <dgm:cxn modelId="{4A62765D-58D4-4AF7-894A-7B6B6A9C22B3}" type="presParOf" srcId="{F3D48464-37F0-4E6B-AE0A-171548AD0BA7}" destId="{CDF58959-1B25-46E8-B680-F9887631E197}" srcOrd="9" destOrd="0" presId="urn:microsoft.com/office/officeart/2005/8/layout/radial4"/>
    <dgm:cxn modelId="{42BB2ADF-1089-421F-BA09-E17AF924D4F4}" type="presParOf" srcId="{F3D48464-37F0-4E6B-AE0A-171548AD0BA7}" destId="{EF77754D-56B4-4401-9AD8-AD37E6068462}" srcOrd="10" destOrd="0" presId="urn:microsoft.com/office/officeart/2005/8/layout/radial4"/>
    <dgm:cxn modelId="{95D13C60-39B7-4F22-91AC-3DE51FC6B1EF}" type="presParOf" srcId="{F3D48464-37F0-4E6B-AE0A-171548AD0BA7}" destId="{44115350-4BA4-457D-BFAF-EE330E470B37}" srcOrd="11" destOrd="0" presId="urn:microsoft.com/office/officeart/2005/8/layout/radial4"/>
    <dgm:cxn modelId="{9CB07334-BCB6-4E5A-A9B2-1E4D13D91AF6}" type="presParOf" srcId="{F3D48464-37F0-4E6B-AE0A-171548AD0BA7}" destId="{722FCAA7-2D67-42B0-97EC-1C90504F4B1E}" srcOrd="12" destOrd="0" presId="urn:microsoft.com/office/officeart/2005/8/layout/radial4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C05FFB9B-F95F-4140-90A3-C7D8FBB8B636}" type="doc">
      <dgm:prSet loTypeId="urn:microsoft.com/office/officeart/2005/8/layout/hProcess9" loCatId="process" qsTypeId="urn:microsoft.com/office/officeart/2005/8/quickstyle/simple1" qsCatId="simple" csTypeId="urn:microsoft.com/office/officeart/2005/8/colors/colorful2" csCatId="colorful" phldr="1"/>
      <dgm:spPr/>
    </dgm:pt>
    <dgm:pt modelId="{88F0F657-CA7F-4510-99B8-69EBCAEEA0E1}">
      <dgm:prSet phldrT="[텍스트]"/>
      <dgm:spPr>
        <a:solidFill>
          <a:schemeClr val="accent5">
            <a:lumMod val="75000"/>
          </a:schemeClr>
        </a:solidFill>
      </dgm:spPr>
      <dgm:t>
        <a:bodyPr/>
        <a:lstStyle/>
        <a:p>
          <a:pPr latinLnBrk="1"/>
          <a:r>
            <a:rPr lang="en-US" altLang="ko-KR" dirty="0"/>
            <a:t>4</a:t>
          </a:r>
          <a:r>
            <a:rPr lang="ko-KR" altLang="en-US" dirty="0" err="1"/>
            <a:t>차산업혁명</a:t>
          </a:r>
          <a:endParaRPr lang="en-US" altLang="ko-KR" dirty="0"/>
        </a:p>
        <a:p>
          <a:pPr latinLnBrk="1"/>
          <a:r>
            <a:rPr lang="ko-KR" altLang="en-US" dirty="0"/>
            <a:t>기술  융합 </a:t>
          </a:r>
        </a:p>
      </dgm:t>
    </dgm:pt>
    <dgm:pt modelId="{DB732132-9679-4DBC-9E93-EC5C37F925EE}" type="parTrans" cxnId="{63B6E5FB-C4E7-42EE-847E-31B9253F06BF}">
      <dgm:prSet/>
      <dgm:spPr/>
      <dgm:t>
        <a:bodyPr/>
        <a:lstStyle/>
        <a:p>
          <a:pPr latinLnBrk="1"/>
          <a:endParaRPr lang="ko-KR" altLang="en-US"/>
        </a:p>
      </dgm:t>
    </dgm:pt>
    <dgm:pt modelId="{5E030479-7E2B-4A44-91C6-C0FCD394292E}" type="sibTrans" cxnId="{63B6E5FB-C4E7-42EE-847E-31B9253F06BF}">
      <dgm:prSet/>
      <dgm:spPr/>
      <dgm:t>
        <a:bodyPr/>
        <a:lstStyle/>
        <a:p>
          <a:pPr latinLnBrk="1"/>
          <a:endParaRPr lang="ko-KR" altLang="en-US"/>
        </a:p>
      </dgm:t>
    </dgm:pt>
    <dgm:pt modelId="{CBB4D502-E758-461B-A639-73FF60BC0D73}">
      <dgm:prSet phldrT="[텍스트]"/>
      <dgm:spPr>
        <a:solidFill>
          <a:srgbClr val="0070C0"/>
        </a:solidFill>
      </dgm:spPr>
      <dgm:t>
        <a:bodyPr/>
        <a:lstStyle/>
        <a:p>
          <a:pPr latinLnBrk="1"/>
          <a:r>
            <a:rPr lang="ko-KR" altLang="en-US" dirty="0"/>
            <a:t>전문직</a:t>
          </a:r>
          <a:r>
            <a:rPr lang="en-US" altLang="ko-KR" dirty="0"/>
            <a:t>&gt;big</a:t>
          </a:r>
          <a:r>
            <a:rPr lang="ko-KR" altLang="en-US" dirty="0"/>
            <a:t> </a:t>
          </a:r>
          <a:r>
            <a:rPr lang="en-US" altLang="ko-KR" dirty="0"/>
            <a:t>Data </a:t>
          </a:r>
          <a:r>
            <a:rPr lang="ko-KR" altLang="en-US" dirty="0"/>
            <a:t>기반 </a:t>
          </a:r>
          <a:r>
            <a:rPr lang="en-US" altLang="ko-KR" dirty="0"/>
            <a:t> AI &amp; </a:t>
          </a:r>
          <a:r>
            <a:rPr lang="ko-KR" altLang="en-US" dirty="0"/>
            <a:t>로봇고용</a:t>
          </a:r>
          <a:r>
            <a:rPr lang="en-US" altLang="ko-KR" dirty="0"/>
            <a:t>&gt;  </a:t>
          </a:r>
        </a:p>
        <a:p>
          <a:pPr latinLnBrk="1"/>
          <a:r>
            <a:rPr lang="en-US" altLang="ko-KR" dirty="0"/>
            <a:t>Self</a:t>
          </a:r>
          <a:r>
            <a:rPr lang="ko-KR" altLang="en-US" dirty="0"/>
            <a:t> </a:t>
          </a:r>
          <a:r>
            <a:rPr lang="en-US" altLang="ko-KR" dirty="0"/>
            <a:t>Operating</a:t>
          </a:r>
        </a:p>
      </dgm:t>
    </dgm:pt>
    <dgm:pt modelId="{467D85B7-932D-4D63-81A1-96A85BB4A283}" type="parTrans" cxnId="{C5D10F45-03A3-4C1B-A4D6-ECD61048A40C}">
      <dgm:prSet/>
      <dgm:spPr/>
      <dgm:t>
        <a:bodyPr/>
        <a:lstStyle/>
        <a:p>
          <a:pPr latinLnBrk="1"/>
          <a:endParaRPr lang="ko-KR" altLang="en-US"/>
        </a:p>
      </dgm:t>
    </dgm:pt>
    <dgm:pt modelId="{D6CEEE11-3CE6-4C9A-8230-666506C78332}" type="sibTrans" cxnId="{C5D10F45-03A3-4C1B-A4D6-ECD61048A40C}">
      <dgm:prSet/>
      <dgm:spPr/>
      <dgm:t>
        <a:bodyPr/>
        <a:lstStyle/>
        <a:p>
          <a:pPr latinLnBrk="1"/>
          <a:endParaRPr lang="ko-KR" altLang="en-US"/>
        </a:p>
      </dgm:t>
    </dgm:pt>
    <dgm:pt modelId="{D34F08A0-FA7D-49FB-B7DF-58DB07D461C0}">
      <dgm:prSet phldrT="[텍스트]"/>
      <dgm:spPr>
        <a:solidFill>
          <a:srgbClr val="002060"/>
        </a:solidFill>
      </dgm:spPr>
      <dgm:t>
        <a:bodyPr/>
        <a:lstStyle/>
        <a:p>
          <a:pPr latinLnBrk="1"/>
          <a:r>
            <a:rPr lang="ko-KR" altLang="en-US" dirty="0"/>
            <a:t>일상화된 </a:t>
          </a:r>
          <a:endParaRPr lang="en-US" altLang="ko-KR" dirty="0"/>
        </a:p>
        <a:p>
          <a:pPr latinLnBrk="1"/>
          <a:r>
            <a:rPr lang="ko-KR" altLang="en-US" dirty="0"/>
            <a:t>디지털 </a:t>
          </a:r>
          <a:endParaRPr lang="en-US" altLang="ko-KR" dirty="0"/>
        </a:p>
        <a:p>
          <a:pPr latinLnBrk="1"/>
          <a:r>
            <a:rPr lang="ko-KR" altLang="en-US" dirty="0"/>
            <a:t>자동화  </a:t>
          </a:r>
        </a:p>
      </dgm:t>
    </dgm:pt>
    <dgm:pt modelId="{176E569C-50E9-47B5-8417-1856493C6C65}" type="parTrans" cxnId="{140F10FC-B9D5-4E10-888C-357C1920F8DA}">
      <dgm:prSet/>
      <dgm:spPr/>
      <dgm:t>
        <a:bodyPr/>
        <a:lstStyle/>
        <a:p>
          <a:pPr latinLnBrk="1"/>
          <a:endParaRPr lang="ko-KR" altLang="en-US"/>
        </a:p>
      </dgm:t>
    </dgm:pt>
    <dgm:pt modelId="{54E25B20-682F-4262-9B87-6B5B09032F3A}" type="sibTrans" cxnId="{140F10FC-B9D5-4E10-888C-357C1920F8DA}">
      <dgm:prSet/>
      <dgm:spPr/>
      <dgm:t>
        <a:bodyPr/>
        <a:lstStyle/>
        <a:p>
          <a:pPr latinLnBrk="1"/>
          <a:endParaRPr lang="ko-KR" altLang="en-US"/>
        </a:p>
      </dgm:t>
    </dgm:pt>
    <dgm:pt modelId="{0A706C28-F440-484F-8500-62892C03876C}" type="pres">
      <dgm:prSet presAssocID="{C05FFB9B-F95F-4140-90A3-C7D8FBB8B636}" presName="CompostProcess" presStyleCnt="0">
        <dgm:presLayoutVars>
          <dgm:dir/>
          <dgm:resizeHandles val="exact"/>
        </dgm:presLayoutVars>
      </dgm:prSet>
      <dgm:spPr/>
    </dgm:pt>
    <dgm:pt modelId="{F937ADFE-FAB1-4C60-95A9-0B2D7602A735}" type="pres">
      <dgm:prSet presAssocID="{C05FFB9B-F95F-4140-90A3-C7D8FBB8B636}" presName="arrow" presStyleLbl="bgShp" presStyleIdx="0" presStyleCnt="1" custLinFactNeighborX="-1214" custLinFactNeighborY="2584">
        <dgm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dgm:style>
      </dgm:prSet>
      <dgm:spPr>
        <a:solidFill>
          <a:schemeClr val="bg2"/>
        </a:solidFill>
      </dgm:spPr>
    </dgm:pt>
    <dgm:pt modelId="{02294B33-E34E-4D20-86AC-40BE3E6A537D}" type="pres">
      <dgm:prSet presAssocID="{C05FFB9B-F95F-4140-90A3-C7D8FBB8B636}" presName="linearProcess" presStyleCnt="0"/>
      <dgm:spPr/>
    </dgm:pt>
    <dgm:pt modelId="{FA60030A-A069-4CFF-9AA0-3ADBABF42FAB}" type="pres">
      <dgm:prSet presAssocID="{88F0F657-CA7F-4510-99B8-69EBCAEEA0E1}" presName="textNode" presStyleLbl="node1" presStyleIdx="0" presStyleCnt="3">
        <dgm:presLayoutVars>
          <dgm:bulletEnabled val="1"/>
        </dgm:presLayoutVars>
      </dgm:prSet>
      <dgm:spPr/>
      <dgm:t>
        <a:bodyPr/>
        <a:lstStyle/>
        <a:p>
          <a:pPr latinLnBrk="1"/>
          <a:endParaRPr lang="ko-KR" altLang="en-US"/>
        </a:p>
      </dgm:t>
    </dgm:pt>
    <dgm:pt modelId="{D0D7DC12-6635-4ED3-B3FE-DFE9BF922EF7}" type="pres">
      <dgm:prSet presAssocID="{5E030479-7E2B-4A44-91C6-C0FCD394292E}" presName="sibTrans" presStyleCnt="0"/>
      <dgm:spPr/>
    </dgm:pt>
    <dgm:pt modelId="{23D45DE7-A0EB-4C18-BF91-646FC91B07A2}" type="pres">
      <dgm:prSet presAssocID="{CBB4D502-E758-461B-A639-73FF60BC0D73}" presName="textNode" presStyleLbl="node1" presStyleIdx="1" presStyleCnt="3">
        <dgm:presLayoutVars>
          <dgm:bulletEnabled val="1"/>
        </dgm:presLayoutVars>
      </dgm:prSet>
      <dgm:spPr/>
      <dgm:t>
        <a:bodyPr/>
        <a:lstStyle/>
        <a:p>
          <a:pPr latinLnBrk="1"/>
          <a:endParaRPr lang="ko-KR" altLang="en-US"/>
        </a:p>
      </dgm:t>
    </dgm:pt>
    <dgm:pt modelId="{1057DD45-BA81-400B-96B9-CA21D39C00FA}" type="pres">
      <dgm:prSet presAssocID="{D6CEEE11-3CE6-4C9A-8230-666506C78332}" presName="sibTrans" presStyleCnt="0"/>
      <dgm:spPr/>
    </dgm:pt>
    <dgm:pt modelId="{FB9E7A44-0662-41D2-ADF2-04D407E645FF}" type="pres">
      <dgm:prSet presAssocID="{D34F08A0-FA7D-49FB-B7DF-58DB07D461C0}" presName="textNode" presStyleLbl="node1" presStyleIdx="2" presStyleCnt="3">
        <dgm:presLayoutVars>
          <dgm:bulletEnabled val="1"/>
        </dgm:presLayoutVars>
      </dgm:prSet>
      <dgm:spPr/>
      <dgm:t>
        <a:bodyPr/>
        <a:lstStyle/>
        <a:p>
          <a:pPr latinLnBrk="1"/>
          <a:endParaRPr lang="ko-KR" altLang="en-US"/>
        </a:p>
      </dgm:t>
    </dgm:pt>
  </dgm:ptLst>
  <dgm:cxnLst>
    <dgm:cxn modelId="{467709AC-3192-4679-A55B-1D5A43DBEFE4}" type="presOf" srcId="{88F0F657-CA7F-4510-99B8-69EBCAEEA0E1}" destId="{FA60030A-A069-4CFF-9AA0-3ADBABF42FAB}" srcOrd="0" destOrd="0" presId="urn:microsoft.com/office/officeart/2005/8/layout/hProcess9"/>
    <dgm:cxn modelId="{63B6E5FB-C4E7-42EE-847E-31B9253F06BF}" srcId="{C05FFB9B-F95F-4140-90A3-C7D8FBB8B636}" destId="{88F0F657-CA7F-4510-99B8-69EBCAEEA0E1}" srcOrd="0" destOrd="0" parTransId="{DB732132-9679-4DBC-9E93-EC5C37F925EE}" sibTransId="{5E030479-7E2B-4A44-91C6-C0FCD394292E}"/>
    <dgm:cxn modelId="{6C3EFAA6-FE51-4B90-B3CA-0B7BC6DF0306}" type="presOf" srcId="{C05FFB9B-F95F-4140-90A3-C7D8FBB8B636}" destId="{0A706C28-F440-484F-8500-62892C03876C}" srcOrd="0" destOrd="0" presId="urn:microsoft.com/office/officeart/2005/8/layout/hProcess9"/>
    <dgm:cxn modelId="{A2003D45-D760-4044-95CD-00AC0FEB5195}" type="presOf" srcId="{D34F08A0-FA7D-49FB-B7DF-58DB07D461C0}" destId="{FB9E7A44-0662-41D2-ADF2-04D407E645FF}" srcOrd="0" destOrd="0" presId="urn:microsoft.com/office/officeart/2005/8/layout/hProcess9"/>
    <dgm:cxn modelId="{140F10FC-B9D5-4E10-888C-357C1920F8DA}" srcId="{C05FFB9B-F95F-4140-90A3-C7D8FBB8B636}" destId="{D34F08A0-FA7D-49FB-B7DF-58DB07D461C0}" srcOrd="2" destOrd="0" parTransId="{176E569C-50E9-47B5-8417-1856493C6C65}" sibTransId="{54E25B20-682F-4262-9B87-6B5B09032F3A}"/>
    <dgm:cxn modelId="{EBC92EB6-8D16-4567-A668-23EF799D10DD}" type="presOf" srcId="{CBB4D502-E758-461B-A639-73FF60BC0D73}" destId="{23D45DE7-A0EB-4C18-BF91-646FC91B07A2}" srcOrd="0" destOrd="0" presId="urn:microsoft.com/office/officeart/2005/8/layout/hProcess9"/>
    <dgm:cxn modelId="{C5D10F45-03A3-4C1B-A4D6-ECD61048A40C}" srcId="{C05FFB9B-F95F-4140-90A3-C7D8FBB8B636}" destId="{CBB4D502-E758-461B-A639-73FF60BC0D73}" srcOrd="1" destOrd="0" parTransId="{467D85B7-932D-4D63-81A1-96A85BB4A283}" sibTransId="{D6CEEE11-3CE6-4C9A-8230-666506C78332}"/>
    <dgm:cxn modelId="{F2423EE6-5159-48FD-B284-D47BF43CDD05}" type="presParOf" srcId="{0A706C28-F440-484F-8500-62892C03876C}" destId="{F937ADFE-FAB1-4C60-95A9-0B2D7602A735}" srcOrd="0" destOrd="0" presId="urn:microsoft.com/office/officeart/2005/8/layout/hProcess9"/>
    <dgm:cxn modelId="{F8646D60-93C4-4CDE-B4B3-66E0D0C0D120}" type="presParOf" srcId="{0A706C28-F440-484F-8500-62892C03876C}" destId="{02294B33-E34E-4D20-86AC-40BE3E6A537D}" srcOrd="1" destOrd="0" presId="urn:microsoft.com/office/officeart/2005/8/layout/hProcess9"/>
    <dgm:cxn modelId="{2939B278-5723-4B59-9889-068D7BD974F5}" type="presParOf" srcId="{02294B33-E34E-4D20-86AC-40BE3E6A537D}" destId="{FA60030A-A069-4CFF-9AA0-3ADBABF42FAB}" srcOrd="0" destOrd="0" presId="urn:microsoft.com/office/officeart/2005/8/layout/hProcess9"/>
    <dgm:cxn modelId="{C65701DE-0E25-4E75-AFC8-24169F7DBE4E}" type="presParOf" srcId="{02294B33-E34E-4D20-86AC-40BE3E6A537D}" destId="{D0D7DC12-6635-4ED3-B3FE-DFE9BF922EF7}" srcOrd="1" destOrd="0" presId="urn:microsoft.com/office/officeart/2005/8/layout/hProcess9"/>
    <dgm:cxn modelId="{600883EA-DF63-467B-B55D-97C0B0038B18}" type="presParOf" srcId="{02294B33-E34E-4D20-86AC-40BE3E6A537D}" destId="{23D45DE7-A0EB-4C18-BF91-646FC91B07A2}" srcOrd="2" destOrd="0" presId="urn:microsoft.com/office/officeart/2005/8/layout/hProcess9"/>
    <dgm:cxn modelId="{09E3502A-ABC4-4506-B067-914DB271FCD3}" type="presParOf" srcId="{02294B33-E34E-4D20-86AC-40BE3E6A537D}" destId="{1057DD45-BA81-400B-96B9-CA21D39C00FA}" srcOrd="3" destOrd="0" presId="urn:microsoft.com/office/officeart/2005/8/layout/hProcess9"/>
    <dgm:cxn modelId="{28EE2345-23F2-488D-8AB7-1432F37EE8CC}" type="presParOf" srcId="{02294B33-E34E-4D20-86AC-40BE3E6A537D}" destId="{FB9E7A44-0662-41D2-ADF2-04D407E645FF}" srcOrd="4" destOrd="0" presId="urn:microsoft.com/office/officeart/2005/8/layout/hProcess9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9DB76B85-8D2E-4174-803A-19792D253BC3}" type="doc">
      <dgm:prSet loTypeId="urn:microsoft.com/office/officeart/2005/8/layout/radial6" loCatId="cycle" qsTypeId="urn:microsoft.com/office/officeart/2005/8/quickstyle/simple1" qsCatId="simple" csTypeId="urn:microsoft.com/office/officeart/2005/8/colors/colorful2" csCatId="colorful" phldr="1"/>
      <dgm:spPr/>
      <dgm:t>
        <a:bodyPr/>
        <a:lstStyle/>
        <a:p>
          <a:pPr latinLnBrk="1"/>
          <a:endParaRPr lang="ko-KR" altLang="en-US"/>
        </a:p>
      </dgm:t>
    </dgm:pt>
    <dgm:pt modelId="{83CC7F60-58BD-458F-BB24-B30A2E0A936A}">
      <dgm:prSet phldrT="[텍스트]" custT="1"/>
      <dgm:spPr>
        <a:blipFill rotWithShape="0">
          <a:blip xmlns:r="http://schemas.openxmlformats.org/officeDocument/2006/relationships" r:embed="rId1"/>
          <a:srcRect/>
          <a:stretch>
            <a:fillRect l="-1000" r="-1000"/>
          </a:stretch>
        </a:blipFill>
      </dgm:spPr>
      <dgm:t>
        <a:bodyPr/>
        <a:lstStyle/>
        <a:p>
          <a:pPr latinLnBrk="1"/>
          <a:r>
            <a:rPr lang="en-US" altLang="ko-KR" sz="1400" dirty="0">
              <a:latin typeface="휴먼모음T" panose="02030504000101010101" pitchFamily="18" charset="-127"/>
              <a:ea typeface="휴먼모음T" panose="02030504000101010101" pitchFamily="18" charset="-127"/>
            </a:rPr>
            <a:t> </a:t>
          </a:r>
          <a:r>
            <a:rPr lang="ko-KR" altLang="en-US" sz="2800" dirty="0">
              <a:solidFill>
                <a:schemeClr val="tx1"/>
              </a:solidFill>
              <a:latin typeface="휴먼모음T" panose="02030504000101010101" pitchFamily="18" charset="-127"/>
              <a:ea typeface="휴먼모음T" panose="02030504000101010101" pitchFamily="18" charset="-127"/>
            </a:rPr>
            <a:t>기술 </a:t>
          </a:r>
          <a:r>
            <a:rPr lang="en-US" altLang="ko-KR" sz="2800" dirty="0">
              <a:solidFill>
                <a:schemeClr val="tx1"/>
              </a:solidFill>
              <a:latin typeface="휴먼모음T" panose="02030504000101010101" pitchFamily="18" charset="-127"/>
              <a:ea typeface="휴먼모음T" panose="02030504000101010101" pitchFamily="18" charset="-127"/>
            </a:rPr>
            <a:t>&amp; </a:t>
          </a:r>
          <a:r>
            <a:rPr lang="ko-KR" altLang="en-US" sz="2800" dirty="0">
              <a:solidFill>
                <a:schemeClr val="tx1"/>
              </a:solidFill>
              <a:latin typeface="휴먼모음T" panose="02030504000101010101" pitchFamily="18" charset="-127"/>
              <a:ea typeface="휴먼모음T" panose="02030504000101010101" pitchFamily="18" charset="-127"/>
            </a:rPr>
            <a:t>인간 </a:t>
          </a:r>
          <a:endParaRPr lang="en-US" altLang="ko-KR" sz="2800" dirty="0">
            <a:solidFill>
              <a:schemeClr val="tx1"/>
            </a:solidFill>
            <a:latin typeface="휴먼모음T" panose="02030504000101010101" pitchFamily="18" charset="-127"/>
            <a:ea typeface="휴먼모음T" panose="02030504000101010101" pitchFamily="18" charset="-127"/>
          </a:endParaRPr>
        </a:p>
        <a:p>
          <a:pPr latinLnBrk="1"/>
          <a:r>
            <a:rPr lang="ko-KR" altLang="en-US" sz="2800" dirty="0">
              <a:solidFill>
                <a:schemeClr val="tx1"/>
              </a:solidFill>
              <a:latin typeface="휴먼모음T" panose="02030504000101010101" pitchFamily="18" charset="-127"/>
              <a:ea typeface="휴먼모음T" panose="02030504000101010101" pitchFamily="18" charset="-127"/>
            </a:rPr>
            <a:t>   융합</a:t>
          </a:r>
          <a:r>
            <a:rPr lang="en-US" altLang="ko-KR" sz="2800" dirty="0">
              <a:solidFill>
                <a:schemeClr val="tx1"/>
              </a:solidFill>
              <a:latin typeface="휴먼모음T" panose="02030504000101010101" pitchFamily="18" charset="-127"/>
              <a:ea typeface="휴먼모음T" panose="02030504000101010101" pitchFamily="18" charset="-127"/>
            </a:rPr>
            <a:t>/</a:t>
          </a:r>
          <a:r>
            <a:rPr lang="ko-KR" altLang="en-US" sz="2800" dirty="0">
              <a:solidFill>
                <a:schemeClr val="tx1"/>
              </a:solidFill>
              <a:latin typeface="휴먼모음T" panose="02030504000101010101" pitchFamily="18" charset="-127"/>
              <a:ea typeface="휴먼모음T" panose="02030504000101010101" pitchFamily="18" charset="-127"/>
            </a:rPr>
            <a:t>연결 과제 </a:t>
          </a:r>
          <a:r>
            <a:rPr lang="en-US" altLang="ko-KR" sz="2800" dirty="0">
              <a:solidFill>
                <a:schemeClr val="tx1"/>
              </a:solidFill>
              <a:latin typeface="휴먼모음T" panose="02030504000101010101" pitchFamily="18" charset="-127"/>
              <a:ea typeface="휴먼모음T" panose="02030504000101010101" pitchFamily="18" charset="-127"/>
            </a:rPr>
            <a:t>	</a:t>
          </a:r>
          <a:r>
            <a:rPr lang="ko-KR" altLang="en-US" sz="1400" dirty="0">
              <a:solidFill>
                <a:schemeClr val="tx1"/>
              </a:solidFill>
              <a:latin typeface="휴먼모음T" panose="02030504000101010101" pitchFamily="18" charset="-127"/>
              <a:ea typeface="휴먼모음T" panose="02030504000101010101" pitchFamily="18" charset="-127"/>
            </a:rPr>
            <a:t> </a:t>
          </a:r>
        </a:p>
      </dgm:t>
    </dgm:pt>
    <dgm:pt modelId="{6FDECB05-BCDF-4017-98DA-80821FCF359D}" type="parTrans" cxnId="{7C994BD4-97E8-481A-9CAA-E275BB8D805F}">
      <dgm:prSet/>
      <dgm:spPr/>
      <dgm:t>
        <a:bodyPr/>
        <a:lstStyle/>
        <a:p>
          <a:pPr latinLnBrk="1"/>
          <a:endParaRPr lang="ko-KR" altLang="en-US">
            <a:latin typeface="휴먼모음T" panose="02030504000101010101" pitchFamily="18" charset="-127"/>
            <a:ea typeface="휴먼모음T" panose="02030504000101010101" pitchFamily="18" charset="-127"/>
          </a:endParaRPr>
        </a:p>
      </dgm:t>
    </dgm:pt>
    <dgm:pt modelId="{F3FF4FAE-BEE2-473B-92B6-A71D0AA3C790}" type="sibTrans" cxnId="{7C994BD4-97E8-481A-9CAA-E275BB8D805F}">
      <dgm:prSet/>
      <dgm:spPr/>
      <dgm:t>
        <a:bodyPr/>
        <a:lstStyle/>
        <a:p>
          <a:pPr latinLnBrk="1"/>
          <a:endParaRPr lang="ko-KR" altLang="en-US">
            <a:latin typeface="휴먼모음T" panose="02030504000101010101" pitchFamily="18" charset="-127"/>
            <a:ea typeface="휴먼모음T" panose="02030504000101010101" pitchFamily="18" charset="-127"/>
          </a:endParaRPr>
        </a:p>
      </dgm:t>
    </dgm:pt>
    <dgm:pt modelId="{8C14DC3D-1FB2-475B-9B8F-3C9EC0B13498}">
      <dgm:prSet phldrT="[텍스트]" custT="1"/>
      <dgm:spPr/>
      <dgm:t>
        <a:bodyPr/>
        <a:lstStyle/>
        <a:p>
          <a:pPr latinLnBrk="1"/>
          <a:r>
            <a:rPr lang="en-US" altLang="ko-KR" sz="1600" dirty="0" err="1">
              <a:solidFill>
                <a:schemeClr val="tx1"/>
              </a:solidFill>
              <a:latin typeface="휴먼모음T" panose="02030504000101010101" pitchFamily="18" charset="-127"/>
              <a:ea typeface="휴먼모음T" panose="02030504000101010101" pitchFamily="18" charset="-127"/>
            </a:rPr>
            <a:t>IoT</a:t>
          </a:r>
          <a:r>
            <a:rPr lang="en-US" altLang="ko-KR" sz="1600" dirty="0">
              <a:solidFill>
                <a:schemeClr val="tx1"/>
              </a:solidFill>
              <a:latin typeface="휴먼모음T" panose="02030504000101010101" pitchFamily="18" charset="-127"/>
              <a:ea typeface="휴먼모음T" panose="02030504000101010101" pitchFamily="18" charset="-127"/>
            </a:rPr>
            <a:t>/</a:t>
          </a:r>
          <a:r>
            <a:rPr lang="en-US" altLang="ko-KR" sz="1600" dirty="0" err="1">
              <a:solidFill>
                <a:schemeClr val="tx1"/>
              </a:solidFill>
              <a:latin typeface="휴먼모음T" panose="02030504000101010101" pitchFamily="18" charset="-127"/>
              <a:ea typeface="휴먼모음T" panose="02030504000101010101" pitchFamily="18" charset="-127"/>
            </a:rPr>
            <a:t>IoS</a:t>
          </a:r>
          <a:endParaRPr lang="en-US" altLang="ko-KR" sz="1600" dirty="0">
            <a:solidFill>
              <a:schemeClr val="tx1"/>
            </a:solidFill>
            <a:latin typeface="휴먼모음T" panose="02030504000101010101" pitchFamily="18" charset="-127"/>
            <a:ea typeface="휴먼모음T" panose="02030504000101010101" pitchFamily="18" charset="-127"/>
          </a:endParaRPr>
        </a:p>
        <a:p>
          <a:pPr latinLnBrk="1"/>
          <a:r>
            <a:rPr lang="en-US" sz="900" dirty="0">
              <a:solidFill>
                <a:schemeClr val="tx1"/>
              </a:solidFill>
              <a:latin typeface="휴먼모음T" panose="02030504000101010101" pitchFamily="18" charset="-127"/>
              <a:ea typeface="휴먼모음T" panose="02030504000101010101" pitchFamily="18" charset="-127"/>
              <a:hlinkClick xmlns:r="http://schemas.openxmlformats.org/officeDocument/2006/relationships" r:id="rId2"/>
            </a:rPr>
            <a:t>[</a:t>
          </a:r>
          <a:r>
            <a:rPr lang="en-US" sz="900" dirty="0">
              <a:hlinkClick xmlns:r="http://schemas.openxmlformats.org/officeDocument/2006/relationships" r:id="rId2"/>
            </a:rPr>
            <a:t>Internet of Things]</a:t>
          </a:r>
          <a:endParaRPr lang="en-US" sz="900" dirty="0"/>
        </a:p>
        <a:p>
          <a:pPr latinLnBrk="1"/>
          <a:r>
            <a:rPr lang="en-US" sz="900" dirty="0" err="1"/>
            <a:t>sns</a:t>
          </a:r>
          <a:r>
            <a:rPr lang="en-US" sz="900" dirty="0"/>
            <a:t> (</a:t>
          </a:r>
          <a:endParaRPr lang="ko-KR" altLang="en-US" sz="900" dirty="0">
            <a:solidFill>
              <a:schemeClr val="tx1"/>
            </a:solidFill>
            <a:latin typeface="휴먼모음T" panose="02030504000101010101" pitchFamily="18" charset="-127"/>
            <a:ea typeface="휴먼모음T" panose="02030504000101010101" pitchFamily="18" charset="-127"/>
          </a:endParaRPr>
        </a:p>
      </dgm:t>
    </dgm:pt>
    <dgm:pt modelId="{613C37AA-9FC6-4863-8C52-67ED8423E725}" type="parTrans" cxnId="{46BBD8F0-1507-48C6-A5DB-8D015C4AD837}">
      <dgm:prSet/>
      <dgm:spPr/>
      <dgm:t>
        <a:bodyPr/>
        <a:lstStyle/>
        <a:p>
          <a:pPr latinLnBrk="1"/>
          <a:endParaRPr lang="ko-KR" altLang="en-US">
            <a:latin typeface="휴먼모음T" panose="02030504000101010101" pitchFamily="18" charset="-127"/>
            <a:ea typeface="휴먼모음T" panose="02030504000101010101" pitchFamily="18" charset="-127"/>
          </a:endParaRPr>
        </a:p>
      </dgm:t>
    </dgm:pt>
    <dgm:pt modelId="{3B28301E-C0E0-4F81-907A-65F7371E8BAA}" type="sibTrans" cxnId="{46BBD8F0-1507-48C6-A5DB-8D015C4AD837}">
      <dgm:prSet/>
      <dgm:spPr/>
      <dgm:t>
        <a:bodyPr/>
        <a:lstStyle/>
        <a:p>
          <a:pPr latinLnBrk="1"/>
          <a:endParaRPr lang="ko-KR" altLang="en-US">
            <a:latin typeface="휴먼모음T" panose="02030504000101010101" pitchFamily="18" charset="-127"/>
            <a:ea typeface="휴먼모음T" panose="02030504000101010101" pitchFamily="18" charset="-127"/>
          </a:endParaRPr>
        </a:p>
      </dgm:t>
    </dgm:pt>
    <dgm:pt modelId="{5EBA1FF4-801E-4EAA-82FF-83DD805C9253}">
      <dgm:prSet phldrT="[텍스트]" custT="1"/>
      <dgm:spPr>
        <a:blipFill rotWithShape="0">
          <a:blip xmlns:r="http://schemas.openxmlformats.org/officeDocument/2006/relationships" r:embed="rId3"/>
          <a:srcRect/>
          <a:stretch>
            <a:fillRect l="-23000" r="-23000"/>
          </a:stretch>
        </a:blipFill>
      </dgm:spPr>
      <dgm:t>
        <a:bodyPr/>
        <a:lstStyle/>
        <a:p>
          <a:pPr latinLnBrk="1"/>
          <a:r>
            <a:rPr lang="en-US" altLang="ko-KR" sz="4000" dirty="0">
              <a:solidFill>
                <a:schemeClr val="bg1"/>
              </a:solidFill>
              <a:latin typeface="휴먼모음T" panose="02030504000101010101" pitchFamily="18" charset="-127"/>
              <a:ea typeface="휴먼모음T" panose="02030504000101010101" pitchFamily="18" charset="-127"/>
            </a:rPr>
            <a:t> AI</a:t>
          </a:r>
          <a:endParaRPr lang="ko-KR" altLang="en-US" sz="4000" dirty="0">
            <a:solidFill>
              <a:schemeClr val="bg1"/>
            </a:solidFill>
            <a:latin typeface="휴먼모음T" panose="02030504000101010101" pitchFamily="18" charset="-127"/>
            <a:ea typeface="휴먼모음T" panose="02030504000101010101" pitchFamily="18" charset="-127"/>
          </a:endParaRPr>
        </a:p>
      </dgm:t>
    </dgm:pt>
    <dgm:pt modelId="{DA389263-A8D2-418A-9927-A88C7E581779}" type="parTrans" cxnId="{64BDA099-BECC-4DFD-AD08-B8F1F8BF7DF1}">
      <dgm:prSet/>
      <dgm:spPr/>
      <dgm:t>
        <a:bodyPr/>
        <a:lstStyle/>
        <a:p>
          <a:pPr latinLnBrk="1"/>
          <a:endParaRPr lang="ko-KR" altLang="en-US">
            <a:latin typeface="휴먼모음T" panose="02030504000101010101" pitchFamily="18" charset="-127"/>
            <a:ea typeface="휴먼모음T" panose="02030504000101010101" pitchFamily="18" charset="-127"/>
          </a:endParaRPr>
        </a:p>
      </dgm:t>
    </dgm:pt>
    <dgm:pt modelId="{5A7424E0-E67E-4BAE-B13B-ACEBFDA46B54}" type="sibTrans" cxnId="{64BDA099-BECC-4DFD-AD08-B8F1F8BF7DF1}">
      <dgm:prSet/>
      <dgm:spPr/>
      <dgm:t>
        <a:bodyPr/>
        <a:lstStyle/>
        <a:p>
          <a:pPr latinLnBrk="1"/>
          <a:endParaRPr lang="ko-KR" altLang="en-US">
            <a:latin typeface="휴먼모음T" panose="02030504000101010101" pitchFamily="18" charset="-127"/>
            <a:ea typeface="휴먼모음T" panose="02030504000101010101" pitchFamily="18" charset="-127"/>
          </a:endParaRPr>
        </a:p>
      </dgm:t>
    </dgm:pt>
    <dgm:pt modelId="{AB9C62F2-6B29-43E3-9F18-9BEF22913A68}">
      <dgm:prSet phldrT="[텍스트]" custT="1"/>
      <dgm:spPr>
        <a:solidFill>
          <a:srgbClr val="00B0F0"/>
        </a:solidFill>
      </dgm:spPr>
      <dgm:t>
        <a:bodyPr/>
        <a:lstStyle/>
        <a:p>
          <a:pPr marL="0" marR="0" lvl="0" indent="0" defTabSz="914400" eaLnBrk="1" fontAlgn="auto" latinLnBrk="1" hangingPunct="1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ko-KR" altLang="en-US" sz="1800" dirty="0">
              <a:solidFill>
                <a:schemeClr val="tx1"/>
              </a:solidFill>
              <a:latin typeface="휴먼모음T" panose="02030504000101010101" pitchFamily="18" charset="-127"/>
              <a:ea typeface="휴먼모음T" panose="02030504000101010101" pitchFamily="18" charset="-127"/>
            </a:rPr>
            <a:t>센스 </a:t>
          </a:r>
          <a:r>
            <a:rPr lang="en-US" altLang="ko-KR" sz="1800" dirty="0">
              <a:solidFill>
                <a:schemeClr val="tx1"/>
              </a:solidFill>
              <a:latin typeface="휴먼모음T" panose="02030504000101010101" pitchFamily="18" charset="-127"/>
              <a:ea typeface="휴먼모음T" panose="02030504000101010101" pitchFamily="18" charset="-127"/>
            </a:rPr>
            <a:t>&amp; </a:t>
          </a:r>
          <a:r>
            <a:rPr lang="ko-KR" altLang="en-US" sz="1800" dirty="0">
              <a:solidFill>
                <a:schemeClr val="tx1"/>
              </a:solidFill>
              <a:latin typeface="휴먼모음T" panose="02030504000101010101" pitchFamily="18" charset="-127"/>
              <a:ea typeface="휴먼모음T" panose="02030504000101010101" pitchFamily="18" charset="-127"/>
            </a:rPr>
            <a:t>카메라 </a:t>
          </a:r>
          <a:r>
            <a:rPr lang="en-US" altLang="ko-KR" sz="1800" dirty="0">
              <a:solidFill>
                <a:schemeClr val="tx1"/>
              </a:solidFill>
              <a:latin typeface="휴먼모음T" panose="02030504000101010101" pitchFamily="18" charset="-127"/>
              <a:ea typeface="휴먼모음T" panose="02030504000101010101" pitchFamily="18" charset="-127"/>
            </a:rPr>
            <a:t>4D</a:t>
          </a:r>
          <a:endParaRPr lang="ko-KR" altLang="en-US" sz="1800" dirty="0">
            <a:solidFill>
              <a:schemeClr val="tx1"/>
            </a:solidFill>
            <a:latin typeface="휴먼모음T" panose="02030504000101010101" pitchFamily="18" charset="-127"/>
            <a:ea typeface="휴먼모음T" panose="02030504000101010101" pitchFamily="18" charset="-127"/>
          </a:endParaRPr>
        </a:p>
      </dgm:t>
    </dgm:pt>
    <dgm:pt modelId="{D84B37AD-A8BA-454A-8E2D-84BA80613A7C}" type="parTrans" cxnId="{E1BB5871-FA4D-4C1C-8E9F-7E250E9AA8D0}">
      <dgm:prSet/>
      <dgm:spPr/>
      <dgm:t>
        <a:bodyPr/>
        <a:lstStyle/>
        <a:p>
          <a:pPr latinLnBrk="1"/>
          <a:endParaRPr lang="ko-KR" altLang="en-US">
            <a:latin typeface="휴먼모음T" panose="02030504000101010101" pitchFamily="18" charset="-127"/>
            <a:ea typeface="휴먼모음T" panose="02030504000101010101" pitchFamily="18" charset="-127"/>
          </a:endParaRPr>
        </a:p>
      </dgm:t>
    </dgm:pt>
    <dgm:pt modelId="{4961C2F9-1890-405C-AA0C-6412366D15FA}" type="sibTrans" cxnId="{E1BB5871-FA4D-4C1C-8E9F-7E250E9AA8D0}">
      <dgm:prSet/>
      <dgm:spPr/>
      <dgm:t>
        <a:bodyPr/>
        <a:lstStyle/>
        <a:p>
          <a:pPr latinLnBrk="1"/>
          <a:endParaRPr lang="ko-KR" altLang="en-US">
            <a:latin typeface="휴먼모음T" panose="02030504000101010101" pitchFamily="18" charset="-127"/>
            <a:ea typeface="휴먼모음T" panose="02030504000101010101" pitchFamily="18" charset="-127"/>
          </a:endParaRPr>
        </a:p>
      </dgm:t>
    </dgm:pt>
    <dgm:pt modelId="{2A5622C8-E5A5-4346-A1A0-B3801F260527}">
      <dgm:prSet phldrT="[텍스트]" custT="1"/>
      <dgm:spPr>
        <a:solidFill>
          <a:schemeClr val="bg2">
            <a:lumMod val="75000"/>
          </a:schemeClr>
        </a:solidFill>
      </dgm:spPr>
      <dgm:t>
        <a:bodyPr/>
        <a:lstStyle/>
        <a:p>
          <a:pPr latinLnBrk="1"/>
          <a:r>
            <a:rPr lang="ko-KR" altLang="en-US" sz="2400" dirty="0">
              <a:solidFill>
                <a:schemeClr val="bg1"/>
              </a:solidFill>
              <a:latin typeface="휴먼모음T" panose="02030504000101010101" pitchFamily="18" charset="-127"/>
              <a:ea typeface="휴먼모음T" panose="02030504000101010101" pitchFamily="18" charset="-127"/>
            </a:rPr>
            <a:t>로봇</a:t>
          </a:r>
          <a:endParaRPr lang="en-US" altLang="ko-KR" sz="2400" dirty="0">
            <a:solidFill>
              <a:schemeClr val="bg1"/>
            </a:solidFill>
            <a:latin typeface="휴먼모음T" panose="02030504000101010101" pitchFamily="18" charset="-127"/>
            <a:ea typeface="휴먼모음T" panose="02030504000101010101" pitchFamily="18" charset="-127"/>
          </a:endParaRPr>
        </a:p>
        <a:p>
          <a:pPr latinLnBrk="1"/>
          <a:r>
            <a:rPr lang="ko-KR" altLang="en-US" sz="2400" dirty="0">
              <a:solidFill>
                <a:schemeClr val="tx1"/>
              </a:solidFill>
              <a:latin typeface="휴먼모음T" panose="02030504000101010101" pitchFamily="18" charset="-127"/>
              <a:ea typeface="휴먼모음T" panose="02030504000101010101" pitchFamily="18" charset="-127"/>
            </a:rPr>
            <a:t>공학</a:t>
          </a:r>
        </a:p>
      </dgm:t>
    </dgm:pt>
    <dgm:pt modelId="{0A0FB40C-3E7C-49DC-91E3-8BCC7D0D8048}" type="parTrans" cxnId="{A41AE79C-57CB-4BC3-8794-1668EA5F99FF}">
      <dgm:prSet/>
      <dgm:spPr/>
      <dgm:t>
        <a:bodyPr/>
        <a:lstStyle/>
        <a:p>
          <a:pPr latinLnBrk="1"/>
          <a:endParaRPr lang="ko-KR" altLang="en-US">
            <a:latin typeface="휴먼모음T" panose="02030504000101010101" pitchFamily="18" charset="-127"/>
            <a:ea typeface="휴먼모음T" panose="02030504000101010101" pitchFamily="18" charset="-127"/>
          </a:endParaRPr>
        </a:p>
      </dgm:t>
    </dgm:pt>
    <dgm:pt modelId="{8CD64DB8-FEE6-4886-B759-BC315B0FC220}" type="sibTrans" cxnId="{A41AE79C-57CB-4BC3-8794-1668EA5F99FF}">
      <dgm:prSet/>
      <dgm:spPr/>
      <dgm:t>
        <a:bodyPr/>
        <a:lstStyle/>
        <a:p>
          <a:pPr latinLnBrk="1"/>
          <a:endParaRPr lang="ko-KR" altLang="en-US">
            <a:latin typeface="휴먼모음T" panose="02030504000101010101" pitchFamily="18" charset="-127"/>
            <a:ea typeface="휴먼모음T" panose="02030504000101010101" pitchFamily="18" charset="-127"/>
          </a:endParaRPr>
        </a:p>
      </dgm:t>
    </dgm:pt>
    <dgm:pt modelId="{04F655DE-0B11-4889-801E-BBF1F5252E6C}">
      <dgm:prSet custT="1"/>
      <dgm:spPr>
        <a:solidFill>
          <a:srgbClr val="92D050"/>
        </a:solidFill>
      </dgm:spPr>
      <dgm:t>
        <a:bodyPr/>
        <a:lstStyle/>
        <a:p>
          <a:pPr marL="0" marR="0" lvl="0" indent="0" defTabSz="914400" eaLnBrk="1" fontAlgn="auto" latinLnBrk="1" hangingPunct="1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en-US" altLang="ko-KR" sz="2000" dirty="0">
              <a:solidFill>
                <a:schemeClr val="tx1"/>
              </a:solidFill>
              <a:latin typeface="휴먼모음T" panose="02030504000101010101" pitchFamily="18" charset="-127"/>
              <a:ea typeface="휴먼모음T" panose="02030504000101010101" pitchFamily="18" charset="-127"/>
            </a:rPr>
            <a:t>Big</a:t>
          </a:r>
          <a:r>
            <a:rPr lang="ko-KR" altLang="en-US" sz="2000" dirty="0">
              <a:solidFill>
                <a:schemeClr val="tx1"/>
              </a:solidFill>
              <a:latin typeface="휴먼모음T" panose="02030504000101010101" pitchFamily="18" charset="-127"/>
              <a:ea typeface="휴먼모음T" panose="02030504000101010101" pitchFamily="18" charset="-127"/>
            </a:rPr>
            <a:t> </a:t>
          </a:r>
          <a:r>
            <a:rPr lang="en-US" altLang="ko-KR" sz="2000" dirty="0">
              <a:solidFill>
                <a:schemeClr val="tx1"/>
              </a:solidFill>
              <a:latin typeface="휴먼모음T" panose="02030504000101010101" pitchFamily="18" charset="-127"/>
              <a:ea typeface="휴먼모음T" panose="02030504000101010101" pitchFamily="18" charset="-127"/>
            </a:rPr>
            <a:t>Date </a:t>
          </a:r>
          <a:endParaRPr lang="ko-KR" altLang="en-US" sz="2000" dirty="0">
            <a:solidFill>
              <a:schemeClr val="tx1"/>
            </a:solidFill>
            <a:latin typeface="휴먼모음T" panose="02030504000101010101" pitchFamily="18" charset="-127"/>
            <a:ea typeface="휴먼모음T" panose="02030504000101010101" pitchFamily="18" charset="-127"/>
          </a:endParaRPr>
        </a:p>
        <a:p>
          <a:pPr latinLnBrk="1"/>
          <a:endParaRPr lang="ko-KR" altLang="en-US" sz="2000" dirty="0">
            <a:solidFill>
              <a:schemeClr val="tx1"/>
            </a:solidFill>
            <a:latin typeface="휴먼모음T" panose="02030504000101010101" pitchFamily="18" charset="-127"/>
            <a:ea typeface="휴먼모음T" panose="02030504000101010101" pitchFamily="18" charset="-127"/>
          </a:endParaRPr>
        </a:p>
      </dgm:t>
    </dgm:pt>
    <dgm:pt modelId="{574A2EE6-CC28-46C7-A11C-F4B60417B7FB}" type="parTrans" cxnId="{606B152B-3695-42AB-BC84-C47FEE082155}">
      <dgm:prSet/>
      <dgm:spPr/>
      <dgm:t>
        <a:bodyPr/>
        <a:lstStyle/>
        <a:p>
          <a:pPr latinLnBrk="1"/>
          <a:endParaRPr lang="ko-KR" altLang="en-US">
            <a:latin typeface="휴먼모음T" panose="02030504000101010101" pitchFamily="18" charset="-127"/>
            <a:ea typeface="휴먼모음T" panose="02030504000101010101" pitchFamily="18" charset="-127"/>
          </a:endParaRPr>
        </a:p>
      </dgm:t>
    </dgm:pt>
    <dgm:pt modelId="{49055896-6F00-4CCD-B94C-05DE32CA4D35}" type="sibTrans" cxnId="{606B152B-3695-42AB-BC84-C47FEE082155}">
      <dgm:prSet/>
      <dgm:spPr/>
      <dgm:t>
        <a:bodyPr/>
        <a:lstStyle/>
        <a:p>
          <a:pPr latinLnBrk="1"/>
          <a:endParaRPr lang="ko-KR" altLang="en-US">
            <a:latin typeface="휴먼모음T" panose="02030504000101010101" pitchFamily="18" charset="-127"/>
            <a:ea typeface="휴먼모음T" panose="02030504000101010101" pitchFamily="18" charset="-127"/>
          </a:endParaRPr>
        </a:p>
      </dgm:t>
    </dgm:pt>
    <dgm:pt modelId="{D42E3B30-AA2B-4743-A5D7-21DBC8177599}">
      <dgm:prSet custT="1">
        <dgm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dgm:style>
      </dgm:prSet>
      <dgm:spPr/>
      <dgm:t>
        <a:bodyPr/>
        <a:lstStyle/>
        <a:p>
          <a:pPr latinLnBrk="1"/>
          <a:r>
            <a:rPr lang="ko-KR" altLang="en-US" sz="1800" dirty="0">
              <a:solidFill>
                <a:schemeClr val="tx1"/>
              </a:solidFill>
              <a:latin typeface="휴먼모음T" panose="02030504000101010101" pitchFamily="18" charset="-127"/>
              <a:ea typeface="휴먼모음T" panose="02030504000101010101" pitchFamily="18" charset="-127"/>
            </a:rPr>
            <a:t>자율주행</a:t>
          </a:r>
          <a:endParaRPr lang="en-US" altLang="ko-KR" sz="1800" dirty="0">
            <a:solidFill>
              <a:schemeClr val="tx1"/>
            </a:solidFill>
            <a:latin typeface="휴먼모음T" panose="02030504000101010101" pitchFamily="18" charset="-127"/>
            <a:ea typeface="휴먼모음T" panose="02030504000101010101" pitchFamily="18" charset="-127"/>
          </a:endParaRPr>
        </a:p>
        <a:p>
          <a:pPr latinLnBrk="1"/>
          <a:r>
            <a:rPr lang="en-US" altLang="ko-KR" sz="1800" dirty="0">
              <a:solidFill>
                <a:schemeClr val="tx1"/>
              </a:solidFill>
              <a:latin typeface="휴먼모음T" panose="02030504000101010101" pitchFamily="18" charset="-127"/>
              <a:ea typeface="휴먼모음T" panose="02030504000101010101" pitchFamily="18" charset="-127"/>
            </a:rPr>
            <a:t>G90 &gt; Level 4</a:t>
          </a:r>
          <a:r>
            <a:rPr lang="ko-KR" altLang="en-US" sz="1800" dirty="0">
              <a:solidFill>
                <a:schemeClr val="tx1"/>
              </a:solidFill>
              <a:latin typeface="휴먼모음T" panose="02030504000101010101" pitchFamily="18" charset="-127"/>
              <a:ea typeface="휴먼모음T" panose="02030504000101010101" pitchFamily="18" charset="-127"/>
            </a:rPr>
            <a:t> </a:t>
          </a:r>
        </a:p>
      </dgm:t>
    </dgm:pt>
    <dgm:pt modelId="{15D22F01-4960-48E7-913A-DBC5AC7D44F8}" type="parTrans" cxnId="{7A155CE9-66CC-457F-B384-C98BB58331AF}">
      <dgm:prSet/>
      <dgm:spPr/>
      <dgm:t>
        <a:bodyPr/>
        <a:lstStyle/>
        <a:p>
          <a:pPr latinLnBrk="1"/>
          <a:endParaRPr lang="ko-KR" altLang="en-US">
            <a:latin typeface="휴먼모음T" panose="02030504000101010101" pitchFamily="18" charset="-127"/>
            <a:ea typeface="휴먼모음T" panose="02030504000101010101" pitchFamily="18" charset="-127"/>
          </a:endParaRPr>
        </a:p>
      </dgm:t>
    </dgm:pt>
    <dgm:pt modelId="{765C9974-EB76-4023-AD09-7B3563F81FB9}" type="sibTrans" cxnId="{7A155CE9-66CC-457F-B384-C98BB58331AF}">
      <dgm:prSet/>
      <dgm:spPr/>
      <dgm:t>
        <a:bodyPr/>
        <a:lstStyle/>
        <a:p>
          <a:pPr latinLnBrk="1"/>
          <a:endParaRPr lang="ko-KR" altLang="en-US">
            <a:latin typeface="휴먼모음T" panose="02030504000101010101" pitchFamily="18" charset="-127"/>
            <a:ea typeface="휴먼모음T" panose="02030504000101010101" pitchFamily="18" charset="-127"/>
          </a:endParaRPr>
        </a:p>
      </dgm:t>
    </dgm:pt>
    <dgm:pt modelId="{EC118919-2336-47C1-8B19-A0997219D07F}">
      <dgm:prSet custT="1"/>
      <dgm:spPr>
        <a:solidFill>
          <a:srgbClr val="FFC000"/>
        </a:solidFill>
      </dgm:spPr>
      <dgm:t>
        <a:bodyPr/>
        <a:lstStyle/>
        <a:p>
          <a:pPr latinLnBrk="1"/>
          <a:endParaRPr lang="en-US" altLang="ko-KR" sz="1000" dirty="0">
            <a:solidFill>
              <a:schemeClr val="tx1"/>
            </a:solidFill>
            <a:latin typeface="휴먼모음T" panose="02030504000101010101" pitchFamily="18" charset="-127"/>
            <a:ea typeface="휴먼모음T" panose="02030504000101010101" pitchFamily="18" charset="-127"/>
          </a:endParaRPr>
        </a:p>
        <a:p>
          <a:pPr latinLnBrk="1"/>
          <a:r>
            <a:rPr lang="en-US" altLang="ko-KR" sz="1800" dirty="0">
              <a:solidFill>
                <a:schemeClr val="tx1"/>
              </a:solidFill>
              <a:latin typeface="휴먼모음T" panose="02030504000101010101" pitchFamily="18" charset="-127"/>
              <a:ea typeface="휴먼모음T" panose="02030504000101010101" pitchFamily="18" charset="-127"/>
            </a:rPr>
            <a:t>AR</a:t>
          </a:r>
        </a:p>
        <a:p>
          <a:pPr latinLnBrk="1"/>
          <a:r>
            <a:rPr lang="en-US" altLang="ko-KR" sz="1800" dirty="0">
              <a:solidFill>
                <a:schemeClr val="tx1"/>
              </a:solidFill>
              <a:latin typeface="휴먼모음T" panose="02030504000101010101" pitchFamily="18" charset="-127"/>
              <a:ea typeface="휴먼모음T" panose="02030504000101010101" pitchFamily="18" charset="-127"/>
            </a:rPr>
            <a:t>/VR/</a:t>
          </a:r>
        </a:p>
        <a:p>
          <a:pPr latinLnBrk="1"/>
          <a:r>
            <a:rPr lang="ko-KR" altLang="en-US" sz="1800" dirty="0">
              <a:solidFill>
                <a:schemeClr val="tx1"/>
              </a:solidFill>
              <a:latin typeface="휴먼모음T" panose="02030504000101010101" pitchFamily="18" charset="-127"/>
              <a:ea typeface="휴먼모음T" panose="02030504000101010101" pitchFamily="18" charset="-127"/>
            </a:rPr>
            <a:t>메타버스</a:t>
          </a:r>
          <a:endParaRPr lang="en-US" altLang="ko-KR" sz="1800" dirty="0">
            <a:solidFill>
              <a:schemeClr val="tx1"/>
            </a:solidFill>
            <a:latin typeface="휴먼모음T" panose="02030504000101010101" pitchFamily="18" charset="-127"/>
            <a:ea typeface="휴먼모음T" panose="02030504000101010101" pitchFamily="18" charset="-127"/>
          </a:endParaRPr>
        </a:p>
        <a:p>
          <a:pPr latinLnBrk="1"/>
          <a:endParaRPr lang="ko-KR" altLang="en-US" sz="1400" dirty="0">
            <a:solidFill>
              <a:schemeClr val="tx1"/>
            </a:solidFill>
            <a:latin typeface="휴먼모음T" panose="02030504000101010101" pitchFamily="18" charset="-127"/>
            <a:ea typeface="휴먼모음T" panose="02030504000101010101" pitchFamily="18" charset="-127"/>
          </a:endParaRPr>
        </a:p>
      </dgm:t>
    </dgm:pt>
    <dgm:pt modelId="{AC16169F-146C-4F12-BFE4-F08D3D3FD0B6}" type="parTrans" cxnId="{5A586790-36A7-43E4-AFD8-6C4FB6CDA6B6}">
      <dgm:prSet/>
      <dgm:spPr/>
      <dgm:t>
        <a:bodyPr/>
        <a:lstStyle/>
        <a:p>
          <a:pPr latinLnBrk="1"/>
          <a:endParaRPr lang="ko-KR" altLang="en-US">
            <a:latin typeface="휴먼모음T" panose="02030504000101010101" pitchFamily="18" charset="-127"/>
            <a:ea typeface="휴먼모음T" panose="02030504000101010101" pitchFamily="18" charset="-127"/>
          </a:endParaRPr>
        </a:p>
      </dgm:t>
    </dgm:pt>
    <dgm:pt modelId="{53FF2D60-A477-4EA2-A9D7-79A33AE6DAD9}" type="sibTrans" cxnId="{5A586790-36A7-43E4-AFD8-6C4FB6CDA6B6}">
      <dgm:prSet/>
      <dgm:spPr/>
      <dgm:t>
        <a:bodyPr/>
        <a:lstStyle/>
        <a:p>
          <a:pPr latinLnBrk="1"/>
          <a:endParaRPr lang="ko-KR" altLang="en-US">
            <a:latin typeface="휴먼모음T" panose="02030504000101010101" pitchFamily="18" charset="-127"/>
            <a:ea typeface="휴먼모음T" panose="02030504000101010101" pitchFamily="18" charset="-127"/>
          </a:endParaRPr>
        </a:p>
      </dgm:t>
    </dgm:pt>
    <dgm:pt modelId="{3CBAFA80-F353-4647-ACB7-3F65C37DF694}">
      <dgm:prSet custT="1"/>
      <dgm:spPr>
        <a:solidFill>
          <a:schemeClr val="accent1">
            <a:lumMod val="20000"/>
            <a:lumOff val="80000"/>
          </a:schemeClr>
        </a:solidFill>
      </dgm:spPr>
      <dgm:t>
        <a:bodyPr/>
        <a:lstStyle/>
        <a:p>
          <a:pPr latinLnBrk="1"/>
          <a:r>
            <a:rPr lang="ko-KR" altLang="en-US" sz="2800" dirty="0" err="1">
              <a:solidFill>
                <a:schemeClr val="tx1"/>
              </a:solidFill>
              <a:latin typeface="휴먼모음T" panose="02030504000101010101" pitchFamily="18" charset="-127"/>
              <a:ea typeface="휴먼모음T" panose="02030504000101010101" pitchFamily="18" charset="-127"/>
            </a:rPr>
            <a:t>드론</a:t>
          </a:r>
          <a:endParaRPr lang="ko-KR" altLang="en-US" sz="2800" dirty="0">
            <a:solidFill>
              <a:schemeClr val="tx1"/>
            </a:solidFill>
            <a:latin typeface="휴먼모음T" panose="02030504000101010101" pitchFamily="18" charset="-127"/>
            <a:ea typeface="휴먼모음T" panose="02030504000101010101" pitchFamily="18" charset="-127"/>
          </a:endParaRPr>
        </a:p>
      </dgm:t>
    </dgm:pt>
    <dgm:pt modelId="{C75AEE03-64B5-4240-9858-C15ABCCF939C}" type="parTrans" cxnId="{EA434E26-56CB-458F-8070-124ACFE8D08C}">
      <dgm:prSet/>
      <dgm:spPr/>
      <dgm:t>
        <a:bodyPr/>
        <a:lstStyle/>
        <a:p>
          <a:pPr latinLnBrk="1"/>
          <a:endParaRPr lang="ko-KR" altLang="en-US">
            <a:latin typeface="휴먼모음T" panose="02030504000101010101" pitchFamily="18" charset="-127"/>
            <a:ea typeface="휴먼모음T" panose="02030504000101010101" pitchFamily="18" charset="-127"/>
          </a:endParaRPr>
        </a:p>
      </dgm:t>
    </dgm:pt>
    <dgm:pt modelId="{57973069-C729-4F42-B98C-B05DE004C199}" type="sibTrans" cxnId="{EA434E26-56CB-458F-8070-124ACFE8D08C}">
      <dgm:prSet/>
      <dgm:spPr/>
      <dgm:t>
        <a:bodyPr/>
        <a:lstStyle/>
        <a:p>
          <a:pPr latinLnBrk="1"/>
          <a:endParaRPr lang="ko-KR" altLang="en-US">
            <a:latin typeface="휴먼모음T" panose="02030504000101010101" pitchFamily="18" charset="-127"/>
            <a:ea typeface="휴먼모음T" panose="02030504000101010101" pitchFamily="18" charset="-127"/>
          </a:endParaRPr>
        </a:p>
      </dgm:t>
    </dgm:pt>
    <dgm:pt modelId="{101F1755-2A66-4171-9F8E-3B8FB5F588AC}">
      <dgm:prSet custT="1"/>
      <dgm:spPr/>
      <dgm:t>
        <a:bodyPr/>
        <a:lstStyle/>
        <a:p>
          <a:pPr latinLnBrk="1"/>
          <a:r>
            <a:rPr lang="ko-KR" altLang="en-US" sz="4000" dirty="0">
              <a:solidFill>
                <a:srgbClr val="002060"/>
              </a:solidFill>
              <a:latin typeface="휴먼모음T" panose="02030504000101010101" pitchFamily="18" charset="-127"/>
              <a:ea typeface="휴먼모음T" panose="02030504000101010101" pitchFamily="18" charset="-127"/>
            </a:rPr>
            <a:t>뇌신경</a:t>
          </a:r>
          <a:r>
            <a:rPr lang="ko-KR" altLang="en-US" sz="1600" dirty="0">
              <a:solidFill>
                <a:srgbClr val="002060"/>
              </a:solidFill>
              <a:latin typeface="휴먼모음T" panose="02030504000101010101" pitchFamily="18" charset="-127"/>
              <a:ea typeface="휴먼모음T" panose="02030504000101010101" pitchFamily="18" charset="-127"/>
            </a:rPr>
            <a:t>과학</a:t>
          </a:r>
          <a:r>
            <a:rPr lang="ko-KR" altLang="en-US" sz="4000" dirty="0">
              <a:solidFill>
                <a:srgbClr val="002060"/>
              </a:solidFill>
              <a:latin typeface="휴먼모음T" panose="02030504000101010101" pitchFamily="18" charset="-127"/>
              <a:ea typeface="휴먼모음T" panose="02030504000101010101" pitchFamily="18" charset="-127"/>
            </a:rPr>
            <a:t> </a:t>
          </a:r>
        </a:p>
      </dgm:t>
    </dgm:pt>
    <dgm:pt modelId="{F6311FF5-6E3F-4B7D-8153-29901A4E64DC}" type="parTrans" cxnId="{5188D7A6-783A-4021-B84D-3A78DFC025FD}">
      <dgm:prSet/>
      <dgm:spPr/>
      <dgm:t>
        <a:bodyPr/>
        <a:lstStyle/>
        <a:p>
          <a:pPr latinLnBrk="1"/>
          <a:endParaRPr lang="ko-KR" altLang="en-US">
            <a:latin typeface="휴먼모음T" panose="02030504000101010101" pitchFamily="18" charset="-127"/>
            <a:ea typeface="휴먼모음T" panose="02030504000101010101" pitchFamily="18" charset="-127"/>
          </a:endParaRPr>
        </a:p>
      </dgm:t>
    </dgm:pt>
    <dgm:pt modelId="{A1E93CFE-203B-41BC-9FDC-AF473DF4ADFF}" type="sibTrans" cxnId="{5188D7A6-783A-4021-B84D-3A78DFC025FD}">
      <dgm:prSet/>
      <dgm:spPr/>
      <dgm:t>
        <a:bodyPr/>
        <a:lstStyle/>
        <a:p>
          <a:pPr latinLnBrk="1"/>
          <a:endParaRPr lang="ko-KR" altLang="en-US">
            <a:latin typeface="휴먼모음T" panose="02030504000101010101" pitchFamily="18" charset="-127"/>
            <a:ea typeface="휴먼모음T" panose="02030504000101010101" pitchFamily="18" charset="-127"/>
          </a:endParaRPr>
        </a:p>
      </dgm:t>
    </dgm:pt>
    <dgm:pt modelId="{32C24C52-6BE1-4CC3-ACD1-2C036CF78BBA}">
      <dgm:prSet/>
      <dgm:spPr>
        <a:solidFill>
          <a:srgbClr val="FFC000"/>
        </a:solidFill>
      </dgm:spPr>
      <dgm:t>
        <a:bodyPr/>
        <a:lstStyle/>
        <a:p>
          <a:pPr latinLnBrk="1"/>
          <a:r>
            <a:rPr lang="en-US" altLang="ko-KR" dirty="0">
              <a:solidFill>
                <a:schemeClr val="tx1"/>
              </a:solidFill>
              <a:latin typeface="휴먼모음T" panose="02030504000101010101" pitchFamily="18" charset="-127"/>
              <a:ea typeface="휴먼모음T" panose="02030504000101010101" pitchFamily="18" charset="-127"/>
            </a:rPr>
            <a:t>5G</a:t>
          </a:r>
          <a:endParaRPr lang="ko-KR" altLang="en-US" dirty="0">
            <a:solidFill>
              <a:schemeClr val="tx1"/>
            </a:solidFill>
            <a:latin typeface="휴먼모음T" panose="02030504000101010101" pitchFamily="18" charset="-127"/>
            <a:ea typeface="휴먼모음T" panose="02030504000101010101" pitchFamily="18" charset="-127"/>
          </a:endParaRPr>
        </a:p>
      </dgm:t>
    </dgm:pt>
    <dgm:pt modelId="{18E0C8E2-8DDE-4DCD-B2EC-E76DF659A9EB}" type="parTrans" cxnId="{45555731-098B-4782-A53D-0AC609243AFD}">
      <dgm:prSet/>
      <dgm:spPr/>
      <dgm:t>
        <a:bodyPr/>
        <a:lstStyle/>
        <a:p>
          <a:pPr latinLnBrk="1"/>
          <a:endParaRPr lang="ko-KR" altLang="en-US">
            <a:latin typeface="휴먼모음T" panose="02030504000101010101" pitchFamily="18" charset="-127"/>
            <a:ea typeface="휴먼모음T" panose="02030504000101010101" pitchFamily="18" charset="-127"/>
          </a:endParaRPr>
        </a:p>
      </dgm:t>
    </dgm:pt>
    <dgm:pt modelId="{459553F0-B593-4F57-B269-7942E858FC79}" type="sibTrans" cxnId="{45555731-098B-4782-A53D-0AC609243AFD}">
      <dgm:prSet/>
      <dgm:spPr/>
      <dgm:t>
        <a:bodyPr/>
        <a:lstStyle/>
        <a:p>
          <a:pPr latinLnBrk="1"/>
          <a:endParaRPr lang="ko-KR" altLang="en-US">
            <a:latin typeface="휴먼모음T" panose="02030504000101010101" pitchFamily="18" charset="-127"/>
            <a:ea typeface="휴먼모음T" panose="02030504000101010101" pitchFamily="18" charset="-127"/>
          </a:endParaRPr>
        </a:p>
      </dgm:t>
    </dgm:pt>
    <dgm:pt modelId="{1B7CF047-5A1A-4CE9-B2ED-4F34588920E1}">
      <dgm:prSet phldrT="[텍스트]" custScaleY="214851" custRadScaleRad="108616" custRadScaleInc="91272"/>
      <dgm:spPr>
        <a:solidFill>
          <a:schemeClr val="bg2">
            <a:lumMod val="60000"/>
            <a:lumOff val="40000"/>
          </a:schemeClr>
        </a:solidFill>
      </dgm:spPr>
      <dgm:t>
        <a:bodyPr/>
        <a:lstStyle/>
        <a:p>
          <a:pPr latinLnBrk="1"/>
          <a:endParaRPr lang="ko-KR" altLang="en-US"/>
        </a:p>
      </dgm:t>
    </dgm:pt>
    <dgm:pt modelId="{63DB6BE8-3381-4A22-A0D5-F458B09946A7}" type="parTrans" cxnId="{88E99783-E04C-4C93-BC24-BD84287D4FB3}">
      <dgm:prSet/>
      <dgm:spPr/>
      <dgm:t>
        <a:bodyPr/>
        <a:lstStyle/>
        <a:p>
          <a:pPr latinLnBrk="1"/>
          <a:endParaRPr lang="ko-KR" altLang="en-US"/>
        </a:p>
      </dgm:t>
    </dgm:pt>
    <dgm:pt modelId="{1E2CBF88-C67A-469C-A995-6B1B97F16AA8}" type="sibTrans" cxnId="{88E99783-E04C-4C93-BC24-BD84287D4FB3}">
      <dgm:prSet custScaleX="115847" custScaleY="81799"/>
      <dgm:spPr/>
      <dgm:t>
        <a:bodyPr/>
        <a:lstStyle/>
        <a:p>
          <a:pPr latinLnBrk="1"/>
          <a:endParaRPr lang="ko-KR" altLang="en-US"/>
        </a:p>
      </dgm:t>
    </dgm:pt>
    <dgm:pt modelId="{3E885286-E286-4157-88E0-7B03D7DC2037}">
      <dgm:prSet/>
      <dgm:spPr/>
      <dgm:t>
        <a:bodyPr/>
        <a:lstStyle/>
        <a:p>
          <a:pPr latinLnBrk="1"/>
          <a:r>
            <a:rPr lang="en-US" altLang="ko-KR" dirty="0"/>
            <a:t>Bio</a:t>
          </a:r>
          <a:endParaRPr lang="ko-KR" altLang="en-US" dirty="0"/>
        </a:p>
      </dgm:t>
    </dgm:pt>
    <dgm:pt modelId="{C6788A96-A1AB-4F5C-9BBF-913AA46632E9}" type="parTrans" cxnId="{B2FE9B2F-980B-4D7E-BF16-75D77D32362B}">
      <dgm:prSet/>
      <dgm:spPr/>
      <dgm:t>
        <a:bodyPr/>
        <a:lstStyle/>
        <a:p>
          <a:pPr latinLnBrk="1"/>
          <a:endParaRPr lang="ko-KR" altLang="en-US"/>
        </a:p>
      </dgm:t>
    </dgm:pt>
    <dgm:pt modelId="{9DE2BC53-736A-4927-8F52-478CB5E628A1}" type="sibTrans" cxnId="{B2FE9B2F-980B-4D7E-BF16-75D77D32362B}">
      <dgm:prSet/>
      <dgm:spPr/>
      <dgm:t>
        <a:bodyPr/>
        <a:lstStyle/>
        <a:p>
          <a:pPr latinLnBrk="1"/>
          <a:endParaRPr lang="ko-KR" altLang="en-US"/>
        </a:p>
      </dgm:t>
    </dgm:pt>
    <dgm:pt modelId="{7B72A4DD-658B-4820-AE2B-CCA0CC27FAEC}">
      <dgm:prSet phldrT="[텍스트]" custScaleX="255250" custScaleY="174777" custRadScaleRad="111507" custRadScaleInc="-847400"/>
      <dgm:spPr>
        <a:solidFill>
          <a:srgbClr val="0070C0"/>
        </a:solidFill>
      </dgm:spPr>
      <dgm:t>
        <a:bodyPr/>
        <a:lstStyle/>
        <a:p>
          <a:pPr latinLnBrk="1"/>
          <a:endParaRPr lang="ko-KR" altLang="en-US"/>
        </a:p>
      </dgm:t>
    </dgm:pt>
    <dgm:pt modelId="{9C1E2C2C-2B5B-40E1-A262-239670060992}" type="parTrans" cxnId="{5694D876-26F6-4CF5-87E6-57AEBD824CDC}">
      <dgm:prSet/>
      <dgm:spPr/>
      <dgm:t>
        <a:bodyPr/>
        <a:lstStyle/>
        <a:p>
          <a:pPr latinLnBrk="1"/>
          <a:endParaRPr lang="ko-KR" altLang="en-US"/>
        </a:p>
      </dgm:t>
    </dgm:pt>
    <dgm:pt modelId="{47483ED2-5103-4157-B1B7-74364D0D6CEC}" type="sibTrans" cxnId="{5694D876-26F6-4CF5-87E6-57AEBD824CDC}">
      <dgm:prSet/>
      <dgm:spPr/>
      <dgm:t>
        <a:bodyPr/>
        <a:lstStyle/>
        <a:p>
          <a:pPr latinLnBrk="1"/>
          <a:endParaRPr lang="ko-KR" altLang="en-US"/>
        </a:p>
      </dgm:t>
    </dgm:pt>
    <dgm:pt modelId="{D81EF847-97E9-4E70-83A5-B66053980B76}">
      <dgm:prSet/>
      <dgm:spPr/>
      <dgm:t>
        <a:bodyPr/>
        <a:lstStyle/>
        <a:p>
          <a:pPr latinLnBrk="1"/>
          <a:endParaRPr lang="ko-KR" altLang="en-US"/>
        </a:p>
      </dgm:t>
    </dgm:pt>
    <dgm:pt modelId="{36D98D12-4BAA-4EE7-BC45-4DB1470C1227}" type="parTrans" cxnId="{8AAC3E4E-4AB8-4480-B791-D55583AB0BBF}">
      <dgm:prSet/>
      <dgm:spPr/>
      <dgm:t>
        <a:bodyPr/>
        <a:lstStyle/>
        <a:p>
          <a:pPr latinLnBrk="1"/>
          <a:endParaRPr lang="ko-KR" altLang="en-US"/>
        </a:p>
      </dgm:t>
    </dgm:pt>
    <dgm:pt modelId="{F40193E3-092E-4574-8A2D-CAD10ED0E03C}" type="sibTrans" cxnId="{8AAC3E4E-4AB8-4480-B791-D55583AB0BBF}">
      <dgm:prSet/>
      <dgm:spPr/>
      <dgm:t>
        <a:bodyPr/>
        <a:lstStyle/>
        <a:p>
          <a:pPr latinLnBrk="1"/>
          <a:endParaRPr lang="ko-KR" altLang="en-US"/>
        </a:p>
      </dgm:t>
    </dgm:pt>
    <dgm:pt modelId="{10E8DA99-BF82-45C3-864C-3D0A8831798D}" type="pres">
      <dgm:prSet presAssocID="{9DB76B85-8D2E-4174-803A-19792D253BC3}" presName="Name0" presStyleCnt="0">
        <dgm:presLayoutVars>
          <dgm:chMax val="1"/>
          <dgm:dir/>
          <dgm:animLvl val="ctr"/>
          <dgm:resizeHandles val="exact"/>
        </dgm:presLayoutVars>
      </dgm:prSet>
      <dgm:spPr/>
      <dgm:t>
        <a:bodyPr/>
        <a:lstStyle/>
        <a:p>
          <a:pPr latinLnBrk="1"/>
          <a:endParaRPr lang="ko-KR" altLang="en-US"/>
        </a:p>
      </dgm:t>
    </dgm:pt>
    <dgm:pt modelId="{D2637A7B-39E8-4AF9-AD5D-BD1B9FE0707F}" type="pres">
      <dgm:prSet presAssocID="{83CC7F60-58BD-458F-BB24-B30A2E0A936A}" presName="centerShape" presStyleLbl="node0" presStyleIdx="0" presStyleCnt="1" custScaleX="349225" custScaleY="170135" custLinFactNeighborX="-2600" custLinFactNeighborY="-6163"/>
      <dgm:spPr/>
      <dgm:t>
        <a:bodyPr/>
        <a:lstStyle/>
        <a:p>
          <a:pPr latinLnBrk="1"/>
          <a:endParaRPr lang="ko-KR" altLang="en-US"/>
        </a:p>
      </dgm:t>
    </dgm:pt>
    <dgm:pt modelId="{79BD79E0-828B-4BFE-BA64-4233F581F14E}" type="pres">
      <dgm:prSet presAssocID="{8C14DC3D-1FB2-475B-9B8F-3C9EC0B13498}" presName="node" presStyleLbl="node1" presStyleIdx="0" presStyleCnt="12" custScaleX="240559" custScaleY="264595" custRadScaleRad="108398" custRadScaleInc="-700129">
        <dgm:presLayoutVars>
          <dgm:bulletEnabled val="1"/>
        </dgm:presLayoutVars>
      </dgm:prSet>
      <dgm:spPr/>
      <dgm:t>
        <a:bodyPr/>
        <a:lstStyle/>
        <a:p>
          <a:pPr latinLnBrk="1"/>
          <a:endParaRPr lang="ko-KR" altLang="en-US"/>
        </a:p>
      </dgm:t>
    </dgm:pt>
    <dgm:pt modelId="{C751EB3E-ED31-4102-A21C-1CE1F2D21A6B}" type="pres">
      <dgm:prSet presAssocID="{8C14DC3D-1FB2-475B-9B8F-3C9EC0B13498}" presName="dummy" presStyleCnt="0"/>
      <dgm:spPr/>
    </dgm:pt>
    <dgm:pt modelId="{EEA9FFA8-2CC1-4DD7-9CBC-1F2F63E3FE67}" type="pres">
      <dgm:prSet presAssocID="{3B28301E-C0E0-4F81-907A-65F7371E8BAA}" presName="sibTrans" presStyleLbl="sibTrans2D1" presStyleIdx="0" presStyleCnt="12" custLinFactNeighborX="753" custLinFactNeighborY="782"/>
      <dgm:spPr/>
      <dgm:t>
        <a:bodyPr/>
        <a:lstStyle/>
        <a:p>
          <a:pPr latinLnBrk="1"/>
          <a:endParaRPr lang="ko-KR" altLang="en-US"/>
        </a:p>
      </dgm:t>
    </dgm:pt>
    <dgm:pt modelId="{218E5A7B-7F5C-40FC-9469-399C14213786}" type="pres">
      <dgm:prSet presAssocID="{101F1755-2A66-4171-9F8E-3B8FB5F588AC}" presName="node" presStyleLbl="node1" presStyleIdx="1" presStyleCnt="12" custScaleX="327101" custRadScaleRad="88602" custRadScaleInc="107019">
        <dgm:presLayoutVars>
          <dgm:bulletEnabled val="1"/>
        </dgm:presLayoutVars>
      </dgm:prSet>
      <dgm:spPr/>
      <dgm:t>
        <a:bodyPr/>
        <a:lstStyle/>
        <a:p>
          <a:pPr latinLnBrk="1"/>
          <a:endParaRPr lang="ko-KR" altLang="en-US"/>
        </a:p>
      </dgm:t>
    </dgm:pt>
    <dgm:pt modelId="{1FA20717-6232-4AD4-BC83-B12B87A2D035}" type="pres">
      <dgm:prSet presAssocID="{101F1755-2A66-4171-9F8E-3B8FB5F588AC}" presName="dummy" presStyleCnt="0"/>
      <dgm:spPr/>
    </dgm:pt>
    <dgm:pt modelId="{B00517F5-9677-4D9A-A656-6616518E9C7F}" type="pres">
      <dgm:prSet presAssocID="{A1E93CFE-203B-41BC-9FDC-AF473DF4ADFF}" presName="sibTrans" presStyleLbl="sibTrans2D1" presStyleIdx="1" presStyleCnt="12"/>
      <dgm:spPr/>
      <dgm:t>
        <a:bodyPr/>
        <a:lstStyle/>
        <a:p>
          <a:pPr latinLnBrk="1"/>
          <a:endParaRPr lang="ko-KR" altLang="en-US"/>
        </a:p>
      </dgm:t>
    </dgm:pt>
    <dgm:pt modelId="{9799FF70-BFA3-4257-AD76-15D841764B12}" type="pres">
      <dgm:prSet presAssocID="{04F655DE-0B11-4889-801E-BBF1F5252E6C}" presName="node" presStyleLbl="node1" presStyleIdx="2" presStyleCnt="12" custScaleX="278143" custScaleY="216289" custRadScaleRad="64492" custRadScaleInc="493420">
        <dgm:presLayoutVars>
          <dgm:bulletEnabled val="1"/>
        </dgm:presLayoutVars>
      </dgm:prSet>
      <dgm:spPr/>
      <dgm:t>
        <a:bodyPr/>
        <a:lstStyle/>
        <a:p>
          <a:pPr latinLnBrk="1"/>
          <a:endParaRPr lang="ko-KR" altLang="en-US"/>
        </a:p>
      </dgm:t>
    </dgm:pt>
    <dgm:pt modelId="{20950B6A-B255-4AE4-B094-7A7E7E14AEB9}" type="pres">
      <dgm:prSet presAssocID="{04F655DE-0B11-4889-801E-BBF1F5252E6C}" presName="dummy" presStyleCnt="0"/>
      <dgm:spPr/>
    </dgm:pt>
    <dgm:pt modelId="{B9F1E656-E6E6-40A8-9070-F78B6A735065}" type="pres">
      <dgm:prSet presAssocID="{49055896-6F00-4CCD-B94C-05DE32CA4D35}" presName="sibTrans" presStyleLbl="sibTrans2D1" presStyleIdx="2" presStyleCnt="12" custScaleY="71812"/>
      <dgm:spPr/>
      <dgm:t>
        <a:bodyPr/>
        <a:lstStyle/>
        <a:p>
          <a:pPr latinLnBrk="1"/>
          <a:endParaRPr lang="ko-KR" altLang="en-US"/>
        </a:p>
      </dgm:t>
    </dgm:pt>
    <dgm:pt modelId="{737849E5-490D-4598-B011-24E340A54279}" type="pres">
      <dgm:prSet presAssocID="{D42E3B30-AA2B-4743-A5D7-21DBC8177599}" presName="node" presStyleLbl="node1" presStyleIdx="3" presStyleCnt="12" custScaleX="278904" custScaleY="221288" custRadScaleRad="82866" custRadScaleInc="-1112087">
        <dgm:presLayoutVars>
          <dgm:bulletEnabled val="1"/>
        </dgm:presLayoutVars>
      </dgm:prSet>
      <dgm:spPr/>
      <dgm:t>
        <a:bodyPr/>
        <a:lstStyle/>
        <a:p>
          <a:pPr latinLnBrk="1"/>
          <a:endParaRPr lang="ko-KR" altLang="en-US"/>
        </a:p>
      </dgm:t>
    </dgm:pt>
    <dgm:pt modelId="{FED75555-73C4-4AB1-ABBB-D4DB1DDFC10A}" type="pres">
      <dgm:prSet presAssocID="{D42E3B30-AA2B-4743-A5D7-21DBC8177599}" presName="dummy" presStyleCnt="0"/>
      <dgm:spPr/>
    </dgm:pt>
    <dgm:pt modelId="{555CCB8E-D167-41F9-A234-D257D8962690}" type="pres">
      <dgm:prSet presAssocID="{765C9974-EB76-4023-AD09-7B3563F81FB9}" presName="sibTrans" presStyleLbl="sibTrans2D1" presStyleIdx="3" presStyleCnt="12"/>
      <dgm:spPr/>
      <dgm:t>
        <a:bodyPr/>
        <a:lstStyle/>
        <a:p>
          <a:pPr latinLnBrk="1"/>
          <a:endParaRPr lang="ko-KR" altLang="en-US"/>
        </a:p>
      </dgm:t>
    </dgm:pt>
    <dgm:pt modelId="{AA6FF6AB-1DE1-4F7B-BFD0-B6218621BFEC}" type="pres">
      <dgm:prSet presAssocID="{32C24C52-6BE1-4CC3-ACD1-2C036CF78BBA}" presName="node" presStyleLbl="node1" presStyleIdx="4" presStyleCnt="12" custRadScaleRad="46798" custRadScaleInc="640721">
        <dgm:presLayoutVars>
          <dgm:bulletEnabled val="1"/>
        </dgm:presLayoutVars>
      </dgm:prSet>
      <dgm:spPr/>
      <dgm:t>
        <a:bodyPr/>
        <a:lstStyle/>
        <a:p>
          <a:pPr latinLnBrk="1"/>
          <a:endParaRPr lang="ko-KR" altLang="en-US"/>
        </a:p>
      </dgm:t>
    </dgm:pt>
    <dgm:pt modelId="{456CC02C-36EC-4510-B908-46118794D352}" type="pres">
      <dgm:prSet presAssocID="{32C24C52-6BE1-4CC3-ACD1-2C036CF78BBA}" presName="dummy" presStyleCnt="0"/>
      <dgm:spPr/>
    </dgm:pt>
    <dgm:pt modelId="{DB2482E8-8F63-47B3-BE3F-0F5509243A41}" type="pres">
      <dgm:prSet presAssocID="{459553F0-B593-4F57-B269-7942E858FC79}" presName="sibTrans" presStyleLbl="sibTrans2D1" presStyleIdx="4" presStyleCnt="12"/>
      <dgm:spPr/>
      <dgm:t>
        <a:bodyPr/>
        <a:lstStyle/>
        <a:p>
          <a:pPr latinLnBrk="1"/>
          <a:endParaRPr lang="ko-KR" altLang="en-US"/>
        </a:p>
      </dgm:t>
    </dgm:pt>
    <dgm:pt modelId="{B9B501BB-5BB7-4436-8E23-40E2C07C85BF}" type="pres">
      <dgm:prSet presAssocID="{3E885286-E286-4157-88E0-7B03D7DC2037}" presName="node" presStyleLbl="node1" presStyleIdx="5" presStyleCnt="12">
        <dgm:presLayoutVars>
          <dgm:bulletEnabled val="1"/>
        </dgm:presLayoutVars>
      </dgm:prSet>
      <dgm:spPr/>
      <dgm:t>
        <a:bodyPr/>
        <a:lstStyle/>
        <a:p>
          <a:pPr latinLnBrk="1"/>
          <a:endParaRPr lang="ko-KR" altLang="en-US"/>
        </a:p>
      </dgm:t>
    </dgm:pt>
    <dgm:pt modelId="{A07F8C90-7838-46E1-9B91-CB6FBC65CC99}" type="pres">
      <dgm:prSet presAssocID="{3E885286-E286-4157-88E0-7B03D7DC2037}" presName="dummy" presStyleCnt="0"/>
      <dgm:spPr/>
    </dgm:pt>
    <dgm:pt modelId="{7B2A3EE2-D95D-4049-BF57-3E0011EA166A}" type="pres">
      <dgm:prSet presAssocID="{9DE2BC53-736A-4927-8F52-478CB5E628A1}" presName="sibTrans" presStyleLbl="sibTrans2D1" presStyleIdx="5" presStyleCnt="12"/>
      <dgm:spPr/>
      <dgm:t>
        <a:bodyPr/>
        <a:lstStyle/>
        <a:p>
          <a:pPr latinLnBrk="1"/>
          <a:endParaRPr lang="ko-KR" altLang="en-US"/>
        </a:p>
      </dgm:t>
    </dgm:pt>
    <dgm:pt modelId="{83E7461D-87B7-4A1D-A3EE-D6D0D62DB5A4}" type="pres">
      <dgm:prSet presAssocID="{5EBA1FF4-801E-4EAA-82FF-83DD805C9253}" presName="node" presStyleLbl="node1" presStyleIdx="6" presStyleCnt="12" custScaleX="255250" custScaleY="174777" custRadScaleRad="124180" custRadScaleInc="-741977">
        <dgm:presLayoutVars>
          <dgm:bulletEnabled val="1"/>
        </dgm:presLayoutVars>
      </dgm:prSet>
      <dgm:spPr/>
      <dgm:t>
        <a:bodyPr/>
        <a:lstStyle/>
        <a:p>
          <a:pPr latinLnBrk="1"/>
          <a:endParaRPr lang="ko-KR" altLang="en-US"/>
        </a:p>
      </dgm:t>
    </dgm:pt>
    <dgm:pt modelId="{FC8B837D-2AF2-4BB5-862F-8F8C9626F2B0}" type="pres">
      <dgm:prSet presAssocID="{5EBA1FF4-801E-4EAA-82FF-83DD805C9253}" presName="dummy" presStyleCnt="0"/>
      <dgm:spPr/>
    </dgm:pt>
    <dgm:pt modelId="{51E02BCE-0CCE-4ED5-8826-84C8625F79E0}" type="pres">
      <dgm:prSet presAssocID="{5A7424E0-E67E-4BAE-B13B-ACEBFDA46B54}" presName="sibTrans" presStyleLbl="sibTrans2D1" presStyleIdx="6" presStyleCnt="12"/>
      <dgm:spPr/>
      <dgm:t>
        <a:bodyPr/>
        <a:lstStyle/>
        <a:p>
          <a:pPr latinLnBrk="1"/>
          <a:endParaRPr lang="ko-KR" altLang="en-US"/>
        </a:p>
      </dgm:t>
    </dgm:pt>
    <dgm:pt modelId="{B694E499-9186-42FC-9AFF-A0D4CD06938F}" type="pres">
      <dgm:prSet presAssocID="{D81EF847-97E9-4E70-83A5-B66053980B76}" presName="node" presStyleLbl="node1" presStyleIdx="7" presStyleCnt="12">
        <dgm:presLayoutVars>
          <dgm:bulletEnabled val="1"/>
        </dgm:presLayoutVars>
      </dgm:prSet>
      <dgm:spPr/>
      <dgm:t>
        <a:bodyPr/>
        <a:lstStyle/>
        <a:p>
          <a:pPr latinLnBrk="1"/>
          <a:endParaRPr lang="ko-KR" altLang="en-US"/>
        </a:p>
      </dgm:t>
    </dgm:pt>
    <dgm:pt modelId="{0A537EE0-2BB4-46E0-97C7-C9FBD9B4CB35}" type="pres">
      <dgm:prSet presAssocID="{D81EF847-97E9-4E70-83A5-B66053980B76}" presName="dummy" presStyleCnt="0"/>
      <dgm:spPr/>
    </dgm:pt>
    <dgm:pt modelId="{6B58AD6F-2588-41C2-BABF-16810B03A2DF}" type="pres">
      <dgm:prSet presAssocID="{F40193E3-092E-4574-8A2D-CAD10ED0E03C}" presName="sibTrans" presStyleLbl="sibTrans2D1" presStyleIdx="7" presStyleCnt="12"/>
      <dgm:spPr/>
      <dgm:t>
        <a:bodyPr/>
        <a:lstStyle/>
        <a:p>
          <a:pPr latinLnBrk="1"/>
          <a:endParaRPr lang="ko-KR" altLang="en-US"/>
        </a:p>
      </dgm:t>
    </dgm:pt>
    <dgm:pt modelId="{22822D03-ADC2-4710-8120-EDC1540A0ABE}" type="pres">
      <dgm:prSet presAssocID="{EC118919-2336-47C1-8B19-A0997219D07F}" presName="node" presStyleLbl="node1" presStyleIdx="8" presStyleCnt="12" custScaleX="209154" custScaleY="194703" custRadScaleRad="93704" custRadScaleInc="-279047">
        <dgm:presLayoutVars>
          <dgm:bulletEnabled val="1"/>
        </dgm:presLayoutVars>
      </dgm:prSet>
      <dgm:spPr/>
      <dgm:t>
        <a:bodyPr/>
        <a:lstStyle/>
        <a:p>
          <a:pPr latinLnBrk="1"/>
          <a:endParaRPr lang="ko-KR" altLang="en-US"/>
        </a:p>
      </dgm:t>
    </dgm:pt>
    <dgm:pt modelId="{E3BADEB9-7952-48C2-9BED-453524893B6F}" type="pres">
      <dgm:prSet presAssocID="{EC118919-2336-47C1-8B19-A0997219D07F}" presName="dummy" presStyleCnt="0"/>
      <dgm:spPr/>
    </dgm:pt>
    <dgm:pt modelId="{1B4B6EE9-379C-4303-A438-99ED248A6270}" type="pres">
      <dgm:prSet presAssocID="{53FF2D60-A477-4EA2-A9D7-79A33AE6DAD9}" presName="sibTrans" presStyleLbl="sibTrans2D1" presStyleIdx="8" presStyleCnt="12"/>
      <dgm:spPr/>
      <dgm:t>
        <a:bodyPr/>
        <a:lstStyle/>
        <a:p>
          <a:pPr latinLnBrk="1"/>
          <a:endParaRPr lang="ko-KR" altLang="en-US"/>
        </a:p>
      </dgm:t>
    </dgm:pt>
    <dgm:pt modelId="{B11D4C3C-FEFC-400E-80C1-F74D07CDE39D}" type="pres">
      <dgm:prSet presAssocID="{AB9C62F2-6B29-43E3-9F18-9BEF22913A68}" presName="node" presStyleLbl="node1" presStyleIdx="9" presStyleCnt="12" custScaleX="233406" custRadScaleRad="103385" custRadScaleInc="-907628">
        <dgm:presLayoutVars>
          <dgm:bulletEnabled val="1"/>
        </dgm:presLayoutVars>
      </dgm:prSet>
      <dgm:spPr/>
      <dgm:t>
        <a:bodyPr/>
        <a:lstStyle/>
        <a:p>
          <a:pPr latinLnBrk="1"/>
          <a:endParaRPr lang="ko-KR" altLang="en-US"/>
        </a:p>
      </dgm:t>
    </dgm:pt>
    <dgm:pt modelId="{3CD071A8-52CC-463E-87D9-6E1505EB88AF}" type="pres">
      <dgm:prSet presAssocID="{AB9C62F2-6B29-43E3-9F18-9BEF22913A68}" presName="dummy" presStyleCnt="0"/>
      <dgm:spPr/>
    </dgm:pt>
    <dgm:pt modelId="{46F3E911-DA76-49CA-A1A2-3ED56D39480F}" type="pres">
      <dgm:prSet presAssocID="{4961C2F9-1890-405C-AA0C-6412366D15FA}" presName="sibTrans" presStyleLbl="sibTrans2D1" presStyleIdx="9" presStyleCnt="12"/>
      <dgm:spPr/>
      <dgm:t>
        <a:bodyPr/>
        <a:lstStyle/>
        <a:p>
          <a:pPr latinLnBrk="1"/>
          <a:endParaRPr lang="ko-KR" altLang="en-US"/>
        </a:p>
      </dgm:t>
    </dgm:pt>
    <dgm:pt modelId="{71A80638-50D0-4195-8CA3-3A6723604DCC}" type="pres">
      <dgm:prSet presAssocID="{2A5622C8-E5A5-4346-A1A0-B3801F260527}" presName="node" presStyleLbl="node1" presStyleIdx="10" presStyleCnt="12" custAng="2102137" custScaleX="166682" custScaleY="180471" custRadScaleRad="105119" custRadScaleInc="-507741">
        <dgm:presLayoutVars>
          <dgm:bulletEnabled val="1"/>
        </dgm:presLayoutVars>
      </dgm:prSet>
      <dgm:spPr/>
      <dgm:t>
        <a:bodyPr/>
        <a:lstStyle/>
        <a:p>
          <a:pPr latinLnBrk="1"/>
          <a:endParaRPr lang="ko-KR" altLang="en-US"/>
        </a:p>
      </dgm:t>
    </dgm:pt>
    <dgm:pt modelId="{49C0D795-92E3-4780-B0AE-4C4F66172051}" type="pres">
      <dgm:prSet presAssocID="{2A5622C8-E5A5-4346-A1A0-B3801F260527}" presName="dummy" presStyleCnt="0"/>
      <dgm:spPr/>
    </dgm:pt>
    <dgm:pt modelId="{A6983F70-7AEB-4B53-A6F9-200A7F65301A}" type="pres">
      <dgm:prSet presAssocID="{8CD64DB8-FEE6-4886-B759-BC315B0FC220}" presName="sibTrans" presStyleLbl="sibTrans2D1" presStyleIdx="10" presStyleCnt="12" custScaleX="115847" custScaleY="81799"/>
      <dgm:spPr/>
      <dgm:t>
        <a:bodyPr/>
        <a:lstStyle/>
        <a:p>
          <a:pPr latinLnBrk="1"/>
          <a:endParaRPr lang="ko-KR" altLang="en-US"/>
        </a:p>
      </dgm:t>
    </dgm:pt>
    <dgm:pt modelId="{12DFF4E7-CA9A-4464-ABA7-B2ADDC8431A5}" type="pres">
      <dgm:prSet presAssocID="{3CBAFA80-F353-4647-ACB7-3F65C37DF694}" presName="node" presStyleLbl="node1" presStyleIdx="11" presStyleCnt="12" custScaleY="233458" custRadScaleRad="125463" custRadScaleInc="-112403">
        <dgm:presLayoutVars>
          <dgm:bulletEnabled val="1"/>
        </dgm:presLayoutVars>
      </dgm:prSet>
      <dgm:spPr/>
      <dgm:t>
        <a:bodyPr/>
        <a:lstStyle/>
        <a:p>
          <a:pPr latinLnBrk="1"/>
          <a:endParaRPr lang="ko-KR" altLang="en-US"/>
        </a:p>
      </dgm:t>
    </dgm:pt>
    <dgm:pt modelId="{1F6993BD-FE1F-464E-A442-BFF2212CAD99}" type="pres">
      <dgm:prSet presAssocID="{3CBAFA80-F353-4647-ACB7-3F65C37DF694}" presName="dummy" presStyleCnt="0"/>
      <dgm:spPr/>
    </dgm:pt>
    <dgm:pt modelId="{7896788A-D90C-4878-8A20-AD46C37FF285}" type="pres">
      <dgm:prSet presAssocID="{57973069-C729-4F42-B98C-B05DE004C199}" presName="sibTrans" presStyleLbl="sibTrans2D1" presStyleIdx="11" presStyleCnt="12"/>
      <dgm:spPr/>
      <dgm:t>
        <a:bodyPr/>
        <a:lstStyle/>
        <a:p>
          <a:pPr latinLnBrk="1"/>
          <a:endParaRPr lang="ko-KR" altLang="en-US"/>
        </a:p>
      </dgm:t>
    </dgm:pt>
  </dgm:ptLst>
  <dgm:cxnLst>
    <dgm:cxn modelId="{91233F44-87C2-4381-A587-02174A2EDF7C}" type="presOf" srcId="{EC118919-2336-47C1-8B19-A0997219D07F}" destId="{22822D03-ADC2-4710-8120-EDC1540A0ABE}" srcOrd="0" destOrd="0" presId="urn:microsoft.com/office/officeart/2005/8/layout/radial6"/>
    <dgm:cxn modelId="{E1BB5871-FA4D-4C1C-8E9F-7E250E9AA8D0}" srcId="{83CC7F60-58BD-458F-BB24-B30A2E0A936A}" destId="{AB9C62F2-6B29-43E3-9F18-9BEF22913A68}" srcOrd="9" destOrd="0" parTransId="{D84B37AD-A8BA-454A-8E2D-84BA80613A7C}" sibTransId="{4961C2F9-1890-405C-AA0C-6412366D15FA}"/>
    <dgm:cxn modelId="{A7B333FA-4053-429E-9828-EF71810A945A}" type="presOf" srcId="{2A5622C8-E5A5-4346-A1A0-B3801F260527}" destId="{71A80638-50D0-4195-8CA3-3A6723604DCC}" srcOrd="0" destOrd="0" presId="urn:microsoft.com/office/officeart/2005/8/layout/radial6"/>
    <dgm:cxn modelId="{E86572C2-1B13-49DF-B5B6-37A784994440}" type="presOf" srcId="{3CBAFA80-F353-4647-ACB7-3F65C37DF694}" destId="{12DFF4E7-CA9A-4464-ABA7-B2ADDC8431A5}" srcOrd="0" destOrd="0" presId="urn:microsoft.com/office/officeart/2005/8/layout/radial6"/>
    <dgm:cxn modelId="{F263E82D-E5AB-453E-93D1-2E0617A4109D}" type="presOf" srcId="{9DE2BC53-736A-4927-8F52-478CB5E628A1}" destId="{7B2A3EE2-D95D-4049-BF57-3E0011EA166A}" srcOrd="0" destOrd="0" presId="urn:microsoft.com/office/officeart/2005/8/layout/radial6"/>
    <dgm:cxn modelId="{606B152B-3695-42AB-BC84-C47FEE082155}" srcId="{83CC7F60-58BD-458F-BB24-B30A2E0A936A}" destId="{04F655DE-0B11-4889-801E-BBF1F5252E6C}" srcOrd="2" destOrd="0" parTransId="{574A2EE6-CC28-46C7-A11C-F4B60417B7FB}" sibTransId="{49055896-6F00-4CCD-B94C-05DE32CA4D35}"/>
    <dgm:cxn modelId="{103C6AC2-C42B-4A3E-AE05-F452078264E6}" type="presOf" srcId="{9DB76B85-8D2E-4174-803A-19792D253BC3}" destId="{10E8DA99-BF82-45C3-864C-3D0A8831798D}" srcOrd="0" destOrd="0" presId="urn:microsoft.com/office/officeart/2005/8/layout/radial6"/>
    <dgm:cxn modelId="{5694D876-26F6-4CF5-87E6-57AEBD824CDC}" srcId="{9DB76B85-8D2E-4174-803A-19792D253BC3}" destId="{7B72A4DD-658B-4820-AE2B-CCA0CC27FAEC}" srcOrd="2" destOrd="0" parTransId="{9C1E2C2C-2B5B-40E1-A262-239670060992}" sibTransId="{47483ED2-5103-4157-B1B7-74364D0D6CEC}"/>
    <dgm:cxn modelId="{A41AE79C-57CB-4BC3-8794-1668EA5F99FF}" srcId="{83CC7F60-58BD-458F-BB24-B30A2E0A936A}" destId="{2A5622C8-E5A5-4346-A1A0-B3801F260527}" srcOrd="10" destOrd="0" parTransId="{0A0FB40C-3E7C-49DC-91E3-8BCC7D0D8048}" sibTransId="{8CD64DB8-FEE6-4886-B759-BC315B0FC220}"/>
    <dgm:cxn modelId="{64BDA099-BECC-4DFD-AD08-B8F1F8BF7DF1}" srcId="{83CC7F60-58BD-458F-BB24-B30A2E0A936A}" destId="{5EBA1FF4-801E-4EAA-82FF-83DD805C9253}" srcOrd="6" destOrd="0" parTransId="{DA389263-A8D2-418A-9927-A88C7E581779}" sibTransId="{5A7424E0-E67E-4BAE-B13B-ACEBFDA46B54}"/>
    <dgm:cxn modelId="{D0172FDC-BE1A-451C-8331-629E953DF1B2}" type="presOf" srcId="{AB9C62F2-6B29-43E3-9F18-9BEF22913A68}" destId="{B11D4C3C-FEFC-400E-80C1-F74D07CDE39D}" srcOrd="0" destOrd="0" presId="urn:microsoft.com/office/officeart/2005/8/layout/radial6"/>
    <dgm:cxn modelId="{B60283D8-63E1-47DA-A778-D648ACAFBE48}" type="presOf" srcId="{F40193E3-092E-4574-8A2D-CAD10ED0E03C}" destId="{6B58AD6F-2588-41C2-BABF-16810B03A2DF}" srcOrd="0" destOrd="0" presId="urn:microsoft.com/office/officeart/2005/8/layout/radial6"/>
    <dgm:cxn modelId="{45555731-098B-4782-A53D-0AC609243AFD}" srcId="{83CC7F60-58BD-458F-BB24-B30A2E0A936A}" destId="{32C24C52-6BE1-4CC3-ACD1-2C036CF78BBA}" srcOrd="4" destOrd="0" parTransId="{18E0C8E2-8DDE-4DCD-B2EC-E76DF659A9EB}" sibTransId="{459553F0-B593-4F57-B269-7942E858FC79}"/>
    <dgm:cxn modelId="{FC763CBE-F767-4EF6-8D58-D1647C42A597}" type="presOf" srcId="{4961C2F9-1890-405C-AA0C-6412366D15FA}" destId="{46F3E911-DA76-49CA-A1A2-3ED56D39480F}" srcOrd="0" destOrd="0" presId="urn:microsoft.com/office/officeart/2005/8/layout/radial6"/>
    <dgm:cxn modelId="{5188D7A6-783A-4021-B84D-3A78DFC025FD}" srcId="{83CC7F60-58BD-458F-BB24-B30A2E0A936A}" destId="{101F1755-2A66-4171-9F8E-3B8FB5F588AC}" srcOrd="1" destOrd="0" parTransId="{F6311FF5-6E3F-4B7D-8153-29901A4E64DC}" sibTransId="{A1E93CFE-203B-41BC-9FDC-AF473DF4ADFF}"/>
    <dgm:cxn modelId="{71D563A6-E5DF-47F4-8A04-85E14D315066}" type="presOf" srcId="{8C14DC3D-1FB2-475B-9B8F-3C9EC0B13498}" destId="{79BD79E0-828B-4BFE-BA64-4233F581F14E}" srcOrd="0" destOrd="0" presId="urn:microsoft.com/office/officeart/2005/8/layout/radial6"/>
    <dgm:cxn modelId="{8AAC3E4E-4AB8-4480-B791-D55583AB0BBF}" srcId="{83CC7F60-58BD-458F-BB24-B30A2E0A936A}" destId="{D81EF847-97E9-4E70-83A5-B66053980B76}" srcOrd="7" destOrd="0" parTransId="{36D98D12-4BAA-4EE7-BC45-4DB1470C1227}" sibTransId="{F40193E3-092E-4574-8A2D-CAD10ED0E03C}"/>
    <dgm:cxn modelId="{67FE3630-40FA-4EC3-8F37-1C474E17E305}" type="presOf" srcId="{459553F0-B593-4F57-B269-7942E858FC79}" destId="{DB2482E8-8F63-47B3-BE3F-0F5509243A41}" srcOrd="0" destOrd="0" presId="urn:microsoft.com/office/officeart/2005/8/layout/radial6"/>
    <dgm:cxn modelId="{56A8DF63-3D1D-4339-8FB1-D58653EE1A85}" type="presOf" srcId="{57973069-C729-4F42-B98C-B05DE004C199}" destId="{7896788A-D90C-4878-8A20-AD46C37FF285}" srcOrd="0" destOrd="0" presId="urn:microsoft.com/office/officeart/2005/8/layout/radial6"/>
    <dgm:cxn modelId="{F4FEA6A4-22A9-4D39-ADBD-12BBDCE1BCDC}" type="presOf" srcId="{8CD64DB8-FEE6-4886-B759-BC315B0FC220}" destId="{A6983F70-7AEB-4B53-A6F9-200A7F65301A}" srcOrd="0" destOrd="0" presId="urn:microsoft.com/office/officeart/2005/8/layout/radial6"/>
    <dgm:cxn modelId="{0A071410-548C-4083-9207-F08CF4BD9862}" type="presOf" srcId="{5EBA1FF4-801E-4EAA-82FF-83DD805C9253}" destId="{83E7461D-87B7-4A1D-A3EE-D6D0D62DB5A4}" srcOrd="0" destOrd="0" presId="urn:microsoft.com/office/officeart/2005/8/layout/radial6"/>
    <dgm:cxn modelId="{6F068CD9-7048-49BC-81B3-EEED12055880}" type="presOf" srcId="{3B28301E-C0E0-4F81-907A-65F7371E8BAA}" destId="{EEA9FFA8-2CC1-4DD7-9CBC-1F2F63E3FE67}" srcOrd="0" destOrd="0" presId="urn:microsoft.com/office/officeart/2005/8/layout/radial6"/>
    <dgm:cxn modelId="{5A586790-36A7-43E4-AFD8-6C4FB6CDA6B6}" srcId="{83CC7F60-58BD-458F-BB24-B30A2E0A936A}" destId="{EC118919-2336-47C1-8B19-A0997219D07F}" srcOrd="8" destOrd="0" parTransId="{AC16169F-146C-4F12-BFE4-F08D3D3FD0B6}" sibTransId="{53FF2D60-A477-4EA2-A9D7-79A33AE6DAD9}"/>
    <dgm:cxn modelId="{DF47B590-8F92-4A90-826F-75493AE8E25E}" type="presOf" srcId="{49055896-6F00-4CCD-B94C-05DE32CA4D35}" destId="{B9F1E656-E6E6-40A8-9070-F78B6A735065}" srcOrd="0" destOrd="0" presId="urn:microsoft.com/office/officeart/2005/8/layout/radial6"/>
    <dgm:cxn modelId="{4D0A6A9E-115A-44F6-BDF7-21E247BE29EE}" type="presOf" srcId="{04F655DE-0B11-4889-801E-BBF1F5252E6C}" destId="{9799FF70-BFA3-4257-AD76-15D841764B12}" srcOrd="0" destOrd="0" presId="urn:microsoft.com/office/officeart/2005/8/layout/radial6"/>
    <dgm:cxn modelId="{3F3AC5EC-833B-453A-9243-F88C301D39C0}" type="presOf" srcId="{83CC7F60-58BD-458F-BB24-B30A2E0A936A}" destId="{D2637A7B-39E8-4AF9-AD5D-BD1B9FE0707F}" srcOrd="0" destOrd="0" presId="urn:microsoft.com/office/officeart/2005/8/layout/radial6"/>
    <dgm:cxn modelId="{ED47F174-15B6-4BAB-8F73-CC1C541877BB}" type="presOf" srcId="{3E885286-E286-4157-88E0-7B03D7DC2037}" destId="{B9B501BB-5BB7-4436-8E23-40E2C07C85BF}" srcOrd="0" destOrd="0" presId="urn:microsoft.com/office/officeart/2005/8/layout/radial6"/>
    <dgm:cxn modelId="{88E99783-E04C-4C93-BC24-BD84287D4FB3}" srcId="{9DB76B85-8D2E-4174-803A-19792D253BC3}" destId="{1B7CF047-5A1A-4CE9-B2ED-4F34588920E1}" srcOrd="1" destOrd="0" parTransId="{63DB6BE8-3381-4A22-A0D5-F458B09946A7}" sibTransId="{1E2CBF88-C67A-469C-A995-6B1B97F16AA8}"/>
    <dgm:cxn modelId="{7A155CE9-66CC-457F-B384-C98BB58331AF}" srcId="{83CC7F60-58BD-458F-BB24-B30A2E0A936A}" destId="{D42E3B30-AA2B-4743-A5D7-21DBC8177599}" srcOrd="3" destOrd="0" parTransId="{15D22F01-4960-48E7-913A-DBC5AC7D44F8}" sibTransId="{765C9974-EB76-4023-AD09-7B3563F81FB9}"/>
    <dgm:cxn modelId="{46BBD8F0-1507-48C6-A5DB-8D015C4AD837}" srcId="{83CC7F60-58BD-458F-BB24-B30A2E0A936A}" destId="{8C14DC3D-1FB2-475B-9B8F-3C9EC0B13498}" srcOrd="0" destOrd="0" parTransId="{613C37AA-9FC6-4863-8C52-67ED8423E725}" sibTransId="{3B28301E-C0E0-4F81-907A-65F7371E8BAA}"/>
    <dgm:cxn modelId="{7121C26F-32F1-477B-9E65-8AB13DDC2D1D}" type="presOf" srcId="{5A7424E0-E67E-4BAE-B13B-ACEBFDA46B54}" destId="{51E02BCE-0CCE-4ED5-8826-84C8625F79E0}" srcOrd="0" destOrd="0" presId="urn:microsoft.com/office/officeart/2005/8/layout/radial6"/>
    <dgm:cxn modelId="{A813016A-0AC0-4194-B4F2-7F9A7F800992}" type="presOf" srcId="{53FF2D60-A477-4EA2-A9D7-79A33AE6DAD9}" destId="{1B4B6EE9-379C-4303-A438-99ED248A6270}" srcOrd="0" destOrd="0" presId="urn:microsoft.com/office/officeart/2005/8/layout/radial6"/>
    <dgm:cxn modelId="{F8CE74DF-DB79-4443-801D-48DC68B46484}" type="presOf" srcId="{32C24C52-6BE1-4CC3-ACD1-2C036CF78BBA}" destId="{AA6FF6AB-1DE1-4F7B-BFD0-B6218621BFEC}" srcOrd="0" destOrd="0" presId="urn:microsoft.com/office/officeart/2005/8/layout/radial6"/>
    <dgm:cxn modelId="{EA434E26-56CB-458F-8070-124ACFE8D08C}" srcId="{83CC7F60-58BD-458F-BB24-B30A2E0A936A}" destId="{3CBAFA80-F353-4647-ACB7-3F65C37DF694}" srcOrd="11" destOrd="0" parTransId="{C75AEE03-64B5-4240-9858-C15ABCCF939C}" sibTransId="{57973069-C729-4F42-B98C-B05DE004C199}"/>
    <dgm:cxn modelId="{7C994BD4-97E8-481A-9CAA-E275BB8D805F}" srcId="{9DB76B85-8D2E-4174-803A-19792D253BC3}" destId="{83CC7F60-58BD-458F-BB24-B30A2E0A936A}" srcOrd="0" destOrd="0" parTransId="{6FDECB05-BCDF-4017-98DA-80821FCF359D}" sibTransId="{F3FF4FAE-BEE2-473B-92B6-A71D0AA3C790}"/>
    <dgm:cxn modelId="{1F922894-8F87-422C-B8FD-080CCD395A13}" type="presOf" srcId="{765C9974-EB76-4023-AD09-7B3563F81FB9}" destId="{555CCB8E-D167-41F9-A234-D257D8962690}" srcOrd="0" destOrd="0" presId="urn:microsoft.com/office/officeart/2005/8/layout/radial6"/>
    <dgm:cxn modelId="{0AD3F99E-AD78-4428-A117-687957CD1E6C}" type="presOf" srcId="{D81EF847-97E9-4E70-83A5-B66053980B76}" destId="{B694E499-9186-42FC-9AFF-A0D4CD06938F}" srcOrd="0" destOrd="0" presId="urn:microsoft.com/office/officeart/2005/8/layout/radial6"/>
    <dgm:cxn modelId="{B2FE9B2F-980B-4D7E-BF16-75D77D32362B}" srcId="{83CC7F60-58BD-458F-BB24-B30A2E0A936A}" destId="{3E885286-E286-4157-88E0-7B03D7DC2037}" srcOrd="5" destOrd="0" parTransId="{C6788A96-A1AB-4F5C-9BBF-913AA46632E9}" sibTransId="{9DE2BC53-736A-4927-8F52-478CB5E628A1}"/>
    <dgm:cxn modelId="{4447C28D-9C7D-404F-BD44-B505E227C529}" type="presOf" srcId="{D42E3B30-AA2B-4743-A5D7-21DBC8177599}" destId="{737849E5-490D-4598-B011-24E340A54279}" srcOrd="0" destOrd="0" presId="urn:microsoft.com/office/officeart/2005/8/layout/radial6"/>
    <dgm:cxn modelId="{5AF08A0F-7926-4A53-AB4D-3DFD906CE660}" type="presOf" srcId="{101F1755-2A66-4171-9F8E-3B8FB5F588AC}" destId="{218E5A7B-7F5C-40FC-9469-399C14213786}" srcOrd="0" destOrd="0" presId="urn:microsoft.com/office/officeart/2005/8/layout/radial6"/>
    <dgm:cxn modelId="{732F6300-F6B1-4F9A-A41A-853FE8973A7D}" type="presOf" srcId="{A1E93CFE-203B-41BC-9FDC-AF473DF4ADFF}" destId="{B00517F5-9677-4D9A-A656-6616518E9C7F}" srcOrd="0" destOrd="0" presId="urn:microsoft.com/office/officeart/2005/8/layout/radial6"/>
    <dgm:cxn modelId="{DC0883B2-A792-467F-B848-B6073C12A432}" type="presParOf" srcId="{10E8DA99-BF82-45C3-864C-3D0A8831798D}" destId="{D2637A7B-39E8-4AF9-AD5D-BD1B9FE0707F}" srcOrd="0" destOrd="0" presId="urn:microsoft.com/office/officeart/2005/8/layout/radial6"/>
    <dgm:cxn modelId="{D956ED01-1F7D-4201-9D86-2EE5E4EA1EAB}" type="presParOf" srcId="{10E8DA99-BF82-45C3-864C-3D0A8831798D}" destId="{79BD79E0-828B-4BFE-BA64-4233F581F14E}" srcOrd="1" destOrd="0" presId="urn:microsoft.com/office/officeart/2005/8/layout/radial6"/>
    <dgm:cxn modelId="{F2133FB2-4105-497B-91F0-9BDA3A8B702E}" type="presParOf" srcId="{10E8DA99-BF82-45C3-864C-3D0A8831798D}" destId="{C751EB3E-ED31-4102-A21C-1CE1F2D21A6B}" srcOrd="2" destOrd="0" presId="urn:microsoft.com/office/officeart/2005/8/layout/radial6"/>
    <dgm:cxn modelId="{6917AB68-3558-4F2B-A9BF-C22CB56A9CC8}" type="presParOf" srcId="{10E8DA99-BF82-45C3-864C-3D0A8831798D}" destId="{EEA9FFA8-2CC1-4DD7-9CBC-1F2F63E3FE67}" srcOrd="3" destOrd="0" presId="urn:microsoft.com/office/officeart/2005/8/layout/radial6"/>
    <dgm:cxn modelId="{02972946-D350-48C7-82CA-6DA32548A892}" type="presParOf" srcId="{10E8DA99-BF82-45C3-864C-3D0A8831798D}" destId="{218E5A7B-7F5C-40FC-9469-399C14213786}" srcOrd="4" destOrd="0" presId="urn:microsoft.com/office/officeart/2005/8/layout/radial6"/>
    <dgm:cxn modelId="{C9874778-692C-43E0-A408-8A41F3AD972A}" type="presParOf" srcId="{10E8DA99-BF82-45C3-864C-3D0A8831798D}" destId="{1FA20717-6232-4AD4-BC83-B12B87A2D035}" srcOrd="5" destOrd="0" presId="urn:microsoft.com/office/officeart/2005/8/layout/radial6"/>
    <dgm:cxn modelId="{51EFA24D-AE8C-4F04-AC39-DBA9EC2E782A}" type="presParOf" srcId="{10E8DA99-BF82-45C3-864C-3D0A8831798D}" destId="{B00517F5-9677-4D9A-A656-6616518E9C7F}" srcOrd="6" destOrd="0" presId="urn:microsoft.com/office/officeart/2005/8/layout/radial6"/>
    <dgm:cxn modelId="{C1496C02-CD89-4A84-BCBC-EB2CCAE1DD6F}" type="presParOf" srcId="{10E8DA99-BF82-45C3-864C-3D0A8831798D}" destId="{9799FF70-BFA3-4257-AD76-15D841764B12}" srcOrd="7" destOrd="0" presId="urn:microsoft.com/office/officeart/2005/8/layout/radial6"/>
    <dgm:cxn modelId="{C627974C-41FE-40DC-825C-69E533C3D488}" type="presParOf" srcId="{10E8DA99-BF82-45C3-864C-3D0A8831798D}" destId="{20950B6A-B255-4AE4-B094-7A7E7E14AEB9}" srcOrd="8" destOrd="0" presId="urn:microsoft.com/office/officeart/2005/8/layout/radial6"/>
    <dgm:cxn modelId="{A91177A2-EF2C-4AAF-9A2A-D820A9568FA7}" type="presParOf" srcId="{10E8DA99-BF82-45C3-864C-3D0A8831798D}" destId="{B9F1E656-E6E6-40A8-9070-F78B6A735065}" srcOrd="9" destOrd="0" presId="urn:microsoft.com/office/officeart/2005/8/layout/radial6"/>
    <dgm:cxn modelId="{6A158BF0-6187-496D-8A25-BEFA1462D65B}" type="presParOf" srcId="{10E8DA99-BF82-45C3-864C-3D0A8831798D}" destId="{737849E5-490D-4598-B011-24E340A54279}" srcOrd="10" destOrd="0" presId="urn:microsoft.com/office/officeart/2005/8/layout/radial6"/>
    <dgm:cxn modelId="{06AADB7D-8E3B-4DF1-9D8C-05144E405E6A}" type="presParOf" srcId="{10E8DA99-BF82-45C3-864C-3D0A8831798D}" destId="{FED75555-73C4-4AB1-ABBB-D4DB1DDFC10A}" srcOrd="11" destOrd="0" presId="urn:microsoft.com/office/officeart/2005/8/layout/radial6"/>
    <dgm:cxn modelId="{57447F15-5A76-49F6-AD3F-69880C883184}" type="presParOf" srcId="{10E8DA99-BF82-45C3-864C-3D0A8831798D}" destId="{555CCB8E-D167-41F9-A234-D257D8962690}" srcOrd="12" destOrd="0" presId="urn:microsoft.com/office/officeart/2005/8/layout/radial6"/>
    <dgm:cxn modelId="{07082099-D33B-464C-8C38-AEA5F39C57E9}" type="presParOf" srcId="{10E8DA99-BF82-45C3-864C-3D0A8831798D}" destId="{AA6FF6AB-1DE1-4F7B-BFD0-B6218621BFEC}" srcOrd="13" destOrd="0" presId="urn:microsoft.com/office/officeart/2005/8/layout/radial6"/>
    <dgm:cxn modelId="{F6935FE3-FE62-4A55-983A-05B30267D4D6}" type="presParOf" srcId="{10E8DA99-BF82-45C3-864C-3D0A8831798D}" destId="{456CC02C-36EC-4510-B908-46118794D352}" srcOrd="14" destOrd="0" presId="urn:microsoft.com/office/officeart/2005/8/layout/radial6"/>
    <dgm:cxn modelId="{9A7E0AC8-8793-4716-82E6-5121506CFC3D}" type="presParOf" srcId="{10E8DA99-BF82-45C3-864C-3D0A8831798D}" destId="{DB2482E8-8F63-47B3-BE3F-0F5509243A41}" srcOrd="15" destOrd="0" presId="urn:microsoft.com/office/officeart/2005/8/layout/radial6"/>
    <dgm:cxn modelId="{CB346AEF-31FD-4358-A04F-DA4789945995}" type="presParOf" srcId="{10E8DA99-BF82-45C3-864C-3D0A8831798D}" destId="{B9B501BB-5BB7-4436-8E23-40E2C07C85BF}" srcOrd="16" destOrd="0" presId="urn:microsoft.com/office/officeart/2005/8/layout/radial6"/>
    <dgm:cxn modelId="{2181ED3B-5676-4745-9D2E-2AD67238B860}" type="presParOf" srcId="{10E8DA99-BF82-45C3-864C-3D0A8831798D}" destId="{A07F8C90-7838-46E1-9B91-CB6FBC65CC99}" srcOrd="17" destOrd="0" presId="urn:microsoft.com/office/officeart/2005/8/layout/radial6"/>
    <dgm:cxn modelId="{E9305359-FA92-476A-AFC3-BFE0C6EBE647}" type="presParOf" srcId="{10E8DA99-BF82-45C3-864C-3D0A8831798D}" destId="{7B2A3EE2-D95D-4049-BF57-3E0011EA166A}" srcOrd="18" destOrd="0" presId="urn:microsoft.com/office/officeart/2005/8/layout/radial6"/>
    <dgm:cxn modelId="{43420966-6085-41DA-B413-536512AD46FE}" type="presParOf" srcId="{10E8DA99-BF82-45C3-864C-3D0A8831798D}" destId="{83E7461D-87B7-4A1D-A3EE-D6D0D62DB5A4}" srcOrd="19" destOrd="0" presId="urn:microsoft.com/office/officeart/2005/8/layout/radial6"/>
    <dgm:cxn modelId="{1EA04A09-4ED7-41B6-BCB9-BD2358632509}" type="presParOf" srcId="{10E8DA99-BF82-45C3-864C-3D0A8831798D}" destId="{FC8B837D-2AF2-4BB5-862F-8F8C9626F2B0}" srcOrd="20" destOrd="0" presId="urn:microsoft.com/office/officeart/2005/8/layout/radial6"/>
    <dgm:cxn modelId="{13440395-1F5C-4F35-A796-1F6C220A777C}" type="presParOf" srcId="{10E8DA99-BF82-45C3-864C-3D0A8831798D}" destId="{51E02BCE-0CCE-4ED5-8826-84C8625F79E0}" srcOrd="21" destOrd="0" presId="urn:microsoft.com/office/officeart/2005/8/layout/radial6"/>
    <dgm:cxn modelId="{1942B2A2-1030-49D1-A294-EA10C48EA45F}" type="presParOf" srcId="{10E8DA99-BF82-45C3-864C-3D0A8831798D}" destId="{B694E499-9186-42FC-9AFF-A0D4CD06938F}" srcOrd="22" destOrd="0" presId="urn:microsoft.com/office/officeart/2005/8/layout/radial6"/>
    <dgm:cxn modelId="{B0D4D11B-A180-4E18-A913-4894AED684DB}" type="presParOf" srcId="{10E8DA99-BF82-45C3-864C-3D0A8831798D}" destId="{0A537EE0-2BB4-46E0-97C7-C9FBD9B4CB35}" srcOrd="23" destOrd="0" presId="urn:microsoft.com/office/officeart/2005/8/layout/radial6"/>
    <dgm:cxn modelId="{9F1BF7FD-EDAE-4060-8771-13A058F43B71}" type="presParOf" srcId="{10E8DA99-BF82-45C3-864C-3D0A8831798D}" destId="{6B58AD6F-2588-41C2-BABF-16810B03A2DF}" srcOrd="24" destOrd="0" presId="urn:microsoft.com/office/officeart/2005/8/layout/radial6"/>
    <dgm:cxn modelId="{928E51CD-3F19-4127-AB04-065661545061}" type="presParOf" srcId="{10E8DA99-BF82-45C3-864C-3D0A8831798D}" destId="{22822D03-ADC2-4710-8120-EDC1540A0ABE}" srcOrd="25" destOrd="0" presId="urn:microsoft.com/office/officeart/2005/8/layout/radial6"/>
    <dgm:cxn modelId="{0CB7F237-9167-4933-82E1-7BF9086803EC}" type="presParOf" srcId="{10E8DA99-BF82-45C3-864C-3D0A8831798D}" destId="{E3BADEB9-7952-48C2-9BED-453524893B6F}" srcOrd="26" destOrd="0" presId="urn:microsoft.com/office/officeart/2005/8/layout/radial6"/>
    <dgm:cxn modelId="{7EE6A97B-10BE-4CCC-92BB-07D1C69A2291}" type="presParOf" srcId="{10E8DA99-BF82-45C3-864C-3D0A8831798D}" destId="{1B4B6EE9-379C-4303-A438-99ED248A6270}" srcOrd="27" destOrd="0" presId="urn:microsoft.com/office/officeart/2005/8/layout/radial6"/>
    <dgm:cxn modelId="{4711D5B7-E752-49C0-B6A5-F1D34799CE4B}" type="presParOf" srcId="{10E8DA99-BF82-45C3-864C-3D0A8831798D}" destId="{B11D4C3C-FEFC-400E-80C1-F74D07CDE39D}" srcOrd="28" destOrd="0" presId="urn:microsoft.com/office/officeart/2005/8/layout/radial6"/>
    <dgm:cxn modelId="{28ADC9B4-52B2-4DA6-87BD-582056AFF673}" type="presParOf" srcId="{10E8DA99-BF82-45C3-864C-3D0A8831798D}" destId="{3CD071A8-52CC-463E-87D9-6E1505EB88AF}" srcOrd="29" destOrd="0" presId="urn:microsoft.com/office/officeart/2005/8/layout/radial6"/>
    <dgm:cxn modelId="{C89E0C63-6926-4176-B36E-A0028DE2B252}" type="presParOf" srcId="{10E8DA99-BF82-45C3-864C-3D0A8831798D}" destId="{46F3E911-DA76-49CA-A1A2-3ED56D39480F}" srcOrd="30" destOrd="0" presId="urn:microsoft.com/office/officeart/2005/8/layout/radial6"/>
    <dgm:cxn modelId="{C145F56A-40F5-4134-84EC-563727CD89AC}" type="presParOf" srcId="{10E8DA99-BF82-45C3-864C-3D0A8831798D}" destId="{71A80638-50D0-4195-8CA3-3A6723604DCC}" srcOrd="31" destOrd="0" presId="urn:microsoft.com/office/officeart/2005/8/layout/radial6"/>
    <dgm:cxn modelId="{E37C572E-8E5F-4A31-8263-B2E4ED3D81B1}" type="presParOf" srcId="{10E8DA99-BF82-45C3-864C-3D0A8831798D}" destId="{49C0D795-92E3-4780-B0AE-4C4F66172051}" srcOrd="32" destOrd="0" presId="urn:microsoft.com/office/officeart/2005/8/layout/radial6"/>
    <dgm:cxn modelId="{563BF8C7-7EDB-45BF-9DA6-A8EDA24EA6AE}" type="presParOf" srcId="{10E8DA99-BF82-45C3-864C-3D0A8831798D}" destId="{A6983F70-7AEB-4B53-A6F9-200A7F65301A}" srcOrd="33" destOrd="0" presId="urn:microsoft.com/office/officeart/2005/8/layout/radial6"/>
    <dgm:cxn modelId="{0B16EE62-CC23-4DA9-99FA-98DCAEA50772}" type="presParOf" srcId="{10E8DA99-BF82-45C3-864C-3D0A8831798D}" destId="{12DFF4E7-CA9A-4464-ABA7-B2ADDC8431A5}" srcOrd="34" destOrd="0" presId="urn:microsoft.com/office/officeart/2005/8/layout/radial6"/>
    <dgm:cxn modelId="{086B466B-2D8E-4856-8D93-91A1C51B6058}" type="presParOf" srcId="{10E8DA99-BF82-45C3-864C-3D0A8831798D}" destId="{1F6993BD-FE1F-464E-A442-BFF2212CAD99}" srcOrd="35" destOrd="0" presId="urn:microsoft.com/office/officeart/2005/8/layout/radial6"/>
    <dgm:cxn modelId="{D18D0DA0-4697-4087-A1F8-42AD06565EDF}" type="presParOf" srcId="{10E8DA99-BF82-45C3-864C-3D0A8831798D}" destId="{7896788A-D90C-4878-8A20-AD46C37FF285}" srcOrd="36" destOrd="0" presId="urn:microsoft.com/office/officeart/2005/8/layout/radial6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7.xml><?xml version="1.0" encoding="utf-8"?>
<dgm:dataModel xmlns:dgm="http://schemas.openxmlformats.org/drawingml/2006/diagram" xmlns:a="http://schemas.openxmlformats.org/drawingml/2006/main">
  <dgm:ptLst>
    <dgm:pt modelId="{11E92CC6-C827-477B-9A42-C40A34F21035}" type="doc">
      <dgm:prSet loTypeId="urn:microsoft.com/office/officeart/2005/8/layout/arrow3" loCatId="relationship" qsTypeId="urn:microsoft.com/office/officeart/2005/8/quickstyle/simple1" qsCatId="simple" csTypeId="urn:microsoft.com/office/officeart/2005/8/colors/colorful1" csCatId="colorful" phldr="1"/>
      <dgm:spPr/>
      <dgm:t>
        <a:bodyPr/>
        <a:lstStyle/>
        <a:p>
          <a:pPr latinLnBrk="1"/>
          <a:endParaRPr lang="ko-KR" altLang="en-US"/>
        </a:p>
      </dgm:t>
    </dgm:pt>
    <dgm:pt modelId="{85F64E03-6DF8-4D08-9B14-E6000539CE12}">
      <dgm:prSet phldrT="[텍스트]"/>
      <dgm:spPr/>
      <dgm:t>
        <a:bodyPr/>
        <a:lstStyle/>
        <a:p>
          <a:pPr latinLnBrk="1"/>
          <a:r>
            <a:rPr lang="ko-KR" altLang="en-US" dirty="0"/>
            <a:t>인간</a:t>
          </a:r>
          <a:r>
            <a:rPr lang="en-US" altLang="ko-KR" dirty="0"/>
            <a:t>/</a:t>
          </a:r>
          <a:r>
            <a:rPr lang="ko-KR" altLang="en-US" dirty="0"/>
            <a:t>창의성 </a:t>
          </a:r>
          <a:r>
            <a:rPr lang="en-US" altLang="ko-KR" dirty="0"/>
            <a:t>(</a:t>
          </a:r>
          <a:r>
            <a:rPr lang="ko-KR" altLang="en-US" dirty="0"/>
            <a:t>알고리즘</a:t>
          </a:r>
          <a:r>
            <a:rPr lang="en-US" altLang="ko-KR" dirty="0"/>
            <a:t>)</a:t>
          </a:r>
          <a:r>
            <a:rPr lang="ko-KR" altLang="en-US" dirty="0"/>
            <a:t>명령 </a:t>
          </a:r>
        </a:p>
      </dgm:t>
    </dgm:pt>
    <dgm:pt modelId="{054761A8-8ADD-411A-8FAE-587364A32044}" type="parTrans" cxnId="{4B94E04B-59B1-4F7D-975E-95B6745E6E0A}">
      <dgm:prSet/>
      <dgm:spPr/>
      <dgm:t>
        <a:bodyPr/>
        <a:lstStyle/>
        <a:p>
          <a:pPr latinLnBrk="1"/>
          <a:endParaRPr lang="ko-KR" altLang="en-US"/>
        </a:p>
      </dgm:t>
    </dgm:pt>
    <dgm:pt modelId="{8DAAAAC7-188D-46F1-80FD-2E928A99F5A3}" type="sibTrans" cxnId="{4B94E04B-59B1-4F7D-975E-95B6745E6E0A}">
      <dgm:prSet/>
      <dgm:spPr/>
      <dgm:t>
        <a:bodyPr/>
        <a:lstStyle/>
        <a:p>
          <a:pPr latinLnBrk="1"/>
          <a:endParaRPr lang="ko-KR" altLang="en-US"/>
        </a:p>
      </dgm:t>
    </dgm:pt>
    <dgm:pt modelId="{5BB2BF30-19B8-4CBE-BE12-B88C6B4D3C99}">
      <dgm:prSet phldrT="[텍스트]"/>
      <dgm:spPr/>
      <dgm:t>
        <a:bodyPr/>
        <a:lstStyle/>
        <a:p>
          <a:pPr latinLnBrk="1"/>
          <a:r>
            <a:rPr lang="en-US" altLang="ko-KR" dirty="0"/>
            <a:t>AI  </a:t>
          </a:r>
          <a:endParaRPr lang="ko-KR" altLang="en-US" dirty="0"/>
        </a:p>
      </dgm:t>
    </dgm:pt>
    <dgm:pt modelId="{CD3EA403-7B4C-4126-AA5C-AB7162BCE922}" type="parTrans" cxnId="{187BC933-5A17-464C-9717-731CE4D265C6}">
      <dgm:prSet/>
      <dgm:spPr/>
      <dgm:t>
        <a:bodyPr/>
        <a:lstStyle/>
        <a:p>
          <a:pPr latinLnBrk="1"/>
          <a:endParaRPr lang="ko-KR" altLang="en-US"/>
        </a:p>
      </dgm:t>
    </dgm:pt>
    <dgm:pt modelId="{AD2419E9-64BF-466A-BD2E-CAEF223D9472}" type="sibTrans" cxnId="{187BC933-5A17-464C-9717-731CE4D265C6}">
      <dgm:prSet/>
      <dgm:spPr/>
      <dgm:t>
        <a:bodyPr/>
        <a:lstStyle/>
        <a:p>
          <a:pPr latinLnBrk="1"/>
          <a:endParaRPr lang="ko-KR" altLang="en-US"/>
        </a:p>
      </dgm:t>
    </dgm:pt>
    <dgm:pt modelId="{FE1FBB8C-1BB5-4285-99A8-3D815E87B9F0}" type="pres">
      <dgm:prSet presAssocID="{11E92CC6-C827-477B-9A42-C40A34F21035}" presName="compositeShape" presStyleCnt="0">
        <dgm:presLayoutVars>
          <dgm:chMax val="2"/>
          <dgm:dir/>
          <dgm:resizeHandles val="exact"/>
        </dgm:presLayoutVars>
      </dgm:prSet>
      <dgm:spPr/>
      <dgm:t>
        <a:bodyPr/>
        <a:lstStyle/>
        <a:p>
          <a:pPr latinLnBrk="1"/>
          <a:endParaRPr lang="ko-KR" altLang="en-US"/>
        </a:p>
      </dgm:t>
    </dgm:pt>
    <dgm:pt modelId="{948A8792-7F41-4111-A4A5-FE069AB28F5A}" type="pres">
      <dgm:prSet presAssocID="{11E92CC6-C827-477B-9A42-C40A34F21035}" presName="divider" presStyleLbl="fgShp" presStyleIdx="0" presStyleCnt="1"/>
      <dgm:spPr/>
    </dgm:pt>
    <dgm:pt modelId="{B643C1AF-D86B-4AB1-B4AD-269CD11E10FF}" type="pres">
      <dgm:prSet presAssocID="{85F64E03-6DF8-4D08-9B14-E6000539CE12}" presName="downArrow" presStyleLbl="node1" presStyleIdx="0" presStyleCnt="2"/>
      <dgm:spPr/>
    </dgm:pt>
    <dgm:pt modelId="{8AE2974E-2CB1-41B4-8462-20DCCC719A29}" type="pres">
      <dgm:prSet presAssocID="{85F64E03-6DF8-4D08-9B14-E6000539CE12}" presName="downArrowText" presStyleLbl="revTx" presStyleIdx="0" presStyleCnt="2" custScaleX="189573" custLinFactNeighborY="38610">
        <dgm:presLayoutVars>
          <dgm:bulletEnabled val="1"/>
        </dgm:presLayoutVars>
      </dgm:prSet>
      <dgm:spPr/>
      <dgm:t>
        <a:bodyPr/>
        <a:lstStyle/>
        <a:p>
          <a:pPr latinLnBrk="1"/>
          <a:endParaRPr lang="ko-KR" altLang="en-US"/>
        </a:p>
      </dgm:t>
    </dgm:pt>
    <dgm:pt modelId="{AF3773A6-2C6F-49B4-B4B2-2E32647CDFC6}" type="pres">
      <dgm:prSet presAssocID="{5BB2BF30-19B8-4CBE-BE12-B88C6B4D3C99}" presName="upArrow" presStyleLbl="node1" presStyleIdx="1" presStyleCnt="2"/>
      <dgm:spPr/>
    </dgm:pt>
    <dgm:pt modelId="{A1EB5F23-4130-4E81-AD99-A15DC274B7F3}" type="pres">
      <dgm:prSet presAssocID="{5BB2BF30-19B8-4CBE-BE12-B88C6B4D3C99}" presName="upArrowText" presStyleLbl="revTx" presStyleIdx="1" presStyleCnt="2">
        <dgm:presLayoutVars>
          <dgm:bulletEnabled val="1"/>
        </dgm:presLayoutVars>
      </dgm:prSet>
      <dgm:spPr/>
      <dgm:t>
        <a:bodyPr/>
        <a:lstStyle/>
        <a:p>
          <a:pPr latinLnBrk="1"/>
          <a:endParaRPr lang="ko-KR" altLang="en-US"/>
        </a:p>
      </dgm:t>
    </dgm:pt>
  </dgm:ptLst>
  <dgm:cxnLst>
    <dgm:cxn modelId="{DDFC43FD-6EE8-4C71-9E42-FB9A0A562AB7}" type="presOf" srcId="{11E92CC6-C827-477B-9A42-C40A34F21035}" destId="{FE1FBB8C-1BB5-4285-99A8-3D815E87B9F0}" srcOrd="0" destOrd="0" presId="urn:microsoft.com/office/officeart/2005/8/layout/arrow3"/>
    <dgm:cxn modelId="{9D3B1AB8-E361-4F91-94FA-E14AF062CD6B}" type="presOf" srcId="{5BB2BF30-19B8-4CBE-BE12-B88C6B4D3C99}" destId="{A1EB5F23-4130-4E81-AD99-A15DC274B7F3}" srcOrd="0" destOrd="0" presId="urn:microsoft.com/office/officeart/2005/8/layout/arrow3"/>
    <dgm:cxn modelId="{187BC933-5A17-464C-9717-731CE4D265C6}" srcId="{11E92CC6-C827-477B-9A42-C40A34F21035}" destId="{5BB2BF30-19B8-4CBE-BE12-B88C6B4D3C99}" srcOrd="1" destOrd="0" parTransId="{CD3EA403-7B4C-4126-AA5C-AB7162BCE922}" sibTransId="{AD2419E9-64BF-466A-BD2E-CAEF223D9472}"/>
    <dgm:cxn modelId="{4B94E04B-59B1-4F7D-975E-95B6745E6E0A}" srcId="{11E92CC6-C827-477B-9A42-C40A34F21035}" destId="{85F64E03-6DF8-4D08-9B14-E6000539CE12}" srcOrd="0" destOrd="0" parTransId="{054761A8-8ADD-411A-8FAE-587364A32044}" sibTransId="{8DAAAAC7-188D-46F1-80FD-2E928A99F5A3}"/>
    <dgm:cxn modelId="{9D152C48-A9AD-474B-91F8-3D7AB10CD1D1}" type="presOf" srcId="{85F64E03-6DF8-4D08-9B14-E6000539CE12}" destId="{8AE2974E-2CB1-41B4-8462-20DCCC719A29}" srcOrd="0" destOrd="0" presId="urn:microsoft.com/office/officeart/2005/8/layout/arrow3"/>
    <dgm:cxn modelId="{021C96E7-214B-4082-9D65-D3754BFC7019}" type="presParOf" srcId="{FE1FBB8C-1BB5-4285-99A8-3D815E87B9F0}" destId="{948A8792-7F41-4111-A4A5-FE069AB28F5A}" srcOrd="0" destOrd="0" presId="urn:microsoft.com/office/officeart/2005/8/layout/arrow3"/>
    <dgm:cxn modelId="{262B73E1-5A91-40AE-A920-F8F701B7E696}" type="presParOf" srcId="{FE1FBB8C-1BB5-4285-99A8-3D815E87B9F0}" destId="{B643C1AF-D86B-4AB1-B4AD-269CD11E10FF}" srcOrd="1" destOrd="0" presId="urn:microsoft.com/office/officeart/2005/8/layout/arrow3"/>
    <dgm:cxn modelId="{473A2AB4-20BA-4C62-BCA4-6A39EE76EB99}" type="presParOf" srcId="{FE1FBB8C-1BB5-4285-99A8-3D815E87B9F0}" destId="{8AE2974E-2CB1-41B4-8462-20DCCC719A29}" srcOrd="2" destOrd="0" presId="urn:microsoft.com/office/officeart/2005/8/layout/arrow3"/>
    <dgm:cxn modelId="{DBCEFE2F-3294-49C3-B3F4-CF4E928189FE}" type="presParOf" srcId="{FE1FBB8C-1BB5-4285-99A8-3D815E87B9F0}" destId="{AF3773A6-2C6F-49B4-B4B2-2E32647CDFC6}" srcOrd="3" destOrd="0" presId="urn:microsoft.com/office/officeart/2005/8/layout/arrow3"/>
    <dgm:cxn modelId="{A62404E8-43FE-406F-9A7C-B8C7FA19D55C}" type="presParOf" srcId="{FE1FBB8C-1BB5-4285-99A8-3D815E87B9F0}" destId="{A1EB5F23-4130-4E81-AD99-A15DC274B7F3}" srcOrd="4" destOrd="0" presId="urn:microsoft.com/office/officeart/2005/8/layout/arrow3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8.xml><?xml version="1.0" encoding="utf-8"?>
<dgm:dataModel xmlns:dgm="http://schemas.openxmlformats.org/drawingml/2006/diagram" xmlns:a="http://schemas.openxmlformats.org/drawingml/2006/main">
  <dgm:ptLst>
    <dgm:pt modelId="{8571AFBB-5DBA-46AF-87E9-B25BA2DF12F6}" type="doc">
      <dgm:prSet loTypeId="urn:microsoft.com/office/officeart/2009/3/layout/IncreasingArrowsProcess" loCatId="process" qsTypeId="urn:microsoft.com/office/officeart/2005/8/quickstyle/simple1" qsCatId="simple" csTypeId="urn:microsoft.com/office/officeart/2005/8/colors/accent1_4" csCatId="accent1" phldr="1"/>
      <dgm:spPr/>
      <dgm:t>
        <a:bodyPr/>
        <a:lstStyle/>
        <a:p>
          <a:pPr latinLnBrk="1"/>
          <a:endParaRPr lang="ko-KR" altLang="en-US"/>
        </a:p>
      </dgm:t>
    </dgm:pt>
    <dgm:pt modelId="{2A7188B4-BB3A-4901-9881-AD647E403D8A}">
      <dgm:prSet phldrT="[텍스트]"/>
      <dgm:spPr/>
      <dgm:t>
        <a:bodyPr/>
        <a:lstStyle/>
        <a:p>
          <a:pPr latinLnBrk="1"/>
          <a:r>
            <a:rPr lang="ko-KR" altLang="en-US" dirty="0"/>
            <a:t> </a:t>
          </a:r>
          <a:r>
            <a:rPr lang="en-US" altLang="ko-KR" dirty="0"/>
            <a:t>Value Chain </a:t>
          </a:r>
          <a:r>
            <a:rPr lang="ko-KR" altLang="en-US" dirty="0"/>
            <a:t> </a:t>
          </a:r>
          <a:r>
            <a:rPr lang="en-US" altLang="ko-KR" dirty="0"/>
            <a:t>Management (Planning/Strategy &gt; Organization</a:t>
          </a:r>
          <a:r>
            <a:rPr lang="ko-KR" altLang="en-US" dirty="0"/>
            <a:t> </a:t>
          </a:r>
          <a:r>
            <a:rPr lang="en-US" altLang="ko-KR" dirty="0"/>
            <a:t>&gt; doing / Motivation&gt;Controlling) </a:t>
          </a:r>
          <a:endParaRPr lang="ko-KR" altLang="en-US" dirty="0"/>
        </a:p>
      </dgm:t>
    </dgm:pt>
    <dgm:pt modelId="{FB7D7DA7-001C-4821-B608-214C7A5FA4B7}" type="parTrans" cxnId="{F8DBD1FB-595A-4168-9B2D-5A2E19DDBB4C}">
      <dgm:prSet/>
      <dgm:spPr/>
      <dgm:t>
        <a:bodyPr/>
        <a:lstStyle/>
        <a:p>
          <a:pPr latinLnBrk="1"/>
          <a:endParaRPr lang="ko-KR" altLang="en-US"/>
        </a:p>
      </dgm:t>
    </dgm:pt>
    <dgm:pt modelId="{F37713DC-9D52-42AD-827D-8F135D7A480F}" type="sibTrans" cxnId="{F8DBD1FB-595A-4168-9B2D-5A2E19DDBB4C}">
      <dgm:prSet/>
      <dgm:spPr/>
      <dgm:t>
        <a:bodyPr/>
        <a:lstStyle/>
        <a:p>
          <a:pPr latinLnBrk="1"/>
          <a:endParaRPr lang="ko-KR" altLang="en-US"/>
        </a:p>
      </dgm:t>
    </dgm:pt>
    <dgm:pt modelId="{69D75584-23EF-4177-B01F-C37EEB62636A}">
      <dgm:prSet phldrT="[텍스트]"/>
      <dgm:spPr/>
      <dgm:t>
        <a:bodyPr/>
        <a:lstStyle/>
        <a:p>
          <a:pPr latinLnBrk="1"/>
          <a:endParaRPr lang="ko-KR" altLang="en-US" dirty="0"/>
        </a:p>
      </dgm:t>
    </dgm:pt>
    <dgm:pt modelId="{11776ABB-3903-4AB6-BECA-7281FFB9FFDB}" type="parTrans" cxnId="{88B6974E-B185-46AF-B588-48935A43C2F7}">
      <dgm:prSet/>
      <dgm:spPr/>
      <dgm:t>
        <a:bodyPr/>
        <a:lstStyle/>
        <a:p>
          <a:pPr latinLnBrk="1"/>
          <a:endParaRPr lang="ko-KR" altLang="en-US"/>
        </a:p>
      </dgm:t>
    </dgm:pt>
    <dgm:pt modelId="{E598B1A9-CD2A-41CE-9C48-F71028F2A132}" type="sibTrans" cxnId="{88B6974E-B185-46AF-B588-48935A43C2F7}">
      <dgm:prSet/>
      <dgm:spPr/>
      <dgm:t>
        <a:bodyPr/>
        <a:lstStyle/>
        <a:p>
          <a:pPr latinLnBrk="1"/>
          <a:endParaRPr lang="ko-KR" altLang="en-US"/>
        </a:p>
      </dgm:t>
    </dgm:pt>
    <dgm:pt modelId="{9948D35A-6427-421C-A43F-395BF650366F}">
      <dgm:prSet phldrT="[텍스트]"/>
      <dgm:spPr/>
      <dgm:t>
        <a:bodyPr/>
        <a:lstStyle/>
        <a:p>
          <a:pPr marL="0" marR="0" lvl="0" indent="0" defTabSz="914400" eaLnBrk="1" fontAlgn="auto" latinLnBrk="1" hangingPunct="1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ko-KR" altLang="en-US" dirty="0"/>
            <a:t>제품 개발</a:t>
          </a:r>
          <a:r>
            <a:rPr lang="en-US" altLang="ko-KR" dirty="0"/>
            <a:t>&amp; </a:t>
          </a:r>
          <a:r>
            <a:rPr lang="ko-KR" altLang="en-US" dirty="0"/>
            <a:t>제조 </a:t>
          </a:r>
          <a:r>
            <a:rPr lang="en-US" altLang="ko-KR" dirty="0"/>
            <a:t>/ </a:t>
          </a:r>
          <a:r>
            <a:rPr lang="ko-KR" altLang="en-US" dirty="0"/>
            <a:t>제품 소싱</a:t>
          </a:r>
          <a:r>
            <a:rPr lang="en-US" altLang="ko-KR" dirty="0"/>
            <a:t>/</a:t>
          </a:r>
          <a:r>
            <a:rPr lang="ko-KR" altLang="en-US" dirty="0"/>
            <a:t>구매  </a:t>
          </a:r>
          <a:r>
            <a:rPr lang="en-US" altLang="ko-KR" dirty="0"/>
            <a:t>&amp; </a:t>
          </a:r>
          <a:r>
            <a:rPr lang="ko-KR" altLang="en-US" dirty="0"/>
            <a:t>고객 서비스  </a:t>
          </a:r>
          <a:r>
            <a:rPr lang="en-US" altLang="ko-KR" dirty="0"/>
            <a:t>R&amp;D </a:t>
          </a:r>
          <a:r>
            <a:rPr lang="ko-KR" altLang="en-US" dirty="0"/>
            <a:t>  </a:t>
          </a:r>
        </a:p>
      </dgm:t>
    </dgm:pt>
    <dgm:pt modelId="{7762F421-3C37-4BD4-94E2-2981863BFFE1}" type="parTrans" cxnId="{37FA1135-56B8-488A-A9E3-30390EF0D6CF}">
      <dgm:prSet/>
      <dgm:spPr/>
      <dgm:t>
        <a:bodyPr/>
        <a:lstStyle/>
        <a:p>
          <a:pPr latinLnBrk="1"/>
          <a:endParaRPr lang="ko-KR" altLang="en-US"/>
        </a:p>
      </dgm:t>
    </dgm:pt>
    <dgm:pt modelId="{15BBA550-1FCC-47CF-AD8F-FE8DCF9A9EDC}" type="sibTrans" cxnId="{37FA1135-56B8-488A-A9E3-30390EF0D6CF}">
      <dgm:prSet/>
      <dgm:spPr/>
      <dgm:t>
        <a:bodyPr/>
        <a:lstStyle/>
        <a:p>
          <a:pPr latinLnBrk="1"/>
          <a:endParaRPr lang="ko-KR" altLang="en-US"/>
        </a:p>
      </dgm:t>
    </dgm:pt>
    <dgm:pt modelId="{469A0ADD-279E-4F21-A544-E8DBB5E601A0}">
      <dgm:prSet phldrT="[텍스트]"/>
      <dgm:spPr/>
      <dgm:t>
        <a:bodyPr/>
        <a:lstStyle/>
        <a:p>
          <a:pPr latinLnBrk="1"/>
          <a:r>
            <a:rPr lang="en-US" altLang="ko-KR" dirty="0"/>
            <a:t>-  </a:t>
          </a:r>
          <a:r>
            <a:rPr lang="ko-KR" altLang="en-US" dirty="0"/>
            <a:t>제품</a:t>
          </a:r>
          <a:r>
            <a:rPr lang="en-US" altLang="ko-KR" dirty="0"/>
            <a:t>/</a:t>
          </a:r>
          <a:r>
            <a:rPr lang="ko-KR" altLang="en-US" dirty="0"/>
            <a:t>서비스 </a:t>
          </a:r>
          <a:r>
            <a:rPr lang="en-US" altLang="ko-KR" dirty="0"/>
            <a:t>R&amp;D </a:t>
          </a:r>
        </a:p>
        <a:p>
          <a:pPr latinLnBrk="1"/>
          <a:r>
            <a:rPr lang="en-US" altLang="ko-KR" dirty="0"/>
            <a:t>- </a:t>
          </a:r>
          <a:r>
            <a:rPr lang="ko-KR" altLang="en-US" dirty="0"/>
            <a:t>신제품  개발과 개선 </a:t>
          </a:r>
          <a:r>
            <a:rPr lang="en-US" altLang="ko-KR" dirty="0"/>
            <a:t>&amp; </a:t>
          </a:r>
          <a:r>
            <a:rPr lang="ko-KR" altLang="en-US" dirty="0"/>
            <a:t>제조</a:t>
          </a:r>
          <a:endParaRPr lang="en-US" altLang="ko-KR" dirty="0"/>
        </a:p>
        <a:p>
          <a:pPr latinLnBrk="1"/>
          <a:r>
            <a:rPr lang="en-US" altLang="ko-KR" dirty="0"/>
            <a:t>- </a:t>
          </a:r>
          <a:r>
            <a:rPr lang="ko-KR" altLang="en-US" dirty="0"/>
            <a:t>가격 결정  </a:t>
          </a:r>
          <a:endParaRPr lang="en-US" altLang="ko-KR" dirty="0"/>
        </a:p>
        <a:p>
          <a:pPr latinLnBrk="1"/>
          <a:r>
            <a:rPr lang="en-US" altLang="ko-KR" dirty="0"/>
            <a:t>-  </a:t>
          </a:r>
          <a:r>
            <a:rPr lang="ko-KR" altLang="en-US" dirty="0"/>
            <a:t>최적 </a:t>
          </a:r>
          <a:r>
            <a:rPr lang="ko-KR" altLang="en-US" dirty="0" err="1"/>
            <a:t>소싱원</a:t>
          </a:r>
          <a:r>
            <a:rPr lang="ko-KR" altLang="en-US" dirty="0"/>
            <a:t> 개발  </a:t>
          </a:r>
          <a:endParaRPr lang="en-US" altLang="ko-KR" dirty="0"/>
        </a:p>
        <a:p>
          <a:pPr latinLnBrk="1"/>
          <a:r>
            <a:rPr lang="en-US" altLang="ko-KR" dirty="0"/>
            <a:t>- </a:t>
          </a:r>
          <a:r>
            <a:rPr lang="ko-KR" altLang="en-US" dirty="0"/>
            <a:t>상권 분석과 점포 오픈</a:t>
          </a:r>
        </a:p>
      </dgm:t>
    </dgm:pt>
    <dgm:pt modelId="{CCC75FE9-4A7A-4E5C-B45A-B3337C36C6DB}" type="parTrans" cxnId="{D875EC7E-7F62-4E70-8E99-FA5819111E6B}">
      <dgm:prSet/>
      <dgm:spPr/>
      <dgm:t>
        <a:bodyPr/>
        <a:lstStyle/>
        <a:p>
          <a:pPr latinLnBrk="1"/>
          <a:endParaRPr lang="ko-KR" altLang="en-US"/>
        </a:p>
      </dgm:t>
    </dgm:pt>
    <dgm:pt modelId="{1BC135B8-C284-4DE2-B545-744C47A136BD}" type="sibTrans" cxnId="{D875EC7E-7F62-4E70-8E99-FA5819111E6B}">
      <dgm:prSet/>
      <dgm:spPr/>
      <dgm:t>
        <a:bodyPr/>
        <a:lstStyle/>
        <a:p>
          <a:pPr latinLnBrk="1"/>
          <a:endParaRPr lang="ko-KR" altLang="en-US"/>
        </a:p>
      </dgm:t>
    </dgm:pt>
    <dgm:pt modelId="{FDD6C3D6-64CE-4DB1-A781-22766B67C9D2}">
      <dgm:prSet phldrT="[텍스트]"/>
      <dgm:spPr>
        <a:solidFill>
          <a:srgbClr val="0070C0"/>
        </a:solidFill>
      </dgm:spPr>
      <dgm:t>
        <a:bodyPr/>
        <a:lstStyle/>
        <a:p>
          <a:pPr latinLnBrk="1"/>
          <a:r>
            <a:rPr lang="ko-KR" altLang="en-US" dirty="0"/>
            <a:t>  마케팅</a:t>
          </a:r>
          <a:r>
            <a:rPr lang="en-US" altLang="ko-KR" dirty="0"/>
            <a:t>/</a:t>
          </a:r>
          <a:r>
            <a:rPr lang="ko-KR" altLang="en-US" dirty="0"/>
            <a:t>유통</a:t>
          </a:r>
          <a:r>
            <a:rPr lang="en-US" altLang="ko-KR" dirty="0"/>
            <a:t>/</a:t>
          </a:r>
          <a:r>
            <a:rPr lang="ko-KR" altLang="en-US" dirty="0"/>
            <a:t>배송  최적화</a:t>
          </a:r>
          <a:r>
            <a:rPr lang="en-US" altLang="ko-KR" dirty="0"/>
            <a:t> </a:t>
          </a:r>
          <a:r>
            <a:rPr lang="ko-KR" altLang="en-US" dirty="0"/>
            <a:t> </a:t>
          </a:r>
        </a:p>
      </dgm:t>
    </dgm:pt>
    <dgm:pt modelId="{649525FC-9514-4FDD-A3A4-339A75B86035}" type="parTrans" cxnId="{18BAB360-96B9-4D2E-B31A-D0C7DF8A59AB}">
      <dgm:prSet/>
      <dgm:spPr/>
      <dgm:t>
        <a:bodyPr/>
        <a:lstStyle/>
        <a:p>
          <a:pPr latinLnBrk="1"/>
          <a:endParaRPr lang="ko-KR" altLang="en-US"/>
        </a:p>
      </dgm:t>
    </dgm:pt>
    <dgm:pt modelId="{99901B39-945D-45BE-A29A-7723D463DD26}" type="sibTrans" cxnId="{18BAB360-96B9-4D2E-B31A-D0C7DF8A59AB}">
      <dgm:prSet/>
      <dgm:spPr/>
      <dgm:t>
        <a:bodyPr/>
        <a:lstStyle/>
        <a:p>
          <a:pPr latinLnBrk="1"/>
          <a:endParaRPr lang="ko-KR" altLang="en-US"/>
        </a:p>
      </dgm:t>
    </dgm:pt>
    <dgm:pt modelId="{B975E5F3-A80E-40F7-B08C-5DE15C544593}">
      <dgm:prSet phldrT="[텍스트]"/>
      <dgm:spPr/>
      <dgm:t>
        <a:bodyPr/>
        <a:lstStyle/>
        <a:p>
          <a:pPr latinLnBrk="1"/>
          <a:r>
            <a:rPr lang="en-US" altLang="ko-KR" b="1" dirty="0"/>
            <a:t>-  </a:t>
          </a:r>
          <a:r>
            <a:rPr lang="en-US" altLang="ko-KR" b="1" dirty="0">
              <a:solidFill>
                <a:schemeClr val="tx1"/>
              </a:solidFill>
              <a:latin typeface="Nanum Gothic"/>
            </a:rPr>
            <a:t>Micro Marketing</a:t>
          </a:r>
        </a:p>
        <a:p>
          <a:pPr latinLnBrk="1"/>
          <a:r>
            <a:rPr lang="en-US" altLang="ko-KR" dirty="0">
              <a:solidFill>
                <a:schemeClr val="tx1"/>
              </a:solidFill>
              <a:latin typeface="Nanum Gothic"/>
            </a:rPr>
            <a:t>- </a:t>
          </a:r>
          <a:r>
            <a:rPr lang="ko-KR" altLang="en-US" dirty="0">
              <a:solidFill>
                <a:schemeClr val="tx1"/>
              </a:solidFill>
              <a:latin typeface="Nanum Gothic"/>
            </a:rPr>
            <a:t>제품 배치와 이동 </a:t>
          </a:r>
          <a:endParaRPr lang="en-US" altLang="ko-KR" dirty="0">
            <a:solidFill>
              <a:schemeClr val="tx1"/>
            </a:solidFill>
            <a:latin typeface="Nanum Gothic"/>
          </a:endParaRPr>
        </a:p>
        <a:p>
          <a:pPr latinLnBrk="1"/>
          <a:r>
            <a:rPr lang="en-US" altLang="ko-KR" dirty="0">
              <a:solidFill>
                <a:schemeClr val="tx1"/>
              </a:solidFill>
              <a:latin typeface="Nanum Gothic"/>
            </a:rPr>
            <a:t>-  </a:t>
          </a:r>
          <a:r>
            <a:rPr lang="ko-KR" altLang="en-US" dirty="0">
              <a:solidFill>
                <a:schemeClr val="tx1"/>
              </a:solidFill>
              <a:latin typeface="Nanum Gothic"/>
            </a:rPr>
            <a:t>배송</a:t>
          </a:r>
          <a:r>
            <a:rPr lang="en-US" altLang="ko-KR" dirty="0">
              <a:solidFill>
                <a:schemeClr val="tx1"/>
              </a:solidFill>
              <a:latin typeface="Nanum Gothic"/>
            </a:rPr>
            <a:t>&amp;</a:t>
          </a:r>
          <a:r>
            <a:rPr lang="ko-KR" altLang="en-US" dirty="0">
              <a:solidFill>
                <a:schemeClr val="tx1"/>
              </a:solidFill>
              <a:latin typeface="Nanum Gothic"/>
            </a:rPr>
            <a:t>물류시스템 </a:t>
          </a:r>
          <a:endParaRPr lang="en-US" altLang="ko-KR" dirty="0">
            <a:solidFill>
              <a:schemeClr val="tx1"/>
            </a:solidFill>
            <a:latin typeface="Nanum Gothic"/>
          </a:endParaRPr>
        </a:p>
        <a:p>
          <a:pPr latinLnBrk="1"/>
          <a:r>
            <a:rPr lang="en-US" altLang="ko-KR" dirty="0">
              <a:solidFill>
                <a:schemeClr val="tx1"/>
              </a:solidFill>
              <a:latin typeface="Nanum Gothic"/>
            </a:rPr>
            <a:t>    &gt; </a:t>
          </a:r>
          <a:r>
            <a:rPr lang="ko-KR" altLang="en-US" dirty="0" err="1">
              <a:solidFill>
                <a:schemeClr val="tx1"/>
              </a:solidFill>
              <a:latin typeface="Nanum Gothic"/>
            </a:rPr>
            <a:t>풀필먼트</a:t>
          </a:r>
          <a:r>
            <a:rPr lang="ko-KR" altLang="en-US" dirty="0">
              <a:solidFill>
                <a:schemeClr val="tx1"/>
              </a:solidFill>
              <a:latin typeface="Nanum Gothic"/>
            </a:rPr>
            <a:t> 시스템</a:t>
          </a:r>
          <a:endParaRPr lang="en-US" altLang="ko-KR" dirty="0">
            <a:solidFill>
              <a:schemeClr val="tx1"/>
            </a:solidFill>
            <a:latin typeface="Nanum Gothic"/>
          </a:endParaRPr>
        </a:p>
        <a:p>
          <a:pPr latinLnBrk="1"/>
          <a:r>
            <a:rPr lang="en-US" altLang="ko-KR" dirty="0">
              <a:solidFill>
                <a:schemeClr val="tx1"/>
              </a:solidFill>
              <a:latin typeface="Nanum Gothic"/>
            </a:rPr>
            <a:t>-  </a:t>
          </a:r>
          <a:r>
            <a:rPr lang="ko-KR" altLang="en-US" dirty="0">
              <a:solidFill>
                <a:schemeClr val="tx1"/>
              </a:solidFill>
              <a:latin typeface="Nanum Gothic"/>
            </a:rPr>
            <a:t>최적 재고시스템 </a:t>
          </a:r>
          <a:endParaRPr lang="en-US" altLang="ko-KR" dirty="0">
            <a:solidFill>
              <a:schemeClr val="tx1"/>
            </a:solidFill>
            <a:latin typeface="Nanum Gothic"/>
          </a:endParaRPr>
        </a:p>
        <a:p>
          <a:pPr latinLnBrk="1"/>
          <a:r>
            <a:rPr lang="en-US" altLang="ko-KR" dirty="0">
              <a:solidFill>
                <a:schemeClr val="tx1"/>
              </a:solidFill>
              <a:latin typeface="Nanum Gothic"/>
            </a:rPr>
            <a:t>- </a:t>
          </a:r>
          <a:r>
            <a:rPr lang="ko-KR" altLang="en-US" dirty="0">
              <a:solidFill>
                <a:schemeClr val="tx1"/>
              </a:solidFill>
              <a:latin typeface="Nanum Gothic"/>
            </a:rPr>
            <a:t>맞춤형 홍보 </a:t>
          </a:r>
          <a:r>
            <a:rPr lang="en-US" altLang="ko-KR" dirty="0">
              <a:solidFill>
                <a:schemeClr val="tx1"/>
              </a:solidFill>
              <a:latin typeface="Nanum Gothic"/>
            </a:rPr>
            <a:t>&gt; </a:t>
          </a:r>
          <a:r>
            <a:rPr lang="ko-KR" altLang="en-US" dirty="0">
              <a:solidFill>
                <a:schemeClr val="tx1"/>
              </a:solidFill>
              <a:latin typeface="Nanum Gothic"/>
            </a:rPr>
            <a:t>사회적 가치 창조    </a:t>
          </a:r>
          <a:endParaRPr lang="ko-KR" altLang="en-US" dirty="0"/>
        </a:p>
      </dgm:t>
    </dgm:pt>
    <dgm:pt modelId="{BE1EC230-0507-4107-9334-717509401F66}" type="parTrans" cxnId="{18D99E57-6C8C-42EB-BF81-6E1E45849916}">
      <dgm:prSet/>
      <dgm:spPr/>
      <dgm:t>
        <a:bodyPr/>
        <a:lstStyle/>
        <a:p>
          <a:pPr latinLnBrk="1"/>
          <a:endParaRPr lang="ko-KR" altLang="en-US"/>
        </a:p>
      </dgm:t>
    </dgm:pt>
    <dgm:pt modelId="{99D822A4-85FE-4DD8-8C12-9AEFF30A3C62}" type="sibTrans" cxnId="{18D99E57-6C8C-42EB-BF81-6E1E45849916}">
      <dgm:prSet/>
      <dgm:spPr/>
      <dgm:t>
        <a:bodyPr/>
        <a:lstStyle/>
        <a:p>
          <a:pPr latinLnBrk="1"/>
          <a:endParaRPr lang="ko-KR" altLang="en-US"/>
        </a:p>
      </dgm:t>
    </dgm:pt>
    <dgm:pt modelId="{FE2B34EF-5EA0-4922-A245-A4DEF03E820B}">
      <dgm:prSet phldrT="[텍스트]"/>
      <dgm:spPr/>
      <dgm:t>
        <a:bodyPr/>
        <a:lstStyle/>
        <a:p>
          <a:pPr latinLnBrk="1"/>
          <a:r>
            <a:rPr lang="en-US" altLang="ko-KR" dirty="0"/>
            <a:t>-  </a:t>
          </a:r>
          <a:r>
            <a:rPr lang="ko-KR" altLang="en-US" dirty="0"/>
            <a:t>고객 분석 </a:t>
          </a:r>
          <a:r>
            <a:rPr lang="en-US" altLang="ko-KR" dirty="0"/>
            <a:t>&gt; </a:t>
          </a:r>
          <a:r>
            <a:rPr lang="ko-KR" altLang="en-US" dirty="0" err="1"/>
            <a:t>타켓</a:t>
          </a:r>
          <a:r>
            <a:rPr lang="ko-KR" altLang="en-US" dirty="0"/>
            <a:t> 설정</a:t>
          </a:r>
          <a:endParaRPr lang="en-US" altLang="ko-KR" dirty="0"/>
        </a:p>
      </dgm:t>
    </dgm:pt>
    <dgm:pt modelId="{CC4B44D2-696B-4292-AC8B-21C6073781E5}" type="parTrans" cxnId="{7F17C1C3-4086-48FB-A338-A9D017D870A8}">
      <dgm:prSet/>
      <dgm:spPr/>
      <dgm:t>
        <a:bodyPr/>
        <a:lstStyle/>
        <a:p>
          <a:pPr latinLnBrk="1"/>
          <a:endParaRPr lang="ko-KR" altLang="en-US"/>
        </a:p>
      </dgm:t>
    </dgm:pt>
    <dgm:pt modelId="{0060AB36-170A-4B2E-99C5-A0799A920268}" type="sibTrans" cxnId="{7F17C1C3-4086-48FB-A338-A9D017D870A8}">
      <dgm:prSet/>
      <dgm:spPr/>
      <dgm:t>
        <a:bodyPr/>
        <a:lstStyle/>
        <a:p>
          <a:pPr latinLnBrk="1"/>
          <a:endParaRPr lang="ko-KR" altLang="en-US"/>
        </a:p>
      </dgm:t>
    </dgm:pt>
    <dgm:pt modelId="{841AF479-93B9-48EA-B249-6E2A94C4357F}">
      <dgm:prSet phldrT="[텍스트]"/>
      <dgm:spPr/>
      <dgm:t>
        <a:bodyPr/>
        <a:lstStyle/>
        <a:p>
          <a:pPr latinLnBrk="1"/>
          <a:r>
            <a:rPr lang="en-US" altLang="ko-KR" dirty="0"/>
            <a:t>- </a:t>
          </a:r>
          <a:r>
            <a:rPr lang="ko-KR" altLang="en-US" dirty="0"/>
            <a:t>고객 개인별  특성을  통합 </a:t>
          </a:r>
          <a:r>
            <a:rPr lang="ko-KR" altLang="en-US" dirty="0" err="1"/>
            <a:t>그룹핑</a:t>
          </a:r>
          <a:r>
            <a:rPr lang="ko-KR" altLang="en-US" dirty="0"/>
            <a:t> </a:t>
          </a:r>
          <a:endParaRPr lang="en-US" altLang="ko-KR" dirty="0"/>
        </a:p>
      </dgm:t>
    </dgm:pt>
    <dgm:pt modelId="{D580F76F-0E82-4AE0-B37B-DAEA8F05A51B}" type="parTrans" cxnId="{C830C0DC-5346-4B7E-A07D-0D72AEF4AF90}">
      <dgm:prSet/>
      <dgm:spPr/>
      <dgm:t>
        <a:bodyPr/>
        <a:lstStyle/>
        <a:p>
          <a:pPr latinLnBrk="1"/>
          <a:endParaRPr lang="ko-KR" altLang="en-US"/>
        </a:p>
      </dgm:t>
    </dgm:pt>
    <dgm:pt modelId="{1E98C0BB-3FFB-4C3D-AA35-861D1E252626}" type="sibTrans" cxnId="{C830C0DC-5346-4B7E-A07D-0D72AEF4AF90}">
      <dgm:prSet/>
      <dgm:spPr/>
      <dgm:t>
        <a:bodyPr/>
        <a:lstStyle/>
        <a:p>
          <a:pPr latinLnBrk="1"/>
          <a:endParaRPr lang="ko-KR" altLang="en-US"/>
        </a:p>
      </dgm:t>
    </dgm:pt>
    <dgm:pt modelId="{B908D13C-E6E8-49C3-8DF6-7D4BE3E38A70}">
      <dgm:prSet phldrT="[텍스트]"/>
      <dgm:spPr/>
      <dgm:t>
        <a:bodyPr/>
        <a:lstStyle/>
        <a:p>
          <a:pPr latinLnBrk="1"/>
          <a:endParaRPr lang="ko-KR" altLang="en-US" dirty="0"/>
        </a:p>
        <a:p>
          <a:pPr latinLnBrk="1"/>
          <a:endParaRPr lang="ko-KR" altLang="en-US" dirty="0"/>
        </a:p>
      </dgm:t>
    </dgm:pt>
    <dgm:pt modelId="{4843E799-05D9-4AA7-8885-05885768C5F4}" type="parTrans" cxnId="{D5DE1615-D73B-44AA-BB75-2D37F4004E5E}">
      <dgm:prSet/>
      <dgm:spPr/>
      <dgm:t>
        <a:bodyPr/>
        <a:lstStyle/>
        <a:p>
          <a:pPr latinLnBrk="1"/>
          <a:endParaRPr lang="ko-KR" altLang="en-US"/>
        </a:p>
      </dgm:t>
    </dgm:pt>
    <dgm:pt modelId="{B1E38D42-13CA-40F0-AD61-97D4B7450DD2}" type="sibTrans" cxnId="{D5DE1615-D73B-44AA-BB75-2D37F4004E5E}">
      <dgm:prSet/>
      <dgm:spPr/>
      <dgm:t>
        <a:bodyPr/>
        <a:lstStyle/>
        <a:p>
          <a:pPr latinLnBrk="1"/>
          <a:endParaRPr lang="ko-KR" altLang="en-US"/>
        </a:p>
      </dgm:t>
    </dgm:pt>
    <dgm:pt modelId="{9B4E431C-21FE-4D2D-8066-8F5DADDF0A21}" type="pres">
      <dgm:prSet presAssocID="{8571AFBB-5DBA-46AF-87E9-B25BA2DF12F6}" presName="Name0" presStyleCnt="0">
        <dgm:presLayoutVars>
          <dgm:chMax val="5"/>
          <dgm:chPref val="5"/>
          <dgm:dir/>
          <dgm:animLvl val="lvl"/>
        </dgm:presLayoutVars>
      </dgm:prSet>
      <dgm:spPr/>
      <dgm:t>
        <a:bodyPr/>
        <a:lstStyle/>
        <a:p>
          <a:pPr latinLnBrk="1"/>
          <a:endParaRPr lang="ko-KR" altLang="en-US"/>
        </a:p>
      </dgm:t>
    </dgm:pt>
    <dgm:pt modelId="{ED33CF39-8F60-4CBC-9571-F2543036AE06}" type="pres">
      <dgm:prSet presAssocID="{2A7188B4-BB3A-4901-9881-AD647E403D8A}" presName="parentText1" presStyleLbl="node1" presStyleIdx="0" presStyleCnt="3" custScaleY="145429" custLinFactNeighborX="1153" custLinFactNeighborY="-43478">
        <dgm:presLayoutVars>
          <dgm:chMax/>
          <dgm:chPref val="3"/>
          <dgm:bulletEnabled val="1"/>
        </dgm:presLayoutVars>
      </dgm:prSet>
      <dgm:spPr/>
      <dgm:t>
        <a:bodyPr/>
        <a:lstStyle/>
        <a:p>
          <a:pPr latinLnBrk="1"/>
          <a:endParaRPr lang="ko-KR" altLang="en-US"/>
        </a:p>
      </dgm:t>
    </dgm:pt>
    <dgm:pt modelId="{20DBC7FA-A653-404B-9391-8067B5D92F87}" type="pres">
      <dgm:prSet presAssocID="{2A7188B4-BB3A-4901-9881-AD647E403D8A}" presName="childText1" presStyleLbl="solidAlignAcc1" presStyleIdx="0" presStyleCnt="3" custLinFactNeighborX="-725" custLinFactNeighborY="-7298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pPr latinLnBrk="1"/>
          <a:endParaRPr lang="ko-KR" altLang="en-US"/>
        </a:p>
      </dgm:t>
    </dgm:pt>
    <dgm:pt modelId="{10959D63-0C53-4397-9587-90885A74497A}" type="pres">
      <dgm:prSet presAssocID="{9948D35A-6427-421C-A43F-395BF650366F}" presName="parentText2" presStyleLbl="node1" presStyleIdx="1" presStyleCnt="3">
        <dgm:presLayoutVars>
          <dgm:chMax/>
          <dgm:chPref val="3"/>
          <dgm:bulletEnabled val="1"/>
        </dgm:presLayoutVars>
      </dgm:prSet>
      <dgm:spPr/>
      <dgm:t>
        <a:bodyPr/>
        <a:lstStyle/>
        <a:p>
          <a:pPr latinLnBrk="1"/>
          <a:endParaRPr lang="ko-KR" altLang="en-US"/>
        </a:p>
      </dgm:t>
    </dgm:pt>
    <dgm:pt modelId="{79C2C8FA-C7FB-4648-A877-8979E4DBCC1A}" type="pres">
      <dgm:prSet presAssocID="{9948D35A-6427-421C-A43F-395BF650366F}" presName="childText2" presStyleLbl="solidAlignAcc1" presStyleIdx="1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pPr latinLnBrk="1"/>
          <a:endParaRPr lang="ko-KR" altLang="en-US"/>
        </a:p>
      </dgm:t>
    </dgm:pt>
    <dgm:pt modelId="{19AC4878-9E01-4A12-A697-66F699602512}" type="pres">
      <dgm:prSet presAssocID="{FDD6C3D6-64CE-4DB1-A781-22766B67C9D2}" presName="parentText3" presStyleLbl="node1" presStyleIdx="2" presStyleCnt="3" custLinFactNeighborX="-335" custLinFactNeighborY="16424">
        <dgm:presLayoutVars>
          <dgm:chMax/>
          <dgm:chPref val="3"/>
          <dgm:bulletEnabled val="1"/>
        </dgm:presLayoutVars>
      </dgm:prSet>
      <dgm:spPr/>
      <dgm:t>
        <a:bodyPr/>
        <a:lstStyle/>
        <a:p>
          <a:pPr latinLnBrk="1"/>
          <a:endParaRPr lang="ko-KR" altLang="en-US"/>
        </a:p>
      </dgm:t>
    </dgm:pt>
    <dgm:pt modelId="{43880779-EC05-41E7-A7E6-2175B7A9202A}" type="pres">
      <dgm:prSet presAssocID="{FDD6C3D6-64CE-4DB1-A781-22766B67C9D2}" presName="childText3" presStyleLbl="solidAlignAcc1" presStyleIdx="2" presStyleCnt="3" custLinFactNeighborX="765" custLinFactNeighborY="218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pPr latinLnBrk="1"/>
          <a:endParaRPr lang="ko-KR" altLang="en-US"/>
        </a:p>
      </dgm:t>
    </dgm:pt>
  </dgm:ptLst>
  <dgm:cxnLst>
    <dgm:cxn modelId="{4F4ADF5E-0B70-4B11-9127-79755439E055}" type="presOf" srcId="{B908D13C-E6E8-49C3-8DF6-7D4BE3E38A70}" destId="{79C2C8FA-C7FB-4648-A877-8979E4DBCC1A}" srcOrd="0" destOrd="3" presId="urn:microsoft.com/office/officeart/2009/3/layout/IncreasingArrowsProcess"/>
    <dgm:cxn modelId="{9849D946-30BC-4F50-90F7-429EA965BDCF}" type="presOf" srcId="{69D75584-23EF-4177-B01F-C37EEB62636A}" destId="{20DBC7FA-A653-404B-9391-8067B5D92F87}" srcOrd="0" destOrd="0" presId="urn:microsoft.com/office/officeart/2009/3/layout/IncreasingArrowsProcess"/>
    <dgm:cxn modelId="{7F17C1C3-4086-48FB-A338-A9D017D870A8}" srcId="{9948D35A-6427-421C-A43F-395BF650366F}" destId="{FE2B34EF-5EA0-4922-A245-A4DEF03E820B}" srcOrd="1" destOrd="0" parTransId="{CC4B44D2-696B-4292-AC8B-21C6073781E5}" sibTransId="{0060AB36-170A-4B2E-99C5-A0799A920268}"/>
    <dgm:cxn modelId="{09792086-D31A-4B8F-BD85-8C75EED81937}" type="presOf" srcId="{9948D35A-6427-421C-A43F-395BF650366F}" destId="{10959D63-0C53-4397-9587-90885A74497A}" srcOrd="0" destOrd="0" presId="urn:microsoft.com/office/officeart/2009/3/layout/IncreasingArrowsProcess"/>
    <dgm:cxn modelId="{989962D2-D433-4851-956E-60F4EFEA2881}" type="presOf" srcId="{FDD6C3D6-64CE-4DB1-A781-22766B67C9D2}" destId="{19AC4878-9E01-4A12-A697-66F699602512}" srcOrd="0" destOrd="0" presId="urn:microsoft.com/office/officeart/2009/3/layout/IncreasingArrowsProcess"/>
    <dgm:cxn modelId="{F8DBD1FB-595A-4168-9B2D-5A2E19DDBB4C}" srcId="{8571AFBB-5DBA-46AF-87E9-B25BA2DF12F6}" destId="{2A7188B4-BB3A-4901-9881-AD647E403D8A}" srcOrd="0" destOrd="0" parTransId="{FB7D7DA7-001C-4821-B608-214C7A5FA4B7}" sibTransId="{F37713DC-9D52-42AD-827D-8F135D7A480F}"/>
    <dgm:cxn modelId="{18D99E57-6C8C-42EB-BF81-6E1E45849916}" srcId="{FDD6C3D6-64CE-4DB1-A781-22766B67C9D2}" destId="{B975E5F3-A80E-40F7-B08C-5DE15C544593}" srcOrd="0" destOrd="0" parTransId="{BE1EC230-0507-4107-9334-717509401F66}" sibTransId="{99D822A4-85FE-4DD8-8C12-9AEFF30A3C62}"/>
    <dgm:cxn modelId="{88B6974E-B185-46AF-B588-48935A43C2F7}" srcId="{2A7188B4-BB3A-4901-9881-AD647E403D8A}" destId="{69D75584-23EF-4177-B01F-C37EEB62636A}" srcOrd="0" destOrd="0" parTransId="{11776ABB-3903-4AB6-BECA-7281FFB9FFDB}" sibTransId="{E598B1A9-CD2A-41CE-9C48-F71028F2A132}"/>
    <dgm:cxn modelId="{C830C0DC-5346-4B7E-A07D-0D72AEF4AF90}" srcId="{9948D35A-6427-421C-A43F-395BF650366F}" destId="{841AF479-93B9-48EA-B249-6E2A94C4357F}" srcOrd="2" destOrd="0" parTransId="{D580F76F-0E82-4AE0-B37B-DAEA8F05A51B}" sibTransId="{1E98C0BB-3FFB-4C3D-AA35-861D1E252626}"/>
    <dgm:cxn modelId="{37FA1135-56B8-488A-A9E3-30390EF0D6CF}" srcId="{8571AFBB-5DBA-46AF-87E9-B25BA2DF12F6}" destId="{9948D35A-6427-421C-A43F-395BF650366F}" srcOrd="1" destOrd="0" parTransId="{7762F421-3C37-4BD4-94E2-2981863BFFE1}" sibTransId="{15BBA550-1FCC-47CF-AD8F-FE8DCF9A9EDC}"/>
    <dgm:cxn modelId="{D5DE1615-D73B-44AA-BB75-2D37F4004E5E}" srcId="{9948D35A-6427-421C-A43F-395BF650366F}" destId="{B908D13C-E6E8-49C3-8DF6-7D4BE3E38A70}" srcOrd="3" destOrd="0" parTransId="{4843E799-05D9-4AA7-8885-05885768C5F4}" sibTransId="{B1E38D42-13CA-40F0-AD61-97D4B7450DD2}"/>
    <dgm:cxn modelId="{E1CE62CC-7E64-4549-B165-640A4DE9054A}" type="presOf" srcId="{FE2B34EF-5EA0-4922-A245-A4DEF03E820B}" destId="{79C2C8FA-C7FB-4648-A877-8979E4DBCC1A}" srcOrd="0" destOrd="1" presId="urn:microsoft.com/office/officeart/2009/3/layout/IncreasingArrowsProcess"/>
    <dgm:cxn modelId="{EDB9FCB0-3AC7-4012-928D-1199C15AFFE9}" type="presOf" srcId="{8571AFBB-5DBA-46AF-87E9-B25BA2DF12F6}" destId="{9B4E431C-21FE-4D2D-8066-8F5DADDF0A21}" srcOrd="0" destOrd="0" presId="urn:microsoft.com/office/officeart/2009/3/layout/IncreasingArrowsProcess"/>
    <dgm:cxn modelId="{17B19005-8105-4A81-BC7A-F7F521A019DD}" type="presOf" srcId="{841AF479-93B9-48EA-B249-6E2A94C4357F}" destId="{79C2C8FA-C7FB-4648-A877-8979E4DBCC1A}" srcOrd="0" destOrd="2" presId="urn:microsoft.com/office/officeart/2009/3/layout/IncreasingArrowsProcess"/>
    <dgm:cxn modelId="{D875EC7E-7F62-4E70-8E99-FA5819111E6B}" srcId="{9948D35A-6427-421C-A43F-395BF650366F}" destId="{469A0ADD-279E-4F21-A544-E8DBB5E601A0}" srcOrd="0" destOrd="0" parTransId="{CCC75FE9-4A7A-4E5C-B45A-B3337C36C6DB}" sibTransId="{1BC135B8-C284-4DE2-B545-744C47A136BD}"/>
    <dgm:cxn modelId="{8D817C49-86E3-422A-9470-BBA21F03D8A4}" type="presOf" srcId="{469A0ADD-279E-4F21-A544-E8DBB5E601A0}" destId="{79C2C8FA-C7FB-4648-A877-8979E4DBCC1A}" srcOrd="0" destOrd="0" presId="urn:microsoft.com/office/officeart/2009/3/layout/IncreasingArrowsProcess"/>
    <dgm:cxn modelId="{18BAB360-96B9-4D2E-B31A-D0C7DF8A59AB}" srcId="{8571AFBB-5DBA-46AF-87E9-B25BA2DF12F6}" destId="{FDD6C3D6-64CE-4DB1-A781-22766B67C9D2}" srcOrd="2" destOrd="0" parTransId="{649525FC-9514-4FDD-A3A4-339A75B86035}" sibTransId="{99901B39-945D-45BE-A29A-7723D463DD26}"/>
    <dgm:cxn modelId="{68E3D47B-1C78-4CB3-AE83-493EFAE4FB75}" type="presOf" srcId="{2A7188B4-BB3A-4901-9881-AD647E403D8A}" destId="{ED33CF39-8F60-4CBC-9571-F2543036AE06}" srcOrd="0" destOrd="0" presId="urn:microsoft.com/office/officeart/2009/3/layout/IncreasingArrowsProcess"/>
    <dgm:cxn modelId="{B823E3E9-CE7E-4FFB-A67E-EB4B4E5BD8BA}" type="presOf" srcId="{B975E5F3-A80E-40F7-B08C-5DE15C544593}" destId="{43880779-EC05-41E7-A7E6-2175B7A9202A}" srcOrd="0" destOrd="0" presId="urn:microsoft.com/office/officeart/2009/3/layout/IncreasingArrowsProcess"/>
    <dgm:cxn modelId="{D04A20B7-8FEE-416A-A437-19399DB2B092}" type="presParOf" srcId="{9B4E431C-21FE-4D2D-8066-8F5DADDF0A21}" destId="{ED33CF39-8F60-4CBC-9571-F2543036AE06}" srcOrd="0" destOrd="0" presId="urn:microsoft.com/office/officeart/2009/3/layout/IncreasingArrowsProcess"/>
    <dgm:cxn modelId="{C6AD16D7-2C0F-4ABB-A0B1-EF643CA0F2D1}" type="presParOf" srcId="{9B4E431C-21FE-4D2D-8066-8F5DADDF0A21}" destId="{20DBC7FA-A653-404B-9391-8067B5D92F87}" srcOrd="1" destOrd="0" presId="urn:microsoft.com/office/officeart/2009/3/layout/IncreasingArrowsProcess"/>
    <dgm:cxn modelId="{8C75C290-D131-47BE-AFA1-A74A17278F91}" type="presParOf" srcId="{9B4E431C-21FE-4D2D-8066-8F5DADDF0A21}" destId="{10959D63-0C53-4397-9587-90885A74497A}" srcOrd="2" destOrd="0" presId="urn:microsoft.com/office/officeart/2009/3/layout/IncreasingArrowsProcess"/>
    <dgm:cxn modelId="{4B6BACE0-BABA-42FE-81D7-ED6CCF3D08E6}" type="presParOf" srcId="{9B4E431C-21FE-4D2D-8066-8F5DADDF0A21}" destId="{79C2C8FA-C7FB-4648-A877-8979E4DBCC1A}" srcOrd="3" destOrd="0" presId="urn:microsoft.com/office/officeart/2009/3/layout/IncreasingArrowsProcess"/>
    <dgm:cxn modelId="{48CEEC71-90B8-4DED-B1BE-F4F1EE72F297}" type="presParOf" srcId="{9B4E431C-21FE-4D2D-8066-8F5DADDF0A21}" destId="{19AC4878-9E01-4A12-A697-66F699602512}" srcOrd="4" destOrd="0" presId="urn:microsoft.com/office/officeart/2009/3/layout/IncreasingArrowsProcess"/>
    <dgm:cxn modelId="{B752973F-A2DF-4FD7-B704-D76534804B73}" type="presParOf" srcId="{9B4E431C-21FE-4D2D-8066-8F5DADDF0A21}" destId="{43880779-EC05-41E7-A7E6-2175B7A9202A}" srcOrd="5" destOrd="0" presId="urn:microsoft.com/office/officeart/2009/3/layout/IncreasingArrowsProcess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9.xml><?xml version="1.0" encoding="utf-8"?>
<dgm:dataModel xmlns:dgm="http://schemas.openxmlformats.org/drawingml/2006/diagram" xmlns:a="http://schemas.openxmlformats.org/drawingml/2006/main">
  <dgm:ptLst>
    <dgm:pt modelId="{B35AE78E-E7A7-4735-8EB5-5074243FCC58}" type="doc">
      <dgm:prSet loTypeId="urn:microsoft.com/office/officeart/2005/8/layout/matrix2" loCatId="matrix" qsTypeId="urn:microsoft.com/office/officeart/2005/8/quickstyle/simple1" qsCatId="simple" csTypeId="urn:microsoft.com/office/officeart/2005/8/colors/colorful3" csCatId="colorful" phldr="1"/>
      <dgm:spPr/>
      <dgm:t>
        <a:bodyPr/>
        <a:lstStyle/>
        <a:p>
          <a:pPr latinLnBrk="1"/>
          <a:endParaRPr lang="ko-KR" altLang="en-US"/>
        </a:p>
      </dgm:t>
    </dgm:pt>
    <dgm:pt modelId="{29D88F8C-D3F2-43AB-9C1F-663FAA23391E}">
      <dgm:prSet phldrT="[텍스트]"/>
      <dgm:spPr>
        <a:solidFill>
          <a:srgbClr val="00B0F0"/>
        </a:solidFill>
      </dgm:spPr>
      <dgm:t>
        <a:bodyPr/>
        <a:lstStyle/>
        <a:p>
          <a:pPr latinLnBrk="1"/>
          <a:r>
            <a:rPr lang="ko-KR" altLang="en-US" b="1" dirty="0"/>
            <a:t>비용</a:t>
          </a:r>
          <a:endParaRPr lang="en-US" altLang="ko-KR" b="1" dirty="0"/>
        </a:p>
        <a:p>
          <a:pPr latinLnBrk="1"/>
          <a:r>
            <a:rPr lang="en-US" altLang="ko-KR" b="1" dirty="0"/>
            <a:t>/</a:t>
          </a:r>
          <a:r>
            <a:rPr lang="ko-KR" altLang="en-US" b="1" dirty="0"/>
            <a:t>타이밍 </a:t>
          </a:r>
        </a:p>
      </dgm:t>
    </dgm:pt>
    <dgm:pt modelId="{72717359-438B-4FAD-8229-68C57AD9E408}" type="parTrans" cxnId="{34A7BB22-3821-4746-BBC6-8D04D6186751}">
      <dgm:prSet/>
      <dgm:spPr/>
      <dgm:t>
        <a:bodyPr/>
        <a:lstStyle/>
        <a:p>
          <a:pPr latinLnBrk="1"/>
          <a:endParaRPr lang="ko-KR" altLang="en-US"/>
        </a:p>
      </dgm:t>
    </dgm:pt>
    <dgm:pt modelId="{B4C5E0E0-C606-4A36-A5C9-25FB0D8FE7AD}" type="sibTrans" cxnId="{34A7BB22-3821-4746-BBC6-8D04D6186751}">
      <dgm:prSet/>
      <dgm:spPr/>
      <dgm:t>
        <a:bodyPr/>
        <a:lstStyle/>
        <a:p>
          <a:pPr latinLnBrk="1"/>
          <a:endParaRPr lang="ko-KR" altLang="en-US"/>
        </a:p>
      </dgm:t>
    </dgm:pt>
    <dgm:pt modelId="{799F4418-BF88-474C-B0F7-4E2CE67AD26B}">
      <dgm:prSet phldrT="[텍스트]"/>
      <dgm:spPr/>
      <dgm:t>
        <a:bodyPr/>
        <a:lstStyle/>
        <a:p>
          <a:pPr latinLnBrk="1"/>
          <a:r>
            <a:rPr lang="ko-KR" altLang="en-US" b="1" dirty="0"/>
            <a:t>경쟁력 우위</a:t>
          </a:r>
          <a:r>
            <a:rPr lang="ko-KR" altLang="en-US" dirty="0"/>
            <a:t>  </a:t>
          </a:r>
        </a:p>
      </dgm:t>
    </dgm:pt>
    <dgm:pt modelId="{9F7D15E3-BA18-4493-9CA5-8DD43FB0ACC7}" type="parTrans" cxnId="{CE45B6E4-EC51-4AB4-9016-83857FE4BAFC}">
      <dgm:prSet/>
      <dgm:spPr/>
      <dgm:t>
        <a:bodyPr/>
        <a:lstStyle/>
        <a:p>
          <a:pPr latinLnBrk="1"/>
          <a:endParaRPr lang="ko-KR" altLang="en-US"/>
        </a:p>
      </dgm:t>
    </dgm:pt>
    <dgm:pt modelId="{8EE87651-2A3F-41C5-9EC6-E9181787836F}" type="sibTrans" cxnId="{CE45B6E4-EC51-4AB4-9016-83857FE4BAFC}">
      <dgm:prSet/>
      <dgm:spPr/>
      <dgm:t>
        <a:bodyPr/>
        <a:lstStyle/>
        <a:p>
          <a:pPr latinLnBrk="1"/>
          <a:endParaRPr lang="ko-KR" altLang="en-US"/>
        </a:p>
      </dgm:t>
    </dgm:pt>
    <dgm:pt modelId="{6EABA57C-6E9E-4CC6-B619-B07426F30CC6}">
      <dgm:prSet phldrT="[텍스트]"/>
      <dgm:spPr>
        <a:solidFill>
          <a:srgbClr val="FF0000"/>
        </a:solidFill>
      </dgm:spPr>
      <dgm:t>
        <a:bodyPr/>
        <a:lstStyle/>
        <a:p>
          <a:pPr latinLnBrk="1"/>
          <a:r>
            <a:rPr lang="ko-KR" altLang="en-US" b="1" dirty="0"/>
            <a:t>사회적 가치 </a:t>
          </a:r>
        </a:p>
      </dgm:t>
    </dgm:pt>
    <dgm:pt modelId="{E0BDA879-784B-4877-9774-85972DBE0831}" type="parTrans" cxnId="{38717CB2-0A3D-41E5-B8ED-29E5ECB3496C}">
      <dgm:prSet/>
      <dgm:spPr/>
      <dgm:t>
        <a:bodyPr/>
        <a:lstStyle/>
        <a:p>
          <a:pPr latinLnBrk="1"/>
          <a:endParaRPr lang="ko-KR" altLang="en-US"/>
        </a:p>
      </dgm:t>
    </dgm:pt>
    <dgm:pt modelId="{17DF5938-D21C-4F78-8989-0D8F4996ACAD}" type="sibTrans" cxnId="{38717CB2-0A3D-41E5-B8ED-29E5ECB3496C}">
      <dgm:prSet/>
      <dgm:spPr/>
      <dgm:t>
        <a:bodyPr/>
        <a:lstStyle/>
        <a:p>
          <a:pPr latinLnBrk="1"/>
          <a:endParaRPr lang="ko-KR" altLang="en-US"/>
        </a:p>
      </dgm:t>
    </dgm:pt>
    <dgm:pt modelId="{3A091FA7-5045-419E-878B-0DD16352644A}">
      <dgm:prSet phldrT="[텍스트]"/>
      <dgm:spPr>
        <a:solidFill>
          <a:srgbClr val="7030A0"/>
        </a:solidFill>
      </dgm:spPr>
      <dgm:t>
        <a:bodyPr/>
        <a:lstStyle/>
        <a:p>
          <a:pPr latinLnBrk="1"/>
          <a:r>
            <a:rPr lang="ko-KR" altLang="en-US" b="1" dirty="0"/>
            <a:t>수익</a:t>
          </a:r>
          <a:r>
            <a:rPr lang="ko-KR" altLang="en-US" dirty="0"/>
            <a:t> </a:t>
          </a:r>
        </a:p>
      </dgm:t>
    </dgm:pt>
    <dgm:pt modelId="{AA992D64-58D6-4C46-BC2A-92D5D3D7CA4E}" type="parTrans" cxnId="{3680A523-BDDE-449E-9336-B7412DC5AE6B}">
      <dgm:prSet/>
      <dgm:spPr/>
      <dgm:t>
        <a:bodyPr/>
        <a:lstStyle/>
        <a:p>
          <a:pPr latinLnBrk="1"/>
          <a:endParaRPr lang="ko-KR" altLang="en-US"/>
        </a:p>
      </dgm:t>
    </dgm:pt>
    <dgm:pt modelId="{BB7D089C-C4FF-4878-8B00-22180BB3E101}" type="sibTrans" cxnId="{3680A523-BDDE-449E-9336-B7412DC5AE6B}">
      <dgm:prSet/>
      <dgm:spPr/>
      <dgm:t>
        <a:bodyPr/>
        <a:lstStyle/>
        <a:p>
          <a:pPr latinLnBrk="1"/>
          <a:endParaRPr lang="ko-KR" altLang="en-US"/>
        </a:p>
      </dgm:t>
    </dgm:pt>
    <dgm:pt modelId="{EE107A40-6A97-495A-91A5-ADAE455F998B}" type="pres">
      <dgm:prSet presAssocID="{B35AE78E-E7A7-4735-8EB5-5074243FCC58}" presName="matrix" presStyleCnt="0">
        <dgm:presLayoutVars>
          <dgm:chMax val="1"/>
          <dgm:dir/>
          <dgm:resizeHandles val="exact"/>
        </dgm:presLayoutVars>
      </dgm:prSet>
      <dgm:spPr/>
      <dgm:t>
        <a:bodyPr/>
        <a:lstStyle/>
        <a:p>
          <a:pPr latinLnBrk="1"/>
          <a:endParaRPr lang="ko-KR" altLang="en-US"/>
        </a:p>
      </dgm:t>
    </dgm:pt>
    <dgm:pt modelId="{9AD8E466-9EE8-460C-9AFD-59F567988F61}" type="pres">
      <dgm:prSet presAssocID="{B35AE78E-E7A7-4735-8EB5-5074243FCC58}" presName="axisShape" presStyleLbl="bgShp" presStyleIdx="0" presStyleCnt="1"/>
      <dgm:spPr/>
    </dgm:pt>
    <dgm:pt modelId="{B89368E3-2545-438F-B225-E2EB9429264F}" type="pres">
      <dgm:prSet presAssocID="{B35AE78E-E7A7-4735-8EB5-5074243FCC58}" presName="rect1" presStyleLbl="node1" presStyleIdx="0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pPr latinLnBrk="1"/>
          <a:endParaRPr lang="ko-KR" altLang="en-US"/>
        </a:p>
      </dgm:t>
    </dgm:pt>
    <dgm:pt modelId="{01D72B2A-986E-4BB0-9CDA-BE1156C664CE}" type="pres">
      <dgm:prSet presAssocID="{B35AE78E-E7A7-4735-8EB5-5074243FCC58}" presName="rect2" presStyleLbl="node1" presStyleIdx="1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pPr latinLnBrk="1"/>
          <a:endParaRPr lang="ko-KR" altLang="en-US"/>
        </a:p>
      </dgm:t>
    </dgm:pt>
    <dgm:pt modelId="{9EBB8B26-00AD-4704-9FC4-D28C8C62582D}" type="pres">
      <dgm:prSet presAssocID="{B35AE78E-E7A7-4735-8EB5-5074243FCC58}" presName="rect3" presStyleLbl="node1" presStyleIdx="2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pPr latinLnBrk="1"/>
          <a:endParaRPr lang="ko-KR" altLang="en-US"/>
        </a:p>
      </dgm:t>
    </dgm:pt>
    <dgm:pt modelId="{2ECAD35C-96E3-41C0-A190-180291D0B334}" type="pres">
      <dgm:prSet presAssocID="{B35AE78E-E7A7-4735-8EB5-5074243FCC58}" presName="rect4" presStyleLbl="node1" presStyleIdx="3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pPr latinLnBrk="1"/>
          <a:endParaRPr lang="ko-KR" altLang="en-US"/>
        </a:p>
      </dgm:t>
    </dgm:pt>
  </dgm:ptLst>
  <dgm:cxnLst>
    <dgm:cxn modelId="{CE45B6E4-EC51-4AB4-9016-83857FE4BAFC}" srcId="{B35AE78E-E7A7-4735-8EB5-5074243FCC58}" destId="{799F4418-BF88-474C-B0F7-4E2CE67AD26B}" srcOrd="1" destOrd="0" parTransId="{9F7D15E3-BA18-4493-9CA5-8DD43FB0ACC7}" sibTransId="{8EE87651-2A3F-41C5-9EC6-E9181787836F}"/>
    <dgm:cxn modelId="{3680A523-BDDE-449E-9336-B7412DC5AE6B}" srcId="{B35AE78E-E7A7-4735-8EB5-5074243FCC58}" destId="{3A091FA7-5045-419E-878B-0DD16352644A}" srcOrd="3" destOrd="0" parTransId="{AA992D64-58D6-4C46-BC2A-92D5D3D7CA4E}" sibTransId="{BB7D089C-C4FF-4878-8B00-22180BB3E101}"/>
    <dgm:cxn modelId="{F2EA22C2-7070-437E-A07E-F28E21398BFB}" type="presOf" srcId="{799F4418-BF88-474C-B0F7-4E2CE67AD26B}" destId="{01D72B2A-986E-4BB0-9CDA-BE1156C664CE}" srcOrd="0" destOrd="0" presId="urn:microsoft.com/office/officeart/2005/8/layout/matrix2"/>
    <dgm:cxn modelId="{D7B4F57F-2C17-4365-8217-66D785285733}" type="presOf" srcId="{3A091FA7-5045-419E-878B-0DD16352644A}" destId="{2ECAD35C-96E3-41C0-A190-180291D0B334}" srcOrd="0" destOrd="0" presId="urn:microsoft.com/office/officeart/2005/8/layout/matrix2"/>
    <dgm:cxn modelId="{34A7BB22-3821-4746-BBC6-8D04D6186751}" srcId="{B35AE78E-E7A7-4735-8EB5-5074243FCC58}" destId="{29D88F8C-D3F2-43AB-9C1F-663FAA23391E}" srcOrd="0" destOrd="0" parTransId="{72717359-438B-4FAD-8229-68C57AD9E408}" sibTransId="{B4C5E0E0-C606-4A36-A5C9-25FB0D8FE7AD}"/>
    <dgm:cxn modelId="{38717CB2-0A3D-41E5-B8ED-29E5ECB3496C}" srcId="{B35AE78E-E7A7-4735-8EB5-5074243FCC58}" destId="{6EABA57C-6E9E-4CC6-B619-B07426F30CC6}" srcOrd="2" destOrd="0" parTransId="{E0BDA879-784B-4877-9774-85972DBE0831}" sibTransId="{17DF5938-D21C-4F78-8989-0D8F4996ACAD}"/>
    <dgm:cxn modelId="{041065FC-8E3F-4515-935B-D527719C8FB9}" type="presOf" srcId="{6EABA57C-6E9E-4CC6-B619-B07426F30CC6}" destId="{9EBB8B26-00AD-4704-9FC4-D28C8C62582D}" srcOrd="0" destOrd="0" presId="urn:microsoft.com/office/officeart/2005/8/layout/matrix2"/>
    <dgm:cxn modelId="{6F388247-3520-40FB-888F-CE063B33EC61}" type="presOf" srcId="{B35AE78E-E7A7-4735-8EB5-5074243FCC58}" destId="{EE107A40-6A97-495A-91A5-ADAE455F998B}" srcOrd="0" destOrd="0" presId="urn:microsoft.com/office/officeart/2005/8/layout/matrix2"/>
    <dgm:cxn modelId="{52F6CF56-7041-4BF3-BB1F-B9EF19FBCC4F}" type="presOf" srcId="{29D88F8C-D3F2-43AB-9C1F-663FAA23391E}" destId="{B89368E3-2545-438F-B225-E2EB9429264F}" srcOrd="0" destOrd="0" presId="urn:microsoft.com/office/officeart/2005/8/layout/matrix2"/>
    <dgm:cxn modelId="{25A335DE-6C41-4CA3-BC46-DE87C227AB1C}" type="presParOf" srcId="{EE107A40-6A97-495A-91A5-ADAE455F998B}" destId="{9AD8E466-9EE8-460C-9AFD-59F567988F61}" srcOrd="0" destOrd="0" presId="urn:microsoft.com/office/officeart/2005/8/layout/matrix2"/>
    <dgm:cxn modelId="{B7532A6B-3E18-4818-BC95-30CF5BCDA9BF}" type="presParOf" srcId="{EE107A40-6A97-495A-91A5-ADAE455F998B}" destId="{B89368E3-2545-438F-B225-E2EB9429264F}" srcOrd="1" destOrd="0" presId="urn:microsoft.com/office/officeart/2005/8/layout/matrix2"/>
    <dgm:cxn modelId="{64758112-FBE2-4280-A021-8D05727E8943}" type="presParOf" srcId="{EE107A40-6A97-495A-91A5-ADAE455F998B}" destId="{01D72B2A-986E-4BB0-9CDA-BE1156C664CE}" srcOrd="2" destOrd="0" presId="urn:microsoft.com/office/officeart/2005/8/layout/matrix2"/>
    <dgm:cxn modelId="{11C9FBE5-B953-46B3-AF06-958AA0D91EE9}" type="presParOf" srcId="{EE107A40-6A97-495A-91A5-ADAE455F998B}" destId="{9EBB8B26-00AD-4704-9FC4-D28C8C62582D}" srcOrd="3" destOrd="0" presId="urn:microsoft.com/office/officeart/2005/8/layout/matrix2"/>
    <dgm:cxn modelId="{53D25155-C8CC-45CE-80AE-F3BBD53DEC3E}" type="presParOf" srcId="{EE107A40-6A97-495A-91A5-ADAE455F998B}" destId="{2ECAD35C-96E3-41C0-A190-180291D0B334}" srcOrd="4" destOrd="0" presId="urn:microsoft.com/office/officeart/2005/8/layout/matrix2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C7B4A32-381B-46C4-B88E-1FB01DA03160}">
      <dsp:nvSpPr>
        <dsp:cNvPr id="0" name=""/>
        <dsp:cNvSpPr/>
      </dsp:nvSpPr>
      <dsp:spPr>
        <a:xfrm>
          <a:off x="0" y="1242513"/>
          <a:ext cx="6800304" cy="7308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  <a:miter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F621E401-7AF4-42A8-8215-F978AECCB866}">
      <dsp:nvSpPr>
        <dsp:cNvPr id="0" name=""/>
        <dsp:cNvSpPr/>
      </dsp:nvSpPr>
      <dsp:spPr>
        <a:xfrm>
          <a:off x="340015" y="814473"/>
          <a:ext cx="4425903" cy="856080"/>
        </a:xfrm>
        <a:prstGeom prst="roundRect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9925" tIns="0" rIns="179925" bIns="0" numCol="1" spcCol="1270" anchor="ctr" anchorCtr="0">
          <a:noAutofit/>
        </a:bodyPr>
        <a:lstStyle/>
        <a:p>
          <a:pPr lvl="0" algn="l" defTabSz="1200150" latinLnBrk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ko-KR" altLang="en-US" sz="2700" kern="1200" dirty="0"/>
            <a:t>시장</a:t>
          </a:r>
          <a:r>
            <a:rPr lang="en-US" altLang="ko-KR" sz="2700" kern="1200" dirty="0"/>
            <a:t>/</a:t>
          </a:r>
          <a:r>
            <a:rPr lang="ko-KR" altLang="en-US" sz="2700" kern="1200" dirty="0"/>
            <a:t>사회 변화 요인 인지</a:t>
          </a:r>
        </a:p>
      </dsp:txBody>
      <dsp:txXfrm>
        <a:off x="381805" y="856263"/>
        <a:ext cx="4342323" cy="772500"/>
      </dsp:txXfrm>
    </dsp:sp>
    <dsp:sp modelId="{7050FBDB-11F8-431F-94EF-22CE2D8593A7}">
      <dsp:nvSpPr>
        <dsp:cNvPr id="0" name=""/>
        <dsp:cNvSpPr/>
      </dsp:nvSpPr>
      <dsp:spPr>
        <a:xfrm>
          <a:off x="0" y="2557953"/>
          <a:ext cx="6800304" cy="7308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5">
              <a:hueOff val="-4966938"/>
              <a:satOff val="19906"/>
              <a:lumOff val="4314"/>
              <a:alphaOff val="0"/>
            </a:schemeClr>
          </a:solidFill>
          <a:prstDash val="solid"/>
          <a:miter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534C3BF1-86C1-438C-86E4-9C269551C2FD}">
      <dsp:nvSpPr>
        <dsp:cNvPr id="0" name=""/>
        <dsp:cNvSpPr/>
      </dsp:nvSpPr>
      <dsp:spPr>
        <a:xfrm>
          <a:off x="311899" y="2116661"/>
          <a:ext cx="4760212" cy="856080"/>
        </a:xfrm>
        <a:prstGeom prst="roundRect">
          <a:avLst/>
        </a:prstGeom>
        <a:solidFill>
          <a:schemeClr val="accent5">
            <a:hueOff val="-4966938"/>
            <a:satOff val="19906"/>
            <a:lumOff val="4314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9925" tIns="0" rIns="179925" bIns="0" numCol="1" spcCol="1270" anchor="ctr" anchorCtr="0">
          <a:noAutofit/>
        </a:bodyPr>
        <a:lstStyle/>
        <a:p>
          <a:pPr lvl="0" algn="l" defTabSz="1200150" latinLnBrk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altLang="ko-KR" sz="2700" kern="1200" dirty="0"/>
            <a:t> 2023 </a:t>
          </a:r>
          <a:r>
            <a:rPr lang="ko-KR" altLang="en-US" sz="2700" kern="1200" dirty="0"/>
            <a:t>유통</a:t>
          </a:r>
          <a:r>
            <a:rPr lang="en-US" altLang="ko-KR" sz="2700" kern="1200" dirty="0"/>
            <a:t>/</a:t>
          </a:r>
          <a:r>
            <a:rPr lang="ko-KR" altLang="en-US" sz="2700" kern="1200" dirty="0"/>
            <a:t>소비 </a:t>
          </a:r>
        </a:p>
      </dsp:txBody>
      <dsp:txXfrm>
        <a:off x="353689" y="2158451"/>
        <a:ext cx="4676632" cy="772500"/>
      </dsp:txXfrm>
    </dsp:sp>
    <dsp:sp modelId="{C1BB5DD9-5C7B-4E49-8896-203ABF1EDE82}">
      <dsp:nvSpPr>
        <dsp:cNvPr id="0" name=""/>
        <dsp:cNvSpPr/>
      </dsp:nvSpPr>
      <dsp:spPr>
        <a:xfrm>
          <a:off x="0" y="3873393"/>
          <a:ext cx="6800304" cy="7308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5">
              <a:hueOff val="-9933876"/>
              <a:satOff val="39811"/>
              <a:lumOff val="8628"/>
              <a:alphaOff val="0"/>
            </a:schemeClr>
          </a:solidFill>
          <a:prstDash val="solid"/>
          <a:miter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C3D705B4-9471-448A-935F-0491FED06EDD}">
      <dsp:nvSpPr>
        <dsp:cNvPr id="0" name=""/>
        <dsp:cNvSpPr/>
      </dsp:nvSpPr>
      <dsp:spPr>
        <a:xfrm>
          <a:off x="340015" y="3445353"/>
          <a:ext cx="4760212" cy="856080"/>
        </a:xfrm>
        <a:prstGeom prst="roundRect">
          <a:avLst/>
        </a:prstGeom>
        <a:solidFill>
          <a:schemeClr val="accent5">
            <a:hueOff val="-9933876"/>
            <a:satOff val="39811"/>
            <a:lumOff val="8628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9925" tIns="0" rIns="179925" bIns="0" numCol="1" spcCol="1270" anchor="ctr" anchorCtr="0">
          <a:noAutofit/>
        </a:bodyPr>
        <a:lstStyle/>
        <a:p>
          <a:pPr lvl="0" algn="l" defTabSz="1200150" latinLnBrk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ko-KR" altLang="en-US" sz="2700" kern="1200" dirty="0"/>
            <a:t>유통산업 대책</a:t>
          </a:r>
          <a:r>
            <a:rPr lang="en-US" altLang="ko-KR" sz="2700" kern="1200" dirty="0"/>
            <a:t>/</a:t>
          </a:r>
          <a:r>
            <a:rPr lang="ko-KR" altLang="en-US" sz="2700" kern="1200" dirty="0"/>
            <a:t> 시사점</a:t>
          </a:r>
        </a:p>
      </dsp:txBody>
      <dsp:txXfrm>
        <a:off x="381805" y="3487143"/>
        <a:ext cx="4676632" cy="772500"/>
      </dsp:txXfrm>
    </dsp:sp>
  </dsp:spTree>
</dsp:drawing>
</file>

<file path=ppt/diagrams/drawing10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C440BF6-F9B9-47C3-9431-F5382121CD8C}">
      <dsp:nvSpPr>
        <dsp:cNvPr id="0" name=""/>
        <dsp:cNvSpPr/>
      </dsp:nvSpPr>
      <dsp:spPr>
        <a:xfrm>
          <a:off x="107381" y="271971"/>
          <a:ext cx="2753605" cy="799728"/>
        </a:xfrm>
        <a:prstGeom prst="rec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  <a:miter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3792" tIns="65024" rIns="113792" bIns="65024" numCol="1" spcCol="1270" anchor="ctr" anchorCtr="0">
          <a:noAutofit/>
        </a:bodyPr>
        <a:lstStyle/>
        <a:p>
          <a:pPr marL="0" marR="0" lvl="0" indent="0" algn="ctr" defTabSz="914400" eaLnBrk="1" fontAlgn="auto" latinLnBrk="1" hangingPunct="1">
            <a:lnSpc>
              <a:spcPct val="100000"/>
            </a:lnSpc>
            <a:spcBef>
              <a:spcPct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endParaRPr lang="en-US" altLang="ko-KR" sz="1600" kern="1200" dirty="0">
            <a:latin typeface="나눔고딕" panose="020D0604000000000000" pitchFamily="50" charset="-127"/>
            <a:ea typeface="나눔고딕" panose="020D0604000000000000" pitchFamily="50" charset="-127"/>
          </a:endParaRPr>
        </a:p>
        <a:p>
          <a:pPr marL="0" marR="0" lvl="0" indent="0" algn="ctr" defTabSz="914400" eaLnBrk="1" fontAlgn="auto" latinLnBrk="1" hangingPunct="1">
            <a:lnSpc>
              <a:spcPct val="100000"/>
            </a:lnSpc>
            <a:spcBef>
              <a:spcPct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ko-KR" altLang="en-US" sz="1600" kern="1200" dirty="0" err="1">
              <a:latin typeface="나눔고딕" panose="020D0604000000000000" pitchFamily="50" charset="-127"/>
              <a:ea typeface="나눔고딕" panose="020D0604000000000000" pitchFamily="50" charset="-127"/>
            </a:rPr>
            <a:t>멕코믹</a:t>
          </a:r>
          <a:r>
            <a:rPr lang="en-US" altLang="ko-KR" sz="1600" kern="1200" dirty="0">
              <a:latin typeface="나눔고딕" panose="020D0604000000000000" pitchFamily="50" charset="-127"/>
              <a:ea typeface="나눔고딕" panose="020D0604000000000000" pitchFamily="50" charset="-127"/>
            </a:rPr>
            <a:t>( </a:t>
          </a:r>
          <a:r>
            <a:rPr lang="ko-KR" altLang="en-US" sz="1600" kern="1200" dirty="0">
              <a:latin typeface="나눔고딕" panose="020D0604000000000000" pitchFamily="50" charset="-127"/>
              <a:ea typeface="나눔고딕" panose="020D0604000000000000" pitchFamily="50" charset="-127"/>
            </a:rPr>
            <a:t>미</a:t>
          </a:r>
          <a:r>
            <a:rPr lang="en-US" altLang="ko-KR" sz="1600" kern="1200" dirty="0">
              <a:latin typeface="나눔고딕" panose="020D0604000000000000" pitchFamily="50" charset="-127"/>
              <a:ea typeface="나눔고딕" panose="020D0604000000000000" pitchFamily="50" charset="-127"/>
            </a:rPr>
            <a:t>)</a:t>
          </a:r>
        </a:p>
        <a:p>
          <a:pPr marL="0" marR="0" lvl="0" indent="0" algn="ctr" defTabSz="914400" eaLnBrk="1" fontAlgn="auto" latinLnBrk="1" hangingPunct="1">
            <a:lnSpc>
              <a:spcPct val="100000"/>
            </a:lnSpc>
            <a:spcBef>
              <a:spcPct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ko-KR" altLang="en-US" sz="1600" kern="1200" dirty="0">
              <a:latin typeface="나눔고딕" panose="020D0604000000000000" pitchFamily="50" charset="-127"/>
              <a:ea typeface="나눔고딕" panose="020D0604000000000000" pitchFamily="50" charset="-127"/>
            </a:rPr>
            <a:t>후추 향신료 제조유통 </a:t>
          </a:r>
          <a:endParaRPr lang="en-US" altLang="ko-KR" sz="1600" kern="1200" dirty="0">
            <a:latin typeface="나눔고딕" panose="020D0604000000000000" pitchFamily="50" charset="-127"/>
            <a:ea typeface="나눔고딕" panose="020D0604000000000000" pitchFamily="50" charset="-127"/>
          </a:endParaRPr>
        </a:p>
        <a:p>
          <a:pPr lvl="0" algn="ctr" defTabSz="1155700" latinLnBrk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ko-KR" altLang="en-US" sz="1600" kern="1200" dirty="0"/>
        </a:p>
      </dsp:txBody>
      <dsp:txXfrm>
        <a:off x="107381" y="271971"/>
        <a:ext cx="2753605" cy="799728"/>
      </dsp:txXfrm>
    </dsp:sp>
    <dsp:sp modelId="{C16775A9-2307-4391-8B22-DF4B88932BB9}">
      <dsp:nvSpPr>
        <dsp:cNvPr id="0" name=""/>
        <dsp:cNvSpPr/>
      </dsp:nvSpPr>
      <dsp:spPr>
        <a:xfrm>
          <a:off x="0" y="1266790"/>
          <a:ext cx="2753605" cy="717"/>
        </a:xfrm>
        <a:prstGeom prst="rect">
          <a:avLst/>
        </a:prstGeom>
        <a:solidFill>
          <a:schemeClr val="dk2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2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5344" tIns="85344" rIns="113792" bIns="128016" numCol="1" spcCol="1270" anchor="t" anchorCtr="0">
          <a:noAutofit/>
        </a:bodyPr>
        <a:lstStyle/>
        <a:p>
          <a:pPr marL="171450" lvl="1" indent="-171450" algn="l" defTabSz="711200" latinLnBrk="1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ko-KR" altLang="en-US" sz="1600" kern="1200" dirty="0">
              <a:latin typeface="나눔고딕" panose="020D0604000000000000" pitchFamily="50" charset="-127"/>
              <a:ea typeface="나눔고딕" panose="020D0604000000000000" pitchFamily="50" charset="-127"/>
            </a:rPr>
            <a:t> 향신료 </a:t>
          </a:r>
          <a:r>
            <a:rPr lang="en-US" altLang="ko-KR" sz="1600" kern="1200" dirty="0">
              <a:latin typeface="나눔고딕" panose="020D0604000000000000" pitchFamily="50" charset="-127"/>
              <a:ea typeface="나눔고딕" panose="020D0604000000000000" pitchFamily="50" charset="-127"/>
            </a:rPr>
            <a:t>130</a:t>
          </a:r>
          <a:r>
            <a:rPr lang="ko-KR" altLang="en-US" sz="1600" kern="1200" dirty="0">
              <a:latin typeface="나눔고딕" panose="020D0604000000000000" pitchFamily="50" charset="-127"/>
              <a:ea typeface="나눔고딕" panose="020D0604000000000000" pitchFamily="50" charset="-127"/>
            </a:rPr>
            <a:t>년간 축적  데이터를 분석</a:t>
          </a:r>
          <a:endParaRPr lang="ko-KR" altLang="en-US" sz="1600" kern="1200" dirty="0"/>
        </a:p>
        <a:p>
          <a:pPr marL="171450" lvl="1" indent="-171450" algn="l" defTabSz="711200" latinLnBrk="1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altLang="ko-KR" sz="1600" kern="1200" dirty="0"/>
            <a:t>AI </a:t>
          </a:r>
          <a:r>
            <a:rPr lang="ko-KR" altLang="en-US" sz="1600" kern="1200" dirty="0"/>
            <a:t>개인별</a:t>
          </a:r>
          <a:r>
            <a:rPr lang="en-US" altLang="ko-KR" sz="1600" kern="1200" dirty="0"/>
            <a:t> </a:t>
          </a:r>
          <a:r>
            <a:rPr lang="ko-KR" altLang="en-US" sz="1600" kern="1200" dirty="0"/>
            <a:t>식습관 선호도 결합 식품제조</a:t>
          </a:r>
        </a:p>
        <a:p>
          <a:pPr marL="171450" lvl="1" indent="-171450" algn="l" defTabSz="711200" latinLnBrk="1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ko-KR" altLang="en-US" sz="1600" kern="1200" dirty="0"/>
            <a:t>관련 </a:t>
          </a:r>
          <a:r>
            <a:rPr lang="ko-KR" altLang="en-US" sz="1600" kern="1200" dirty="0" err="1"/>
            <a:t>레스피</a:t>
          </a:r>
          <a:r>
            <a:rPr lang="ko-KR" altLang="en-US" sz="1600" kern="1200" dirty="0"/>
            <a:t> 추천하는 </a:t>
          </a:r>
          <a:r>
            <a:rPr lang="ko-KR" altLang="en-US" sz="1600" kern="1200" dirty="0" err="1"/>
            <a:t>병행박식의</a:t>
          </a:r>
          <a:r>
            <a:rPr lang="ko-KR" altLang="en-US" sz="1600" kern="1200" dirty="0"/>
            <a:t>  온라인 유통 </a:t>
          </a:r>
          <a:r>
            <a:rPr lang="ko-KR" altLang="en-US" sz="1600" kern="1200" dirty="0" err="1"/>
            <a:t>플렛폼</a:t>
          </a:r>
          <a:r>
            <a:rPr lang="ko-KR" altLang="en-US" sz="1600" kern="1200" dirty="0"/>
            <a:t> 개발</a:t>
          </a:r>
        </a:p>
      </dsp:txBody>
      <dsp:txXfrm>
        <a:off x="0" y="1266790"/>
        <a:ext cx="2753605" cy="717"/>
      </dsp:txXfrm>
    </dsp:sp>
    <dsp:sp modelId="{75894BC3-1A51-4F3D-9C61-7460B39D70D6}">
      <dsp:nvSpPr>
        <dsp:cNvPr id="0" name=""/>
        <dsp:cNvSpPr/>
      </dsp:nvSpPr>
      <dsp:spPr>
        <a:xfrm>
          <a:off x="2952910" y="248295"/>
          <a:ext cx="2760984" cy="872636"/>
        </a:xfrm>
        <a:prstGeom prst="rect">
          <a:avLst/>
        </a:prstGeom>
        <a:solidFill>
          <a:srgbClr val="0070C0"/>
        </a:solidFill>
        <a:ln w="1270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  <a:miter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3792" tIns="65024" rIns="113792" bIns="65024" numCol="1" spcCol="1270" anchor="ctr" anchorCtr="0">
          <a:noAutofit/>
        </a:bodyPr>
        <a:lstStyle/>
        <a:p>
          <a:pPr lvl="0" algn="ctr" defTabSz="711200" latinLnBrk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ko-KR" altLang="en-US" sz="1600" b="1" kern="1200" dirty="0">
              <a:latin typeface="나눔고딕" panose="020D0604000000000000" pitchFamily="50" charset="-127"/>
              <a:ea typeface="나눔고딕" panose="020D0604000000000000" pitchFamily="50" charset="-127"/>
            </a:rPr>
            <a:t>도미노  파자 </a:t>
          </a:r>
          <a:r>
            <a:rPr lang="en-US" altLang="ko-KR" sz="1600" b="1" kern="1200" dirty="0">
              <a:latin typeface="나눔고딕" panose="020D0604000000000000" pitchFamily="50" charset="-127"/>
              <a:ea typeface="나눔고딕" panose="020D0604000000000000" pitchFamily="50" charset="-127"/>
            </a:rPr>
            <a:t>( </a:t>
          </a:r>
          <a:r>
            <a:rPr lang="ko-KR" altLang="en-US" sz="1600" b="1" kern="1200" dirty="0">
              <a:latin typeface="나눔고딕" panose="020D0604000000000000" pitchFamily="50" charset="-127"/>
              <a:ea typeface="나눔고딕" panose="020D0604000000000000" pitchFamily="50" charset="-127"/>
            </a:rPr>
            <a:t>일본</a:t>
          </a:r>
          <a:r>
            <a:rPr lang="en-US" altLang="ko-KR" sz="1600" b="1" kern="1200" dirty="0">
              <a:latin typeface="나눔고딕" panose="020D0604000000000000" pitchFamily="50" charset="-127"/>
              <a:ea typeface="나눔고딕" panose="020D0604000000000000" pitchFamily="50" charset="-127"/>
            </a:rPr>
            <a:t>)</a:t>
          </a:r>
          <a:endParaRPr lang="ko-KR" altLang="en-US" sz="1600" b="1" kern="1200" dirty="0"/>
        </a:p>
      </dsp:txBody>
      <dsp:txXfrm>
        <a:off x="2952910" y="248295"/>
        <a:ext cx="2760984" cy="872636"/>
      </dsp:txXfrm>
    </dsp:sp>
    <dsp:sp modelId="{DCE06669-EF4D-4CDC-B73B-1F159BDDD852}">
      <dsp:nvSpPr>
        <dsp:cNvPr id="0" name=""/>
        <dsp:cNvSpPr/>
      </dsp:nvSpPr>
      <dsp:spPr>
        <a:xfrm>
          <a:off x="2845988" y="1255605"/>
          <a:ext cx="2753605" cy="4129"/>
        </a:xfrm>
        <a:prstGeom prst="rect">
          <a:avLst/>
        </a:prstGeom>
        <a:solidFill>
          <a:schemeClr val="accent4">
            <a:lumMod val="40000"/>
            <a:lumOff val="60000"/>
            <a:alpha val="90000"/>
          </a:schemeClr>
        </a:solidFill>
        <a:ln w="12700" cap="flat" cmpd="sng" algn="ctr">
          <a:solidFill>
            <a:schemeClr val="dk2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5344" tIns="85344" rIns="113792" bIns="128016" numCol="1" spcCol="1270" anchor="t" anchorCtr="0">
          <a:noAutofit/>
        </a:bodyPr>
        <a:lstStyle/>
        <a:p>
          <a:pPr marL="171450" lvl="1" indent="-171450" algn="l" defTabSz="711200" latinLnBrk="1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altLang="ko-KR" sz="1600" b="1" kern="1200" dirty="0">
              <a:solidFill>
                <a:schemeClr val="tx1"/>
              </a:solidFill>
              <a:latin typeface="나눔고딕" panose="020D0604000000000000" pitchFamily="50" charset="-127"/>
              <a:ea typeface="나눔고딕" panose="020D0604000000000000" pitchFamily="50" charset="-127"/>
            </a:rPr>
            <a:t>60</a:t>
          </a:r>
          <a:r>
            <a:rPr lang="ko-KR" altLang="en-US" sz="1600" b="1" kern="1200" dirty="0">
              <a:solidFill>
                <a:schemeClr val="tx1"/>
              </a:solidFill>
              <a:latin typeface="나눔고딕" panose="020D0604000000000000" pitchFamily="50" charset="-127"/>
              <a:ea typeface="나눔고딕" panose="020D0604000000000000" pitchFamily="50" charset="-127"/>
            </a:rPr>
            <a:t>년 창업이래 주문배달</a:t>
          </a:r>
          <a:endParaRPr lang="ko-KR" altLang="en-US" sz="1600" b="1" kern="1200" dirty="0">
            <a:solidFill>
              <a:schemeClr val="tx1"/>
            </a:solidFill>
          </a:endParaRPr>
        </a:p>
        <a:p>
          <a:pPr marL="171450" lvl="1" indent="-171450" algn="l" defTabSz="711200" latinLnBrk="1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endParaRPr lang="ko-KR" altLang="en-US" sz="1600" b="1" kern="1200" dirty="0">
            <a:solidFill>
              <a:schemeClr val="tx1"/>
            </a:solidFill>
          </a:endParaRPr>
        </a:p>
        <a:p>
          <a:pPr marL="171450" lvl="1" indent="-171450" algn="l" defTabSz="711200" latinLnBrk="1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altLang="ko-KR" sz="1600" b="1" kern="1200" dirty="0">
              <a:solidFill>
                <a:schemeClr val="tx1"/>
              </a:solidFill>
              <a:latin typeface="나눔고딕" panose="020D0604000000000000" pitchFamily="50" charset="-127"/>
              <a:ea typeface="나눔고딕" panose="020D0604000000000000" pitchFamily="50" charset="-127"/>
            </a:rPr>
            <a:t>07</a:t>
          </a:r>
          <a:r>
            <a:rPr lang="ko-KR" altLang="en-US" sz="1600" b="1" kern="1200" dirty="0">
              <a:solidFill>
                <a:schemeClr val="tx1"/>
              </a:solidFill>
              <a:latin typeface="나눔고딕" panose="020D0604000000000000" pitchFamily="50" charset="-127"/>
              <a:ea typeface="나눔고딕" panose="020D0604000000000000" pitchFamily="50" charset="-127"/>
            </a:rPr>
            <a:t>년 </a:t>
          </a:r>
          <a:r>
            <a:rPr lang="ko-KR" altLang="en-US" sz="1600" b="1" kern="1200" dirty="0" smtClean="0">
              <a:solidFill>
                <a:schemeClr val="tx1"/>
              </a:solidFill>
              <a:latin typeface="나눔고딕" panose="020D0604000000000000" pitchFamily="50" charset="-127"/>
              <a:ea typeface="나눔고딕" panose="020D0604000000000000" pitchFamily="50" charset="-127"/>
            </a:rPr>
            <a:t>온라인 </a:t>
          </a:r>
          <a:r>
            <a:rPr lang="ko-KR" altLang="en-US" sz="1600" b="1" kern="1200" dirty="0" err="1" smtClean="0">
              <a:solidFill>
                <a:schemeClr val="tx1"/>
              </a:solidFill>
              <a:latin typeface="나눔고딕" panose="020D0604000000000000" pitchFamily="50" charset="-127"/>
              <a:ea typeface="나눔고딕" panose="020D0604000000000000" pitchFamily="50" charset="-127"/>
            </a:rPr>
            <a:t>주문배달</a:t>
          </a:r>
          <a:r>
            <a:rPr lang="ko-KR" altLang="en-US" sz="1600" b="1" kern="1200" dirty="0" smtClean="0">
              <a:solidFill>
                <a:schemeClr val="tx1"/>
              </a:solidFill>
              <a:latin typeface="나눔고딕" panose="020D0604000000000000" pitchFamily="50" charset="-127"/>
              <a:ea typeface="나눔고딕" panose="020D0604000000000000" pitchFamily="50" charset="-127"/>
            </a:rPr>
            <a:t> 시작</a:t>
          </a:r>
          <a:r>
            <a:rPr lang="en-US" altLang="ko-KR" sz="1600" b="1" kern="1200" dirty="0" smtClean="0">
              <a:solidFill>
                <a:schemeClr val="tx1"/>
              </a:solidFill>
              <a:latin typeface="나눔고딕" panose="020D0604000000000000" pitchFamily="50" charset="-127"/>
              <a:ea typeface="나눔고딕" panose="020D0604000000000000" pitchFamily="50" charset="-127"/>
            </a:rPr>
            <a:t>, </a:t>
          </a:r>
          <a:r>
            <a:rPr lang="ko-KR" altLang="en-US" sz="1600" b="1" kern="1200" dirty="0" err="1" smtClean="0">
              <a:solidFill>
                <a:schemeClr val="tx1"/>
              </a:solidFill>
              <a:latin typeface="나눔고딕" panose="020D0604000000000000" pitchFamily="50" charset="-127"/>
              <a:ea typeface="나눔고딕" panose="020D0604000000000000" pitchFamily="50" charset="-127"/>
            </a:rPr>
            <a:t>매장별</a:t>
          </a:r>
          <a:r>
            <a:rPr lang="ko-KR" altLang="en-US" sz="1600" b="1" kern="1200" dirty="0" smtClean="0">
              <a:solidFill>
                <a:schemeClr val="tx1"/>
              </a:solidFill>
              <a:latin typeface="나눔고딕" panose="020D0604000000000000" pitchFamily="50" charset="-127"/>
              <a:ea typeface="나눔고딕" panose="020D0604000000000000" pitchFamily="50" charset="-127"/>
            </a:rPr>
            <a:t> 작업자와 주문수 </a:t>
          </a:r>
          <a:r>
            <a:rPr lang="ko-KR" altLang="en-US" sz="1600" b="1" kern="1200" dirty="0" err="1" smtClean="0">
              <a:solidFill>
                <a:schemeClr val="tx1"/>
              </a:solidFill>
              <a:latin typeface="나눔고딕" panose="020D0604000000000000" pitchFamily="50" charset="-127"/>
              <a:ea typeface="나눔고딕" panose="020D0604000000000000" pitchFamily="50" charset="-127"/>
            </a:rPr>
            <a:t>교통상황등</a:t>
          </a:r>
          <a:r>
            <a:rPr lang="ko-KR" altLang="en-US" sz="1600" b="1" kern="1200" dirty="0" smtClean="0">
              <a:solidFill>
                <a:schemeClr val="tx1"/>
              </a:solidFill>
              <a:latin typeface="나눔고딕" panose="020D0604000000000000" pitchFamily="50" charset="-127"/>
              <a:ea typeface="나눔고딕" panose="020D0604000000000000" pitchFamily="50" charset="-127"/>
            </a:rPr>
            <a:t> 활용 배달예측시간 </a:t>
          </a:r>
          <a:r>
            <a:rPr lang="en-US" altLang="ko-KR" sz="1600" b="1" kern="1200" dirty="0" smtClean="0">
              <a:solidFill>
                <a:schemeClr val="tx1"/>
              </a:solidFill>
              <a:latin typeface="나눔고딕" panose="020D0604000000000000" pitchFamily="50" charset="-127"/>
              <a:ea typeface="나눔고딕" panose="020D0604000000000000" pitchFamily="50" charset="-127"/>
            </a:rPr>
            <a:t>AI </a:t>
          </a:r>
          <a:r>
            <a:rPr lang="ko-KR" altLang="en-US" sz="1600" b="1" kern="1200" dirty="0" smtClean="0">
              <a:solidFill>
                <a:schemeClr val="tx1"/>
              </a:solidFill>
              <a:latin typeface="나눔고딕" panose="020D0604000000000000" pitchFamily="50" charset="-127"/>
              <a:ea typeface="나눔고딕" panose="020D0604000000000000" pitchFamily="50" charset="-127"/>
            </a:rPr>
            <a:t>모델</a:t>
          </a:r>
          <a:r>
            <a:rPr lang="en-US" altLang="ko-KR" sz="1600" b="1" kern="1200" dirty="0" smtClean="0">
              <a:solidFill>
                <a:schemeClr val="tx1"/>
              </a:solidFill>
              <a:latin typeface="나눔고딕" panose="020D0604000000000000" pitchFamily="50" charset="-127"/>
              <a:ea typeface="나눔고딕" panose="020D0604000000000000" pitchFamily="50" charset="-127"/>
            </a:rPr>
            <a:t> </a:t>
          </a:r>
          <a:r>
            <a:rPr lang="ko-KR" altLang="en-US" sz="1600" b="1" kern="1200" dirty="0" smtClean="0">
              <a:solidFill>
                <a:schemeClr val="tx1"/>
              </a:solidFill>
              <a:latin typeface="나눔고딕" panose="020D0604000000000000" pitchFamily="50" charset="-127"/>
              <a:ea typeface="나눔고딕" panose="020D0604000000000000" pitchFamily="50" charset="-127"/>
            </a:rPr>
            <a:t>구출</a:t>
          </a:r>
          <a:endParaRPr lang="ko-KR" altLang="en-US" sz="1600" b="1" kern="1200" dirty="0">
            <a:solidFill>
              <a:schemeClr val="tx1"/>
            </a:solidFill>
          </a:endParaRPr>
        </a:p>
        <a:p>
          <a:pPr marL="171450" lvl="1" indent="-171450" algn="l" defTabSz="711200" latinLnBrk="1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ko-KR" altLang="en-US" sz="1600" b="1" kern="1200" dirty="0">
              <a:solidFill>
                <a:schemeClr val="tx1"/>
              </a:solidFill>
              <a:latin typeface="나눔고딕" panose="020D0604000000000000" pitchFamily="50" charset="-127"/>
              <a:ea typeface="나눔고딕" panose="020D0604000000000000" pitchFamily="50" charset="-127"/>
            </a:rPr>
            <a:t>예측 정확도  기존</a:t>
          </a:r>
          <a:r>
            <a:rPr lang="en-US" altLang="ko-KR" sz="1600" b="1" kern="1200" dirty="0">
              <a:solidFill>
                <a:schemeClr val="tx1"/>
              </a:solidFill>
              <a:latin typeface="나눔고딕" panose="020D0604000000000000" pitchFamily="50" charset="-127"/>
              <a:ea typeface="나눔고딕" panose="020D0604000000000000" pitchFamily="50" charset="-127"/>
            </a:rPr>
            <a:t> 75% </a:t>
          </a:r>
          <a:r>
            <a:rPr lang="ko-KR" altLang="en-US" sz="1600" b="1" kern="1200" dirty="0">
              <a:solidFill>
                <a:schemeClr val="tx1"/>
              </a:solidFill>
              <a:latin typeface="나눔고딕" panose="020D0604000000000000" pitchFamily="50" charset="-127"/>
              <a:ea typeface="나눔고딕" panose="020D0604000000000000" pitchFamily="50" charset="-127"/>
            </a:rPr>
            <a:t>에서 </a:t>
          </a:r>
          <a:r>
            <a:rPr lang="en-US" altLang="ko-KR" sz="1600" b="1" kern="1200" dirty="0">
              <a:solidFill>
                <a:schemeClr val="tx1"/>
              </a:solidFill>
              <a:latin typeface="나눔고딕" panose="020D0604000000000000" pitchFamily="50" charset="-127"/>
              <a:ea typeface="나눔고딕" panose="020D0604000000000000" pitchFamily="50" charset="-127"/>
            </a:rPr>
            <a:t>95%</a:t>
          </a:r>
          <a:endParaRPr lang="ko-KR" altLang="en-US" sz="1600" b="1" kern="1200" dirty="0">
            <a:solidFill>
              <a:schemeClr val="tx1"/>
            </a:solidFill>
          </a:endParaRPr>
        </a:p>
      </dsp:txBody>
      <dsp:txXfrm>
        <a:off x="2845988" y="1255605"/>
        <a:ext cx="2753605" cy="4129"/>
      </dsp:txXfrm>
    </dsp:sp>
    <dsp:sp modelId="{8E43688A-DE11-4122-9CD9-35FB391BAB70}">
      <dsp:nvSpPr>
        <dsp:cNvPr id="0" name=""/>
        <dsp:cNvSpPr/>
      </dsp:nvSpPr>
      <dsp:spPr>
        <a:xfrm>
          <a:off x="5915261" y="0"/>
          <a:ext cx="2750916" cy="872636"/>
        </a:xfrm>
        <a:prstGeom prst="rect">
          <a:avLst/>
        </a:prstGeom>
        <a:solidFill>
          <a:srgbClr val="00B050"/>
        </a:solidFill>
        <a:ln w="1270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  <a:miter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3792" tIns="65024" rIns="113792" bIns="65024" numCol="1" spcCol="1270" anchor="ctr" anchorCtr="0">
          <a:noAutofit/>
        </a:bodyPr>
        <a:lstStyle/>
        <a:p>
          <a:pPr lvl="0" algn="ctr" defTabSz="711200" latinLnBrk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altLang="ko-KR" sz="1600" kern="1200" dirty="0">
            <a:latin typeface="나눔고딕" panose="020D0604000000000000" pitchFamily="50" charset="-127"/>
            <a:ea typeface="나눔고딕" panose="020D0604000000000000" pitchFamily="50" charset="-127"/>
          </a:endParaRPr>
        </a:p>
        <a:p>
          <a:pPr lvl="0" algn="ctr" defTabSz="711200" latinLnBrk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altLang="ko-KR" sz="1600" kern="1200" dirty="0">
            <a:latin typeface="나눔고딕" panose="020D0604000000000000" pitchFamily="50" charset="-127"/>
            <a:ea typeface="나눔고딕" panose="020D0604000000000000" pitchFamily="50" charset="-127"/>
          </a:endParaRPr>
        </a:p>
        <a:p>
          <a:pPr lvl="0" algn="ctr" defTabSz="711200" latinLnBrk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altLang="ko-KR" sz="1600" kern="1200" dirty="0">
            <a:latin typeface="나눔고딕" panose="020D0604000000000000" pitchFamily="50" charset="-127"/>
            <a:ea typeface="나눔고딕" panose="020D0604000000000000" pitchFamily="50" charset="-127"/>
          </a:endParaRPr>
        </a:p>
        <a:p>
          <a:pPr lvl="0" algn="ctr" defTabSz="711200" latinLnBrk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altLang="ko-KR" sz="1600" kern="1200" dirty="0">
            <a:latin typeface="나눔고딕" panose="020D0604000000000000" pitchFamily="50" charset="-127"/>
            <a:ea typeface="나눔고딕" panose="020D0604000000000000" pitchFamily="50" charset="-127"/>
          </a:endParaRPr>
        </a:p>
        <a:p>
          <a:pPr lvl="0" algn="ctr" defTabSz="711200" latinLnBrk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altLang="ko-KR" sz="1600" kern="1200" dirty="0">
            <a:latin typeface="나눔고딕" panose="020D0604000000000000" pitchFamily="50" charset="-127"/>
            <a:ea typeface="나눔고딕" panose="020D0604000000000000" pitchFamily="50" charset="-127"/>
          </a:endParaRPr>
        </a:p>
        <a:p>
          <a:pPr lvl="0" algn="ctr" defTabSz="711200" latinLnBrk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altLang="ko-KR" sz="1600" kern="1200" dirty="0">
            <a:latin typeface="나눔고딕" panose="020D0604000000000000" pitchFamily="50" charset="-127"/>
            <a:ea typeface="나눔고딕" panose="020D0604000000000000" pitchFamily="50" charset="-127"/>
          </a:endParaRPr>
        </a:p>
        <a:p>
          <a:pPr lvl="0" algn="ctr" defTabSz="711200" latinLnBrk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altLang="ko-KR" sz="1600" kern="1200" dirty="0">
            <a:latin typeface="나눔고딕" panose="020D0604000000000000" pitchFamily="50" charset="-127"/>
            <a:ea typeface="나눔고딕" panose="020D0604000000000000" pitchFamily="50" charset="-127"/>
          </a:endParaRPr>
        </a:p>
        <a:p>
          <a:pPr lvl="0" algn="ctr" defTabSz="711200" latinLnBrk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altLang="ko-KR" sz="1600" kern="1200" dirty="0">
            <a:latin typeface="나눔고딕" panose="020D0604000000000000" pitchFamily="50" charset="-127"/>
            <a:ea typeface="나눔고딕" panose="020D0604000000000000" pitchFamily="50" charset="-127"/>
          </a:endParaRPr>
        </a:p>
        <a:p>
          <a:pPr lvl="0" algn="ctr" defTabSz="711200" latinLnBrk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altLang="ko-KR" sz="1600" kern="1200" dirty="0">
            <a:latin typeface="나눔고딕" panose="020D0604000000000000" pitchFamily="50" charset="-127"/>
            <a:ea typeface="나눔고딕" panose="020D0604000000000000" pitchFamily="50" charset="-127"/>
          </a:endParaRPr>
        </a:p>
        <a:p>
          <a:pPr lvl="0" algn="ctr" defTabSz="711200" latinLnBrk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altLang="ko-KR" sz="1600" kern="1200" dirty="0">
            <a:latin typeface="나눔고딕" panose="020D0604000000000000" pitchFamily="50" charset="-127"/>
            <a:ea typeface="나눔고딕" panose="020D0604000000000000" pitchFamily="50" charset="-127"/>
          </a:endParaRPr>
        </a:p>
        <a:p>
          <a:pPr lvl="0" algn="ctr" defTabSz="711200" latinLnBrk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altLang="ko-KR" sz="1600" kern="1200" dirty="0">
            <a:latin typeface="나눔고딕" panose="020D0604000000000000" pitchFamily="50" charset="-127"/>
            <a:ea typeface="나눔고딕" panose="020D0604000000000000" pitchFamily="50" charset="-127"/>
          </a:endParaRPr>
        </a:p>
        <a:p>
          <a:pPr lvl="0" algn="ctr" defTabSz="711200" latinLnBrk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altLang="ko-KR" sz="1600" kern="1200" dirty="0">
            <a:latin typeface="나눔고딕" panose="020D0604000000000000" pitchFamily="50" charset="-127"/>
            <a:ea typeface="나눔고딕" panose="020D0604000000000000" pitchFamily="50" charset="-127"/>
          </a:endParaRPr>
        </a:p>
        <a:p>
          <a:pPr lvl="0" algn="ctr" defTabSz="711200" latinLnBrk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altLang="ko-KR" sz="1600" kern="1200" dirty="0">
            <a:latin typeface="나눔고딕" panose="020D0604000000000000" pitchFamily="50" charset="-127"/>
            <a:ea typeface="나눔고딕" panose="020D0604000000000000" pitchFamily="50" charset="-127"/>
          </a:endParaRPr>
        </a:p>
        <a:p>
          <a:pPr lvl="0" algn="ctr" defTabSz="711200" latinLnBrk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altLang="ko-KR" sz="1600" kern="1200" dirty="0">
            <a:latin typeface="나눔고딕" panose="020D0604000000000000" pitchFamily="50" charset="-127"/>
            <a:ea typeface="나눔고딕" panose="020D0604000000000000" pitchFamily="50" charset="-127"/>
          </a:endParaRPr>
        </a:p>
        <a:p>
          <a:pPr lvl="0" algn="ctr" defTabSz="711200" latinLnBrk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altLang="ko-KR" sz="1600" kern="1200" dirty="0">
            <a:latin typeface="나눔고딕" panose="020D0604000000000000" pitchFamily="50" charset="-127"/>
            <a:ea typeface="나눔고딕" panose="020D0604000000000000" pitchFamily="50" charset="-127"/>
          </a:endParaRPr>
        </a:p>
        <a:p>
          <a:pPr lvl="0" algn="ctr" defTabSz="711200" latinLnBrk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altLang="ko-KR" sz="1600" kern="1200" dirty="0">
            <a:latin typeface="나눔고딕" panose="020D0604000000000000" pitchFamily="50" charset="-127"/>
            <a:ea typeface="나눔고딕" panose="020D0604000000000000" pitchFamily="50" charset="-127"/>
          </a:endParaRPr>
        </a:p>
        <a:p>
          <a:pPr lvl="0" algn="ctr" defTabSz="711200" latinLnBrk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altLang="ko-KR" sz="1600" kern="1200" dirty="0">
            <a:latin typeface="나눔고딕" panose="020D0604000000000000" pitchFamily="50" charset="-127"/>
            <a:ea typeface="나눔고딕" panose="020D0604000000000000" pitchFamily="50" charset="-127"/>
          </a:endParaRPr>
        </a:p>
        <a:p>
          <a:pPr lvl="0" algn="ctr" defTabSz="711200" latinLnBrk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altLang="ko-KR" sz="1600" kern="1200" dirty="0">
            <a:latin typeface="나눔고딕" panose="020D0604000000000000" pitchFamily="50" charset="-127"/>
            <a:ea typeface="나눔고딕" panose="020D0604000000000000" pitchFamily="50" charset="-127"/>
          </a:endParaRPr>
        </a:p>
        <a:p>
          <a:pPr lvl="0" algn="ctr" defTabSz="711200" latinLnBrk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altLang="ko-KR" sz="1600" kern="1200" dirty="0">
            <a:latin typeface="나눔고딕" panose="020D0604000000000000" pitchFamily="50" charset="-127"/>
            <a:ea typeface="나눔고딕" panose="020D0604000000000000" pitchFamily="50" charset="-127"/>
          </a:endParaRPr>
        </a:p>
        <a:p>
          <a:pPr lvl="0" algn="ctr" defTabSz="711200" latinLnBrk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altLang="ko-KR" sz="1600" kern="1200" dirty="0">
            <a:latin typeface="나눔고딕" panose="020D0604000000000000" pitchFamily="50" charset="-127"/>
            <a:ea typeface="나눔고딕" panose="020D0604000000000000" pitchFamily="50" charset="-127"/>
          </a:endParaRPr>
        </a:p>
        <a:p>
          <a:pPr lvl="0" algn="ctr" defTabSz="711200" latinLnBrk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altLang="ko-KR" sz="1600" kern="1200" dirty="0">
            <a:latin typeface="나눔고딕" panose="020D0604000000000000" pitchFamily="50" charset="-127"/>
            <a:ea typeface="나눔고딕" panose="020D0604000000000000" pitchFamily="50" charset="-127"/>
          </a:endParaRPr>
        </a:p>
        <a:p>
          <a:pPr lvl="0" algn="ctr" defTabSz="711200" latinLnBrk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altLang="ko-KR" sz="1600" kern="1200" dirty="0">
            <a:latin typeface="나눔고딕" panose="020D0604000000000000" pitchFamily="50" charset="-127"/>
            <a:ea typeface="나눔고딕" panose="020D0604000000000000" pitchFamily="50" charset="-127"/>
          </a:endParaRPr>
        </a:p>
        <a:p>
          <a:pPr lvl="0" algn="ctr" defTabSz="711200" latinLnBrk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altLang="ko-KR" sz="1600" kern="1200" dirty="0">
            <a:latin typeface="나눔고딕" panose="020D0604000000000000" pitchFamily="50" charset="-127"/>
            <a:ea typeface="나눔고딕" panose="020D0604000000000000" pitchFamily="50" charset="-127"/>
          </a:endParaRPr>
        </a:p>
        <a:p>
          <a:pPr lvl="0" algn="ctr" defTabSz="711200" latinLnBrk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altLang="ko-KR" sz="1600" kern="1200" dirty="0">
            <a:latin typeface="나눔고딕" panose="020D0604000000000000" pitchFamily="50" charset="-127"/>
            <a:ea typeface="나눔고딕" panose="020D0604000000000000" pitchFamily="50" charset="-127"/>
          </a:endParaRPr>
        </a:p>
        <a:p>
          <a:pPr lvl="0" algn="ctr" defTabSz="711200" latinLnBrk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ko-KR" altLang="en-US" sz="1600" kern="1200" dirty="0" err="1">
              <a:latin typeface="나눔고딕" panose="020D0604000000000000" pitchFamily="50" charset="-127"/>
              <a:ea typeface="나눔고딕" panose="020D0604000000000000" pitchFamily="50" charset="-127"/>
            </a:rPr>
            <a:t>넷플렉스</a:t>
          </a:r>
          <a:r>
            <a:rPr lang="en-US" altLang="ko-KR" sz="1600" kern="1200" dirty="0">
              <a:latin typeface="나눔고딕" panose="020D0604000000000000" pitchFamily="50" charset="-127"/>
              <a:ea typeface="나눔고딕" panose="020D0604000000000000" pitchFamily="50" charset="-127"/>
            </a:rPr>
            <a:t>(</a:t>
          </a:r>
          <a:r>
            <a:rPr lang="en-US" altLang="ko-KR" sz="1600" kern="1200" dirty="0" err="1">
              <a:latin typeface="나눔고딕" panose="020D0604000000000000" pitchFamily="50" charset="-127"/>
              <a:ea typeface="나눔고딕" panose="020D0604000000000000" pitchFamily="50" charset="-127"/>
            </a:rPr>
            <a:t>Neflex</a:t>
          </a:r>
          <a:r>
            <a:rPr lang="en-US" altLang="ko-KR" sz="1600" kern="1200" dirty="0">
              <a:latin typeface="나눔고딕" panose="020D0604000000000000" pitchFamily="50" charset="-127"/>
              <a:ea typeface="나눔고딕" panose="020D0604000000000000" pitchFamily="50" charset="-127"/>
            </a:rPr>
            <a:t>)</a:t>
          </a:r>
        </a:p>
        <a:p>
          <a:pPr lvl="0" algn="ctr" defTabSz="711200" latinLnBrk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altLang="ko-KR" sz="1600" kern="1200" dirty="0">
            <a:latin typeface="나눔고딕" panose="020D0604000000000000" pitchFamily="50" charset="-127"/>
            <a:ea typeface="나눔고딕" panose="020D0604000000000000" pitchFamily="50" charset="-127"/>
          </a:endParaRPr>
        </a:p>
        <a:p>
          <a:pPr lvl="0" algn="ctr" defTabSz="711200" latinLnBrk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altLang="ko-KR" sz="1600" kern="1200" dirty="0">
            <a:latin typeface="나눔고딕" panose="020D0604000000000000" pitchFamily="50" charset="-127"/>
            <a:ea typeface="나눔고딕" panose="020D0604000000000000" pitchFamily="50" charset="-127"/>
          </a:endParaRPr>
        </a:p>
        <a:p>
          <a:pPr lvl="0" algn="ctr" defTabSz="711200" latinLnBrk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altLang="ko-KR" sz="1600" kern="1200" dirty="0">
            <a:latin typeface="나눔고딕" panose="020D0604000000000000" pitchFamily="50" charset="-127"/>
            <a:ea typeface="나눔고딕" panose="020D0604000000000000" pitchFamily="50" charset="-127"/>
          </a:endParaRPr>
        </a:p>
        <a:p>
          <a:pPr lvl="0" algn="ctr" defTabSz="711200" latinLnBrk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altLang="ko-KR" sz="1600" kern="1200" dirty="0">
            <a:latin typeface="나눔고딕" panose="020D0604000000000000" pitchFamily="50" charset="-127"/>
            <a:ea typeface="나눔고딕" panose="020D0604000000000000" pitchFamily="50" charset="-127"/>
          </a:endParaRPr>
        </a:p>
        <a:p>
          <a:pPr lvl="0" algn="ctr" defTabSz="711200" latinLnBrk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altLang="ko-KR" sz="1600" kern="1200" dirty="0">
            <a:latin typeface="나눔고딕" panose="020D0604000000000000" pitchFamily="50" charset="-127"/>
            <a:ea typeface="나눔고딕" panose="020D0604000000000000" pitchFamily="50" charset="-127"/>
          </a:endParaRPr>
        </a:p>
        <a:p>
          <a:pPr lvl="0" algn="ctr" defTabSz="711200" latinLnBrk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altLang="ko-KR" sz="1600" kern="1200" dirty="0">
            <a:latin typeface="나눔고딕" panose="020D0604000000000000" pitchFamily="50" charset="-127"/>
            <a:ea typeface="나눔고딕" panose="020D0604000000000000" pitchFamily="50" charset="-127"/>
          </a:endParaRPr>
        </a:p>
        <a:p>
          <a:pPr lvl="0" algn="ctr" defTabSz="711200" latinLnBrk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altLang="ko-KR" sz="1600" kern="1200" dirty="0">
            <a:latin typeface="나눔고딕" panose="020D0604000000000000" pitchFamily="50" charset="-127"/>
            <a:ea typeface="나눔고딕" panose="020D0604000000000000" pitchFamily="50" charset="-127"/>
          </a:endParaRPr>
        </a:p>
        <a:p>
          <a:pPr lvl="0" algn="ctr" defTabSz="711200" latinLnBrk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altLang="ko-KR" sz="1600" kern="1200" dirty="0">
            <a:latin typeface="나눔고딕" panose="020D0604000000000000" pitchFamily="50" charset="-127"/>
            <a:ea typeface="나눔고딕" panose="020D0604000000000000" pitchFamily="50" charset="-127"/>
          </a:endParaRPr>
        </a:p>
        <a:p>
          <a:pPr lvl="0" algn="ctr" defTabSz="711200" latinLnBrk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altLang="ko-KR" sz="1600" kern="1200" dirty="0">
            <a:latin typeface="나눔고딕" panose="020D0604000000000000" pitchFamily="50" charset="-127"/>
            <a:ea typeface="나눔고딕" panose="020D0604000000000000" pitchFamily="50" charset="-127"/>
          </a:endParaRPr>
        </a:p>
        <a:p>
          <a:pPr lvl="0" algn="ctr" defTabSz="711200" latinLnBrk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altLang="ko-KR" sz="1600" kern="1200" dirty="0">
            <a:latin typeface="나눔고딕" panose="020D0604000000000000" pitchFamily="50" charset="-127"/>
            <a:ea typeface="나눔고딕" panose="020D0604000000000000" pitchFamily="50" charset="-127"/>
          </a:endParaRPr>
        </a:p>
        <a:p>
          <a:pPr lvl="0" algn="ctr" defTabSz="711200" latinLnBrk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altLang="ko-KR" sz="1600" kern="1200" dirty="0">
            <a:latin typeface="나눔고딕" panose="020D0604000000000000" pitchFamily="50" charset="-127"/>
            <a:ea typeface="나눔고딕" panose="020D0604000000000000" pitchFamily="50" charset="-127"/>
          </a:endParaRPr>
        </a:p>
        <a:p>
          <a:pPr lvl="0" algn="ctr" defTabSz="711200" latinLnBrk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altLang="ko-KR" sz="1600" kern="1200" dirty="0">
            <a:latin typeface="나눔고딕" panose="020D0604000000000000" pitchFamily="50" charset="-127"/>
            <a:ea typeface="나눔고딕" panose="020D0604000000000000" pitchFamily="50" charset="-127"/>
          </a:endParaRPr>
        </a:p>
        <a:p>
          <a:pPr lvl="0" algn="ctr" defTabSz="711200" latinLnBrk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altLang="ko-KR" sz="1600" kern="1200" dirty="0">
            <a:latin typeface="나눔고딕" panose="020D0604000000000000" pitchFamily="50" charset="-127"/>
            <a:ea typeface="나눔고딕" panose="020D0604000000000000" pitchFamily="50" charset="-127"/>
          </a:endParaRPr>
        </a:p>
        <a:p>
          <a:pPr lvl="0" algn="ctr" defTabSz="711200" latinLnBrk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altLang="ko-KR" sz="1600" kern="1200" dirty="0">
            <a:latin typeface="나눔고딕" panose="020D0604000000000000" pitchFamily="50" charset="-127"/>
            <a:ea typeface="나눔고딕" panose="020D0604000000000000" pitchFamily="50" charset="-127"/>
          </a:endParaRPr>
        </a:p>
        <a:p>
          <a:pPr lvl="0" algn="ctr" defTabSz="711200" latinLnBrk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altLang="ko-KR" sz="1600" kern="1200" dirty="0">
            <a:latin typeface="나눔고딕" panose="020D0604000000000000" pitchFamily="50" charset="-127"/>
            <a:ea typeface="나눔고딕" panose="020D0604000000000000" pitchFamily="50" charset="-127"/>
          </a:endParaRPr>
        </a:p>
        <a:p>
          <a:pPr lvl="0" algn="ctr" defTabSz="711200" latinLnBrk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altLang="ko-KR" sz="1600" kern="1200" dirty="0">
            <a:latin typeface="나눔고딕" panose="020D0604000000000000" pitchFamily="50" charset="-127"/>
            <a:ea typeface="나눔고딕" panose="020D0604000000000000" pitchFamily="50" charset="-127"/>
          </a:endParaRPr>
        </a:p>
        <a:p>
          <a:pPr lvl="0" algn="ctr" defTabSz="711200" latinLnBrk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altLang="ko-KR" sz="1600" kern="1200" dirty="0">
            <a:latin typeface="나눔고딕" panose="020D0604000000000000" pitchFamily="50" charset="-127"/>
            <a:ea typeface="나눔고딕" panose="020D0604000000000000" pitchFamily="50" charset="-127"/>
          </a:endParaRPr>
        </a:p>
        <a:p>
          <a:pPr lvl="0" algn="ctr" defTabSz="711200" latinLnBrk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altLang="ko-KR" sz="1600" kern="1200" dirty="0">
            <a:latin typeface="나눔고딕" panose="020D0604000000000000" pitchFamily="50" charset="-127"/>
            <a:ea typeface="나눔고딕" panose="020D0604000000000000" pitchFamily="50" charset="-127"/>
          </a:endParaRPr>
        </a:p>
        <a:p>
          <a:pPr lvl="0" algn="ctr" defTabSz="711200" latinLnBrk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altLang="ko-KR" sz="1600" kern="1200" dirty="0">
            <a:latin typeface="나눔고딕" panose="020D0604000000000000" pitchFamily="50" charset="-127"/>
            <a:ea typeface="나눔고딕" panose="020D0604000000000000" pitchFamily="50" charset="-127"/>
          </a:endParaRPr>
        </a:p>
        <a:p>
          <a:pPr lvl="0" algn="ctr" defTabSz="711200" latinLnBrk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altLang="ko-KR" sz="1600" kern="1200" dirty="0">
            <a:latin typeface="나눔고딕" panose="020D0604000000000000" pitchFamily="50" charset="-127"/>
            <a:ea typeface="나눔고딕" panose="020D0604000000000000" pitchFamily="50" charset="-127"/>
          </a:endParaRPr>
        </a:p>
        <a:p>
          <a:pPr lvl="0" algn="ctr" defTabSz="711200" latinLnBrk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altLang="ko-KR" sz="1600" kern="1200" dirty="0">
            <a:latin typeface="나눔고딕" panose="020D0604000000000000" pitchFamily="50" charset="-127"/>
            <a:ea typeface="나눔고딕" panose="020D0604000000000000" pitchFamily="50" charset="-127"/>
          </a:endParaRPr>
        </a:p>
        <a:p>
          <a:pPr lvl="0" algn="ctr" defTabSz="711200" latinLnBrk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ko-KR" altLang="en-US" sz="1600" kern="1200" dirty="0">
              <a:latin typeface="나눔고딕" panose="020D0604000000000000" pitchFamily="50" charset="-127"/>
              <a:ea typeface="나눔고딕" panose="020D0604000000000000" pitchFamily="50" charset="-127"/>
            </a:rPr>
            <a:t>이용자의 영화 대여 목록에 기초해서 새로운 영화를 추천해주는 </a:t>
          </a:r>
          <a:r>
            <a:rPr lang="ko-KR" altLang="en-US" sz="1600" kern="1200" dirty="0" err="1">
              <a:latin typeface="나눔고딕" panose="020D0604000000000000" pitchFamily="50" charset="-127"/>
              <a:ea typeface="나눔고딕" panose="020D0604000000000000" pitchFamily="50" charset="-127"/>
            </a:rPr>
            <a:t>시네매치</a:t>
          </a:r>
          <a:r>
            <a:rPr lang="en-US" altLang="ko-KR" sz="1600" kern="1200" dirty="0">
              <a:latin typeface="나눔고딕" panose="020D0604000000000000" pitchFamily="50" charset="-127"/>
              <a:ea typeface="나눔고딕" panose="020D0604000000000000" pitchFamily="50" charset="-127"/>
            </a:rPr>
            <a:t>(</a:t>
          </a:r>
          <a:r>
            <a:rPr lang="ko-KR" altLang="en-US" sz="1600" kern="1200" dirty="0" err="1">
              <a:latin typeface="나눔고딕" panose="020D0604000000000000" pitchFamily="50" charset="-127"/>
              <a:ea typeface="나눔고딕" panose="020D0604000000000000" pitchFamily="50" charset="-127"/>
            </a:rPr>
            <a:t>시스템을개발</a:t>
          </a:r>
          <a:endParaRPr lang="ko-KR" altLang="en-US" sz="1600" kern="1200" dirty="0"/>
        </a:p>
      </dsp:txBody>
      <dsp:txXfrm>
        <a:off x="5915261" y="0"/>
        <a:ext cx="2750916" cy="872636"/>
      </dsp:txXfrm>
    </dsp:sp>
    <dsp:sp modelId="{4DAE467B-C1CF-4470-BB25-167CC5DCC7F9}">
      <dsp:nvSpPr>
        <dsp:cNvPr id="0" name=""/>
        <dsp:cNvSpPr/>
      </dsp:nvSpPr>
      <dsp:spPr>
        <a:xfrm>
          <a:off x="5859693" y="940667"/>
          <a:ext cx="2750916" cy="4129"/>
        </a:xfrm>
        <a:prstGeom prst="rect">
          <a:avLst/>
        </a:prstGeom>
        <a:solidFill>
          <a:schemeClr val="accent2">
            <a:lumMod val="20000"/>
            <a:lumOff val="80000"/>
            <a:alpha val="90000"/>
          </a:schemeClr>
        </a:solidFill>
        <a:ln w="12700" cap="flat" cmpd="sng" algn="ctr">
          <a:solidFill>
            <a:schemeClr val="dk2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5344" tIns="85344" rIns="113792" bIns="128016" numCol="1" spcCol="1270" anchor="t" anchorCtr="0">
          <a:noAutofit/>
        </a:bodyPr>
        <a:lstStyle/>
        <a:p>
          <a:pPr marL="171450" lvl="1" indent="-171450" algn="l" defTabSz="711200" latinLnBrk="1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ko-KR" altLang="en-US" sz="1600" kern="1200" dirty="0">
              <a:latin typeface="나눔고딕" panose="020D0604000000000000" pitchFamily="50" charset="-127"/>
              <a:ea typeface="나눔고딕" panose="020D0604000000000000" pitchFamily="50" charset="-127"/>
            </a:rPr>
            <a:t>그간의</a:t>
          </a:r>
          <a:r>
            <a:rPr lang="en-US" altLang="ko-KR" sz="1600" kern="1200" dirty="0">
              <a:latin typeface="나눔고딕" panose="020D0604000000000000" pitchFamily="50" charset="-127"/>
              <a:ea typeface="나눔고딕" panose="020D0604000000000000" pitchFamily="50" charset="-127"/>
            </a:rPr>
            <a:t> </a:t>
          </a:r>
          <a:r>
            <a:rPr lang="ko-KR" altLang="en-US" sz="1600" kern="1200" dirty="0">
              <a:latin typeface="나눔고딕" panose="020D0604000000000000" pitchFamily="50" charset="-127"/>
              <a:ea typeface="나눔고딕" panose="020D0604000000000000" pitchFamily="50" charset="-127"/>
            </a:rPr>
            <a:t>영화 대여 목록을 활용한  영화추천 </a:t>
          </a:r>
          <a:r>
            <a:rPr lang="ko-KR" altLang="en-US" sz="1600" kern="1200" dirty="0" err="1">
              <a:latin typeface="나눔고딕" panose="020D0604000000000000" pitchFamily="50" charset="-127"/>
              <a:ea typeface="나눔고딕" panose="020D0604000000000000" pitchFamily="50" charset="-127"/>
            </a:rPr>
            <a:t>매칭시스템</a:t>
          </a:r>
          <a:r>
            <a:rPr lang="ko-KR" altLang="en-US" sz="1600" kern="1200" dirty="0">
              <a:latin typeface="나눔고딕" panose="020D0604000000000000" pitchFamily="50" charset="-127"/>
              <a:ea typeface="나눔고딕" panose="020D0604000000000000" pitchFamily="50" charset="-127"/>
            </a:rPr>
            <a:t> </a:t>
          </a:r>
          <a:r>
            <a:rPr lang="en-US" altLang="ko-KR" sz="1600" kern="1200" dirty="0">
              <a:latin typeface="나눔고딕" panose="020D0604000000000000" pitchFamily="50" charset="-127"/>
              <a:ea typeface="나눔고딕" panose="020D0604000000000000" pitchFamily="50" charset="-127"/>
            </a:rPr>
            <a:t>( </a:t>
          </a:r>
          <a:r>
            <a:rPr lang="ko-KR" altLang="en-US" sz="1600" kern="1200" dirty="0">
              <a:latin typeface="나눔고딕" panose="020D0604000000000000" pitchFamily="50" charset="-127"/>
              <a:ea typeface="나눔고딕" panose="020D0604000000000000" pitchFamily="50" charset="-127"/>
            </a:rPr>
            <a:t>이용자의 선택동작정보와 </a:t>
          </a:r>
          <a:r>
            <a:rPr lang="ko-KR" altLang="en-US" sz="1600" kern="1200" dirty="0" err="1">
              <a:latin typeface="나눔고딕" panose="020D0604000000000000" pitchFamily="50" charset="-127"/>
              <a:ea typeface="나눔고딕" panose="020D0604000000000000" pitchFamily="50" charset="-127"/>
            </a:rPr>
            <a:t>영화컨텐츠정보</a:t>
          </a:r>
          <a:r>
            <a:rPr lang="ko-KR" altLang="en-US" sz="1600" kern="1200" dirty="0">
              <a:latin typeface="나눔고딕" panose="020D0604000000000000" pitchFamily="50" charset="-127"/>
              <a:ea typeface="나눔고딕" panose="020D0604000000000000" pitchFamily="50" charset="-127"/>
            </a:rPr>
            <a:t> </a:t>
          </a:r>
          <a:r>
            <a:rPr lang="ko-KR" altLang="en-US" sz="1600" kern="1200" dirty="0" err="1">
              <a:latin typeface="나눔고딕" panose="020D0604000000000000" pitchFamily="50" charset="-127"/>
              <a:ea typeface="나눔고딕" panose="020D0604000000000000" pitchFamily="50" charset="-127"/>
            </a:rPr>
            <a:t>매칭</a:t>
          </a:r>
          <a:r>
            <a:rPr lang="en-US" altLang="ko-KR" sz="1600" kern="1200" dirty="0">
              <a:latin typeface="나눔고딕" panose="020D0604000000000000" pitchFamily="50" charset="-127"/>
              <a:ea typeface="나눔고딕" panose="020D0604000000000000" pitchFamily="50" charset="-127"/>
            </a:rPr>
            <a:t>&gt; </a:t>
          </a:r>
          <a:r>
            <a:rPr lang="ko-KR" altLang="en-US" sz="1600" kern="1200" dirty="0">
              <a:latin typeface="나눔고딕" panose="020D0604000000000000" pitchFamily="50" charset="-127"/>
              <a:ea typeface="나눔고딕" panose="020D0604000000000000" pitchFamily="50" charset="-127"/>
            </a:rPr>
            <a:t>개인화 </a:t>
          </a:r>
          <a:r>
            <a:rPr lang="en-US" altLang="ko-KR" sz="1600" kern="1200" dirty="0">
              <a:latin typeface="나눔고딕" panose="020D0604000000000000" pitchFamily="50" charset="-127"/>
              <a:ea typeface="나눔고딕" panose="020D0604000000000000" pitchFamily="50" charset="-127"/>
            </a:rPr>
            <a:t>75% </a:t>
          </a:r>
          <a:r>
            <a:rPr lang="ko-KR" altLang="en-US" sz="1600" kern="1200" dirty="0">
              <a:latin typeface="나눔고딕" panose="020D0604000000000000" pitchFamily="50" charset="-127"/>
              <a:ea typeface="나눔고딕" panose="020D0604000000000000" pitchFamily="50" charset="-127"/>
            </a:rPr>
            <a:t>의존</a:t>
          </a:r>
          <a:r>
            <a:rPr lang="en-US" altLang="ko-KR" sz="1600" kern="1200" dirty="0">
              <a:latin typeface="나눔고딕" panose="020D0604000000000000" pitchFamily="50" charset="-127"/>
              <a:ea typeface="나눔고딕" panose="020D0604000000000000" pitchFamily="50" charset="-127"/>
            </a:rPr>
            <a:t>/60% </a:t>
          </a:r>
          <a:r>
            <a:rPr lang="ko-KR" altLang="en-US" sz="1600" kern="1200" dirty="0">
              <a:latin typeface="나눔고딕" panose="020D0604000000000000" pitchFamily="50" charset="-127"/>
              <a:ea typeface="나눔고딕" panose="020D0604000000000000" pitchFamily="50" charset="-127"/>
            </a:rPr>
            <a:t>추천에 의한 매출  </a:t>
          </a:r>
          <a:r>
            <a:rPr lang="en-US" altLang="ko-KR" sz="1600" kern="1200" dirty="0">
              <a:latin typeface="나눔고딕" panose="020D0604000000000000" pitchFamily="50" charset="-127"/>
              <a:ea typeface="나눔고딕" panose="020D0604000000000000" pitchFamily="50" charset="-127"/>
            </a:rPr>
            <a:t>)</a:t>
          </a:r>
          <a:endParaRPr lang="ko-KR" altLang="en-US" sz="1600" kern="1200" dirty="0"/>
        </a:p>
        <a:p>
          <a:pPr marL="171450" lvl="1" indent="-171450" algn="l" defTabSz="711200" latinLnBrk="1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ko-KR" altLang="en-US" sz="1600" kern="1200" dirty="0">
              <a:latin typeface="나눔고딕" panose="020D0604000000000000" pitchFamily="50" charset="-127"/>
              <a:ea typeface="나눔고딕" panose="020D0604000000000000" pitchFamily="50" charset="-127"/>
            </a:rPr>
            <a:t>경진대회 </a:t>
          </a:r>
          <a:r>
            <a:rPr lang="en-US" altLang="ko-KR" sz="1600" kern="1200" dirty="0">
              <a:latin typeface="나눔고딕" panose="020D0604000000000000" pitchFamily="50" charset="-127"/>
              <a:ea typeface="나눔고딕" panose="020D0604000000000000" pitchFamily="50" charset="-127"/>
            </a:rPr>
            <a:t>(</a:t>
          </a:r>
          <a:r>
            <a:rPr lang="ko-KR" altLang="en-US" sz="1600" kern="1200" dirty="0">
              <a:latin typeface="나눔고딕" panose="020D0604000000000000" pitchFamily="50" charset="-127"/>
              <a:ea typeface="나눔고딕" panose="020D0604000000000000" pitchFamily="50" charset="-127"/>
            </a:rPr>
            <a:t>집단지성 활용</a:t>
          </a:r>
          <a:r>
            <a:rPr lang="en-US" altLang="ko-KR" sz="1600" kern="1200" dirty="0">
              <a:latin typeface="나눔고딕" panose="020D0604000000000000" pitchFamily="50" charset="-127"/>
              <a:ea typeface="나눔고딕" panose="020D0604000000000000" pitchFamily="50" charset="-127"/>
            </a:rPr>
            <a:t>)</a:t>
          </a:r>
          <a:endParaRPr lang="ko-KR" altLang="en-US" sz="1600" kern="1200" dirty="0"/>
        </a:p>
        <a:p>
          <a:pPr marL="171450" lvl="1" indent="-171450" algn="l" defTabSz="711200" latinLnBrk="1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ko-KR" altLang="en-US" sz="1600" kern="1200" dirty="0" err="1"/>
            <a:t>빅데이터</a:t>
          </a:r>
          <a:r>
            <a:rPr lang="en-US" altLang="ko-KR" sz="1600" kern="1200" dirty="0"/>
            <a:t>/</a:t>
          </a:r>
          <a:r>
            <a:rPr lang="ko-KR" altLang="en-US" sz="1600" kern="1200" dirty="0"/>
            <a:t>시청자의 선호도를 활용하여 </a:t>
          </a:r>
          <a:r>
            <a:rPr lang="ko-KR" altLang="en-US" sz="1600" kern="1200" dirty="0" err="1"/>
            <a:t>컨텐츠</a:t>
          </a:r>
          <a:r>
            <a:rPr lang="ko-KR" altLang="en-US" sz="1600" kern="1200" dirty="0"/>
            <a:t> 생산</a:t>
          </a:r>
          <a:r>
            <a:rPr lang="en-US" altLang="ko-KR" sz="1600" kern="1200" dirty="0"/>
            <a:t>: </a:t>
          </a:r>
          <a:r>
            <a:rPr lang="ko-KR" altLang="en-US" sz="1600" kern="1200" dirty="0"/>
            <a:t>감독</a:t>
          </a:r>
          <a:r>
            <a:rPr lang="en-US" altLang="ko-KR" sz="1600" kern="1200" dirty="0"/>
            <a:t>/</a:t>
          </a:r>
          <a:r>
            <a:rPr lang="ko-KR" altLang="en-US" sz="1600" kern="1200" dirty="0"/>
            <a:t> 배우</a:t>
          </a:r>
          <a:r>
            <a:rPr lang="en-US" altLang="ko-KR" sz="1600" kern="1200" dirty="0"/>
            <a:t>/ </a:t>
          </a:r>
          <a:r>
            <a:rPr lang="ko-KR" altLang="en-US" sz="1600" kern="1200" dirty="0"/>
            <a:t>기획</a:t>
          </a:r>
          <a:r>
            <a:rPr lang="en-US" altLang="ko-KR" sz="1600" kern="1200" dirty="0"/>
            <a:t>/</a:t>
          </a:r>
          <a:r>
            <a:rPr lang="ko-KR" altLang="en-US" sz="1600" kern="1200" dirty="0"/>
            <a:t> 배급 결정 </a:t>
          </a:r>
        </a:p>
      </dsp:txBody>
      <dsp:txXfrm>
        <a:off x="5859693" y="940667"/>
        <a:ext cx="2750916" cy="4129"/>
      </dsp:txXfrm>
    </dsp:sp>
    <dsp:sp modelId="{0F38AF16-A779-4D4B-9C2F-3883EC961523}">
      <dsp:nvSpPr>
        <dsp:cNvPr id="0" name=""/>
        <dsp:cNvSpPr/>
      </dsp:nvSpPr>
      <dsp:spPr>
        <a:xfrm>
          <a:off x="9069379" y="0"/>
          <a:ext cx="2750916" cy="872636"/>
        </a:xfrm>
        <a:prstGeom prst="rec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  <a:miter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3792" tIns="65024" rIns="113792" bIns="65024" numCol="1" spcCol="1270" anchor="ctr" anchorCtr="0">
          <a:noAutofit/>
        </a:bodyPr>
        <a:lstStyle/>
        <a:p>
          <a:pPr marL="0" marR="0" lvl="0" indent="0" algn="ctr" defTabSz="914400" eaLnBrk="1" fontAlgn="auto" latinLnBrk="1" hangingPunct="1">
            <a:lnSpc>
              <a:spcPct val="100000"/>
            </a:lnSpc>
            <a:spcBef>
              <a:spcPct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endParaRPr lang="en-US" altLang="ko-KR" sz="1600" kern="1200" dirty="0">
            <a:latin typeface="나눔고딕" panose="020D0604000000000000" pitchFamily="50" charset="-127"/>
            <a:ea typeface="나눔고딕" panose="020D0604000000000000" pitchFamily="50" charset="-127"/>
          </a:endParaRPr>
        </a:p>
        <a:p>
          <a:pPr marL="0" marR="0" lvl="0" indent="0" algn="ctr" defTabSz="914400" eaLnBrk="1" fontAlgn="auto" latinLnBrk="1" hangingPunct="1">
            <a:lnSpc>
              <a:spcPct val="100000"/>
            </a:lnSpc>
            <a:spcBef>
              <a:spcPct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ko-KR" altLang="en-US" sz="1600" kern="1200" dirty="0">
              <a:latin typeface="나눔고딕" panose="020D0604000000000000" pitchFamily="50" charset="-127"/>
              <a:ea typeface="나눔고딕" panose="020D0604000000000000" pitchFamily="50" charset="-127"/>
            </a:rPr>
            <a:t>스페인 패션업체</a:t>
          </a:r>
          <a:r>
            <a:rPr lang="en-US" altLang="ko-KR" sz="1600" kern="1200" dirty="0">
              <a:latin typeface="나눔고딕" panose="020D0604000000000000" pitchFamily="50" charset="-127"/>
              <a:ea typeface="나눔고딕" panose="020D0604000000000000" pitchFamily="50" charset="-127"/>
            </a:rPr>
            <a:t>)</a:t>
          </a:r>
        </a:p>
        <a:p>
          <a:pPr lvl="0" algn="ctr" defTabSz="889000" latinLnBrk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ko-KR" altLang="en-US" sz="1600" kern="1200" dirty="0">
              <a:latin typeface="나눔고딕" panose="020D0604000000000000" pitchFamily="50" charset="-127"/>
              <a:ea typeface="나눔고딕" panose="020D0604000000000000" pitchFamily="50" charset="-127"/>
            </a:rPr>
            <a:t>자라</a:t>
          </a:r>
          <a:r>
            <a:rPr lang="en-US" altLang="ko-KR" sz="1600" kern="1200" dirty="0">
              <a:latin typeface="나눔고딕" panose="020D0604000000000000" pitchFamily="50" charset="-127"/>
              <a:ea typeface="나눔고딕" panose="020D0604000000000000" pitchFamily="50" charset="-127"/>
            </a:rPr>
            <a:t>(Zara</a:t>
          </a:r>
          <a:endParaRPr lang="ko-KR" altLang="en-US" sz="1600" kern="1200" dirty="0"/>
        </a:p>
      </dsp:txBody>
      <dsp:txXfrm>
        <a:off x="9069379" y="0"/>
        <a:ext cx="2750916" cy="872636"/>
      </dsp:txXfrm>
    </dsp:sp>
    <dsp:sp modelId="{85CEF829-5435-4D35-8832-FBDA81EC0EA6}">
      <dsp:nvSpPr>
        <dsp:cNvPr id="0" name=""/>
        <dsp:cNvSpPr/>
      </dsp:nvSpPr>
      <dsp:spPr>
        <a:xfrm>
          <a:off x="8930705" y="912407"/>
          <a:ext cx="2750916" cy="4129"/>
        </a:xfrm>
        <a:prstGeom prst="rect">
          <a:avLst/>
        </a:prstGeom>
        <a:solidFill>
          <a:schemeClr val="dk2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2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5344" tIns="85344" rIns="113792" bIns="128016" numCol="1" spcCol="1270" anchor="t" anchorCtr="0">
          <a:noAutofit/>
        </a:bodyPr>
        <a:lstStyle/>
        <a:p>
          <a:pPr marL="171450" lvl="1" indent="-171450" algn="l" defTabSz="711200" latinLnBrk="1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ko-KR" altLang="en-US" sz="1600" kern="1200" dirty="0">
              <a:latin typeface="나눔고딕" panose="020D0604000000000000" pitchFamily="50" charset="-127"/>
              <a:ea typeface="나눔고딕" panose="020D0604000000000000" pitchFamily="50" charset="-127"/>
            </a:rPr>
            <a:t> 현재 유행하는 패션 </a:t>
          </a:r>
          <a:r>
            <a:rPr lang="ko-KR" altLang="en-US" sz="1600" kern="1200" dirty="0" err="1">
              <a:latin typeface="나눔고딕" panose="020D0604000000000000" pitchFamily="50" charset="-127"/>
              <a:ea typeface="나눔고딕" panose="020D0604000000000000" pitchFamily="50" charset="-127"/>
            </a:rPr>
            <a:t>트렌드를</a:t>
          </a:r>
          <a:r>
            <a:rPr lang="ko-KR" altLang="en-US" sz="1600" kern="1200" dirty="0">
              <a:latin typeface="나눔고딕" panose="020D0604000000000000" pitchFamily="50" charset="-127"/>
              <a:ea typeface="나눔고딕" panose="020D0604000000000000" pitchFamily="50" charset="-127"/>
            </a:rPr>
            <a:t> 즉시에 반영해 단기간에 다품종 소량 생산하는 초스피드 전략을 채택</a:t>
          </a:r>
          <a:endParaRPr lang="ko-KR" altLang="en-US" sz="1600" kern="1200" dirty="0"/>
        </a:p>
        <a:p>
          <a:pPr marL="171450" lvl="1" indent="-171450" algn="l" defTabSz="711200" latinLnBrk="1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ko-KR" altLang="en-US" sz="1600" kern="1200" dirty="0">
              <a:latin typeface="나눔고딕" panose="020D0604000000000000" pitchFamily="50" charset="-127"/>
              <a:ea typeface="나눔고딕" panose="020D0604000000000000" pitchFamily="50" charset="-127"/>
            </a:rPr>
            <a:t> 상품 수요를 예측하고 </a:t>
          </a:r>
          <a:r>
            <a:rPr lang="ko-KR" altLang="en-US" sz="1600" kern="1200" dirty="0" err="1">
              <a:latin typeface="나눔고딕" panose="020D0604000000000000" pitchFamily="50" charset="-127"/>
              <a:ea typeface="나눔고딕" panose="020D0604000000000000" pitchFamily="50" charset="-127"/>
            </a:rPr>
            <a:t>매장별</a:t>
          </a:r>
          <a:r>
            <a:rPr lang="ko-KR" altLang="en-US" sz="1600" kern="1200" dirty="0">
              <a:latin typeface="나눔고딕" panose="020D0604000000000000" pitchFamily="50" charset="-127"/>
              <a:ea typeface="나눔고딕" panose="020D0604000000000000" pitchFamily="50" charset="-127"/>
            </a:rPr>
            <a:t> 적정 재고를 산출</a:t>
          </a:r>
          <a:endParaRPr lang="en-US" altLang="ko-KR" sz="1600" b="0" i="0" kern="1200" dirty="0">
            <a:effectLst/>
            <a:latin typeface="Dotum" panose="020B0600000101010101" pitchFamily="50" charset="-127"/>
            <a:ea typeface="Dotum" panose="020B0600000101010101" pitchFamily="50" charset="-127"/>
          </a:endParaRPr>
        </a:p>
        <a:p>
          <a:pPr marL="171450" lvl="1" indent="-171450" algn="l" defTabSz="711200" latinLnBrk="1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altLang="ko-KR" sz="1600" kern="1200" dirty="0">
              <a:latin typeface="나눔고딕" panose="020D0604000000000000" pitchFamily="50" charset="-127"/>
              <a:ea typeface="나눔고딕" panose="020D0604000000000000" pitchFamily="50" charset="-127"/>
            </a:rPr>
            <a:t>SNS </a:t>
          </a:r>
          <a:r>
            <a:rPr lang="ko-KR" altLang="en-US" sz="1600" kern="1200" dirty="0">
              <a:latin typeface="나눔고딕" panose="020D0604000000000000" pitchFamily="50" charset="-127"/>
              <a:ea typeface="나눔고딕" panose="020D0604000000000000" pitchFamily="50" charset="-127"/>
            </a:rPr>
            <a:t>설문</a:t>
          </a:r>
          <a:r>
            <a:rPr lang="en-US" altLang="ko-KR" sz="1600" kern="1200" dirty="0">
              <a:latin typeface="나눔고딕" panose="020D0604000000000000" pitchFamily="50" charset="-127"/>
              <a:ea typeface="나눔고딕" panose="020D0604000000000000" pitchFamily="50" charset="-127"/>
            </a:rPr>
            <a:t>&gt; </a:t>
          </a:r>
          <a:r>
            <a:rPr lang="ko-KR" altLang="en-US" sz="1600" kern="1200" dirty="0">
              <a:latin typeface="나눔고딕" panose="020D0604000000000000" pitchFamily="50" charset="-127"/>
              <a:ea typeface="나눔고딕" panose="020D0604000000000000" pitchFamily="50" charset="-127"/>
            </a:rPr>
            <a:t>고객민감도 파악</a:t>
          </a:r>
          <a:r>
            <a:rPr lang="en-US" altLang="ko-KR" sz="1600" kern="1200" dirty="0">
              <a:latin typeface="나눔고딕" panose="020D0604000000000000" pitchFamily="50" charset="-127"/>
              <a:ea typeface="나눔고딕" panose="020D0604000000000000" pitchFamily="50" charset="-127"/>
            </a:rPr>
            <a:t>&gt; 1</a:t>
          </a:r>
          <a:r>
            <a:rPr lang="ko-KR" altLang="en-US" sz="1600" kern="1200" dirty="0" err="1">
              <a:latin typeface="나눔고딕" panose="020D0604000000000000" pitchFamily="50" charset="-127"/>
              <a:ea typeface="나눔고딕" panose="020D0604000000000000" pitchFamily="50" charset="-127"/>
            </a:rPr>
            <a:t>일분석</a:t>
          </a:r>
          <a:r>
            <a:rPr lang="en-US" altLang="ko-KR" sz="1600" kern="1200" dirty="0">
              <a:latin typeface="나눔고딕" panose="020D0604000000000000" pitchFamily="50" charset="-127"/>
              <a:ea typeface="나눔고딕" panose="020D0604000000000000" pitchFamily="50" charset="-127"/>
            </a:rPr>
            <a:t>&gt;</a:t>
          </a:r>
          <a:r>
            <a:rPr lang="ko-KR" altLang="en-US" sz="1600" kern="1200" dirty="0" err="1">
              <a:latin typeface="나눔고딕" panose="020D0604000000000000" pitchFamily="50" charset="-127"/>
              <a:ea typeface="나눔고딕" panose="020D0604000000000000" pitchFamily="50" charset="-127"/>
            </a:rPr>
            <a:t>시징트랜드</a:t>
          </a:r>
          <a:r>
            <a:rPr lang="ko-KR" altLang="en-US" sz="1600" kern="1200" dirty="0">
              <a:latin typeface="나눔고딕" panose="020D0604000000000000" pitchFamily="50" charset="-127"/>
              <a:ea typeface="나눔고딕" panose="020D0604000000000000" pitchFamily="50" charset="-127"/>
            </a:rPr>
            <a:t> 파악</a:t>
          </a:r>
          <a:r>
            <a:rPr lang="en-US" altLang="ko-KR" sz="1600" kern="1200" dirty="0">
              <a:latin typeface="나눔고딕" panose="020D0604000000000000" pitchFamily="50" charset="-127"/>
              <a:ea typeface="나눔고딕" panose="020D0604000000000000" pitchFamily="50" charset="-127"/>
            </a:rPr>
            <a:t>&gt;</a:t>
          </a:r>
          <a:r>
            <a:rPr lang="ko-KR" altLang="en-US" sz="1600" kern="1200" dirty="0">
              <a:latin typeface="나눔고딕" panose="020D0604000000000000" pitchFamily="50" charset="-127"/>
              <a:ea typeface="나눔고딕" panose="020D0604000000000000" pitchFamily="50" charset="-127"/>
            </a:rPr>
            <a:t> 디자인 개발</a:t>
          </a:r>
          <a:r>
            <a:rPr lang="en-US" altLang="ko-KR" sz="1600" b="1" kern="1200" dirty="0">
              <a:latin typeface="나눔고딕" panose="020D0604000000000000" pitchFamily="50" charset="-127"/>
              <a:ea typeface="나눔고딕" panose="020D0604000000000000" pitchFamily="50" charset="-127"/>
            </a:rPr>
            <a:t>&gt; </a:t>
          </a:r>
          <a:r>
            <a:rPr lang="ko-KR" altLang="en-US" sz="1600" b="1" kern="1200" dirty="0">
              <a:latin typeface="나눔고딕" panose="020D0604000000000000" pitchFamily="50" charset="-127"/>
              <a:ea typeface="나눔고딕" panose="020D0604000000000000" pitchFamily="50" charset="-127"/>
            </a:rPr>
            <a:t> </a:t>
          </a:r>
          <a:r>
            <a:rPr lang="en-US" altLang="ko-KR" sz="1600" b="1" kern="1200" dirty="0">
              <a:latin typeface="나눔고딕" panose="020D0604000000000000" pitchFamily="50" charset="-127"/>
              <a:ea typeface="나눔고딕" panose="020D0604000000000000" pitchFamily="50" charset="-127"/>
            </a:rPr>
            <a:t>2</a:t>
          </a:r>
          <a:r>
            <a:rPr lang="ko-KR" altLang="en-US" sz="1600" b="1" kern="1200" dirty="0" err="1">
              <a:latin typeface="나눔고딕" panose="020D0604000000000000" pitchFamily="50" charset="-127"/>
              <a:ea typeface="나눔고딕" panose="020D0604000000000000" pitchFamily="50" charset="-127"/>
            </a:rPr>
            <a:t>주내</a:t>
          </a:r>
          <a:r>
            <a:rPr lang="ko-KR" altLang="en-US" sz="1600" b="1" kern="1200" dirty="0">
              <a:latin typeface="나눔고딕" panose="020D0604000000000000" pitchFamily="50" charset="-127"/>
              <a:ea typeface="나눔고딕" panose="020D0604000000000000" pitchFamily="50" charset="-127"/>
            </a:rPr>
            <a:t> 제품 출시하며 상품별 가격 결정과 운송 계획까지 실시간 데이터 분석에 의존</a:t>
          </a:r>
          <a:endParaRPr lang="en-US" altLang="ko-KR" sz="1600" b="1" i="0" kern="1200" dirty="0">
            <a:effectLst/>
            <a:latin typeface="Dotum" panose="020B0600000101010101" pitchFamily="50" charset="-127"/>
            <a:ea typeface="Dotum" panose="020B0600000101010101" pitchFamily="50" charset="-127"/>
          </a:endParaRPr>
        </a:p>
      </dsp:txBody>
      <dsp:txXfrm>
        <a:off x="8930705" y="912407"/>
        <a:ext cx="2750916" cy="4129"/>
      </dsp:txXfrm>
    </dsp:sp>
  </dsp:spTree>
</dsp:drawing>
</file>

<file path=ppt/diagrams/drawing1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A8AB7FE-DEE3-4F6C-8605-257E3775D162}">
      <dsp:nvSpPr>
        <dsp:cNvPr id="0" name=""/>
        <dsp:cNvSpPr/>
      </dsp:nvSpPr>
      <dsp:spPr>
        <a:xfrm>
          <a:off x="680442" y="194929"/>
          <a:ext cx="4981580" cy="4981580"/>
        </a:xfrm>
        <a:prstGeom prst="circularArrow">
          <a:avLst>
            <a:gd name="adj1" fmla="val 5544"/>
            <a:gd name="adj2" fmla="val 330680"/>
            <a:gd name="adj3" fmla="val 13810407"/>
            <a:gd name="adj4" fmla="val 17365014"/>
            <a:gd name="adj5" fmla="val 5757"/>
          </a:avLst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D16F2641-7793-48C8-AEB3-907711108DE9}">
      <dsp:nvSpPr>
        <dsp:cNvPr id="0" name=""/>
        <dsp:cNvSpPr/>
      </dsp:nvSpPr>
      <dsp:spPr>
        <a:xfrm>
          <a:off x="2022280" y="224187"/>
          <a:ext cx="2297905" cy="1148952"/>
        </a:xfrm>
        <a:prstGeom prst="roundRect">
          <a:avLst/>
        </a:prstGeom>
        <a:solidFill>
          <a:srgbClr val="0070C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0010" tIns="80010" rIns="80010" bIns="80010" numCol="1" spcCol="1270" anchor="ctr" anchorCtr="0">
          <a:noAutofit/>
        </a:bodyPr>
        <a:lstStyle/>
        <a:p>
          <a:pPr lvl="0" algn="ctr" defTabSz="933450" latinLnBrk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ko-KR" altLang="en-US" sz="2100" kern="1200" dirty="0"/>
            <a:t>혁신</a:t>
          </a:r>
        </a:p>
      </dsp:txBody>
      <dsp:txXfrm>
        <a:off x="2078367" y="280274"/>
        <a:ext cx="2185731" cy="1036778"/>
      </dsp:txXfrm>
    </dsp:sp>
    <dsp:sp modelId="{F475904A-6E7D-4BC1-A6EC-5ECAE2B76417}">
      <dsp:nvSpPr>
        <dsp:cNvPr id="0" name=""/>
        <dsp:cNvSpPr/>
      </dsp:nvSpPr>
      <dsp:spPr>
        <a:xfrm>
          <a:off x="4042649" y="1665092"/>
          <a:ext cx="2297905" cy="1148952"/>
        </a:xfrm>
        <a:prstGeom prst="roundRect">
          <a:avLst/>
        </a:prstGeom>
        <a:solidFill>
          <a:schemeClr val="tx2">
            <a:lumMod val="50000"/>
            <a:lumOff val="5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0010" tIns="80010" rIns="80010" bIns="80010" numCol="1" spcCol="1270" anchor="ctr" anchorCtr="0">
          <a:noAutofit/>
        </a:bodyPr>
        <a:lstStyle/>
        <a:p>
          <a:pPr lvl="0" algn="ctr" defTabSz="933450" latinLnBrk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ko-KR" altLang="en-US" sz="2100" kern="1200" dirty="0"/>
            <a:t>개방</a:t>
          </a:r>
        </a:p>
      </dsp:txBody>
      <dsp:txXfrm>
        <a:off x="4098736" y="1721179"/>
        <a:ext cx="2185731" cy="1036778"/>
      </dsp:txXfrm>
    </dsp:sp>
    <dsp:sp modelId="{695BEE50-D9F7-4C84-9EC6-2A0D116BF66C}">
      <dsp:nvSpPr>
        <dsp:cNvPr id="0" name=""/>
        <dsp:cNvSpPr/>
      </dsp:nvSpPr>
      <dsp:spPr>
        <a:xfrm>
          <a:off x="3270937" y="4040178"/>
          <a:ext cx="2297905" cy="1148952"/>
        </a:xfrm>
        <a:prstGeom prst="roundRect">
          <a:avLst/>
        </a:prstGeom>
        <a:solidFill>
          <a:srgbClr val="FF000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0010" tIns="80010" rIns="80010" bIns="80010" numCol="1" spcCol="1270" anchor="ctr" anchorCtr="0">
          <a:noAutofit/>
        </a:bodyPr>
        <a:lstStyle/>
        <a:p>
          <a:pPr lvl="0" algn="ctr" defTabSz="933450" latinLnBrk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ko-KR" altLang="en-US" sz="2100" kern="1200" dirty="0" smtClean="0"/>
            <a:t>통합 </a:t>
          </a:r>
          <a:r>
            <a:rPr lang="en-US" altLang="ko-KR" sz="2100" kern="1200" dirty="0" smtClean="0"/>
            <a:t>&amp; </a:t>
          </a:r>
          <a:r>
            <a:rPr lang="ko-KR" altLang="en-US" sz="2100" kern="1200" dirty="0" smtClean="0"/>
            <a:t>협력 </a:t>
          </a:r>
          <a:endParaRPr lang="ko-KR" altLang="en-US" sz="2100" kern="1200" dirty="0"/>
        </a:p>
      </dsp:txBody>
      <dsp:txXfrm>
        <a:off x="3327024" y="4096265"/>
        <a:ext cx="2185731" cy="1036778"/>
      </dsp:txXfrm>
    </dsp:sp>
    <dsp:sp modelId="{EF126C09-1EEB-48AF-B34F-508D201CB732}">
      <dsp:nvSpPr>
        <dsp:cNvPr id="0" name=""/>
        <dsp:cNvSpPr/>
      </dsp:nvSpPr>
      <dsp:spPr>
        <a:xfrm>
          <a:off x="873334" y="4064599"/>
          <a:ext cx="2297905" cy="1148952"/>
        </a:xfrm>
        <a:prstGeom prst="roundRect">
          <a:avLst/>
        </a:prstGeom>
        <a:solidFill>
          <a:srgbClr val="00B05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0010" tIns="80010" rIns="80010" bIns="80010" numCol="1" spcCol="1270" anchor="ctr" anchorCtr="0">
          <a:noAutofit/>
        </a:bodyPr>
        <a:lstStyle/>
        <a:p>
          <a:pPr lvl="0" algn="ctr" defTabSz="933450" latinLnBrk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ko-KR" altLang="en-US" sz="2100" kern="1200" dirty="0" smtClean="0"/>
            <a:t>신속 적용</a:t>
          </a:r>
          <a:endParaRPr lang="ko-KR" altLang="en-US" sz="2100" kern="1200" dirty="0"/>
        </a:p>
      </dsp:txBody>
      <dsp:txXfrm>
        <a:off x="929421" y="4120686"/>
        <a:ext cx="2185731" cy="1036778"/>
      </dsp:txXfrm>
    </dsp:sp>
    <dsp:sp modelId="{8D92E797-DD3B-46FF-A26C-A8535C7F05A6}">
      <dsp:nvSpPr>
        <dsp:cNvPr id="0" name=""/>
        <dsp:cNvSpPr/>
      </dsp:nvSpPr>
      <dsp:spPr>
        <a:xfrm>
          <a:off x="1911" y="1665092"/>
          <a:ext cx="2297905" cy="1148952"/>
        </a:xfrm>
        <a:prstGeom prst="roundRect">
          <a:avLst/>
        </a:prstGeom>
        <a:solidFill>
          <a:srgbClr val="92D05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0010" tIns="80010" rIns="80010" bIns="80010" numCol="1" spcCol="1270" anchor="ctr" anchorCtr="0">
          <a:noAutofit/>
        </a:bodyPr>
        <a:lstStyle/>
        <a:p>
          <a:pPr lvl="0" algn="ctr" defTabSz="933450" latinLnBrk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ko-KR" altLang="en-US" sz="2100" kern="1200" dirty="0" smtClean="0"/>
            <a:t>공익</a:t>
          </a:r>
          <a:r>
            <a:rPr lang="en-US" altLang="ko-KR" sz="2100" kern="1200" dirty="0" smtClean="0"/>
            <a:t>&amp; </a:t>
          </a:r>
          <a:r>
            <a:rPr lang="ko-KR" altLang="en-US" sz="2100" kern="1200" dirty="0" smtClean="0"/>
            <a:t>사회 </a:t>
          </a:r>
          <a:r>
            <a:rPr lang="ko-KR" altLang="en-US" sz="2100" kern="1200" dirty="0" smtClean="0"/>
            <a:t>가치 </a:t>
          </a:r>
          <a:endParaRPr lang="ko-KR" altLang="en-US" sz="2100" kern="1200" dirty="0"/>
        </a:p>
      </dsp:txBody>
      <dsp:txXfrm>
        <a:off x="57998" y="1721179"/>
        <a:ext cx="2185731" cy="1036778"/>
      </dsp:txXfrm>
    </dsp:sp>
  </dsp:spTree>
</dsp:drawing>
</file>

<file path=ppt/diagrams/drawing1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1C260D6-2BC1-44AD-B717-FB96F83CD9A9}">
      <dsp:nvSpPr>
        <dsp:cNvPr id="0" name=""/>
        <dsp:cNvSpPr/>
      </dsp:nvSpPr>
      <dsp:spPr>
        <a:xfrm>
          <a:off x="1181161" y="0"/>
          <a:ext cx="5021090" cy="5021090"/>
        </a:xfrm>
        <a:prstGeom prst="diamond">
          <a:avLst/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702E7AE2-10E1-4145-924A-FC0398FF6A77}">
      <dsp:nvSpPr>
        <dsp:cNvPr id="0" name=""/>
        <dsp:cNvSpPr/>
      </dsp:nvSpPr>
      <dsp:spPr>
        <a:xfrm>
          <a:off x="1506930" y="477003"/>
          <a:ext cx="1958225" cy="1958225"/>
        </a:xfrm>
        <a:prstGeom prst="roundRect">
          <a:avLst/>
        </a:prstGeom>
        <a:solidFill>
          <a:schemeClr val="accent1">
            <a:shade val="8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lvl="0" algn="ctr" defTabSz="1066800" latinLnBrk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ko-KR" altLang="en-US" sz="2400" kern="1200" dirty="0"/>
            <a:t>제품</a:t>
          </a:r>
          <a:r>
            <a:rPr lang="en-US" altLang="ko-KR" sz="2400" kern="1200" dirty="0" smtClean="0"/>
            <a:t>/</a:t>
          </a:r>
        </a:p>
        <a:p>
          <a:pPr lvl="0" algn="ctr" defTabSz="1066800" latinLnBrk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ko-KR" altLang="en-US" sz="2400" kern="1200" dirty="0" smtClean="0"/>
            <a:t>서비스개발  </a:t>
          </a:r>
          <a:endParaRPr lang="ko-KR" altLang="en-US" sz="2400" kern="1200" dirty="0"/>
        </a:p>
      </dsp:txBody>
      <dsp:txXfrm>
        <a:off x="1602523" y="572596"/>
        <a:ext cx="1767039" cy="1767039"/>
      </dsp:txXfrm>
    </dsp:sp>
    <dsp:sp modelId="{6DBBD5FC-717F-4969-B214-FD8BFB982B63}">
      <dsp:nvSpPr>
        <dsp:cNvPr id="0" name=""/>
        <dsp:cNvSpPr/>
      </dsp:nvSpPr>
      <dsp:spPr>
        <a:xfrm>
          <a:off x="3615787" y="477003"/>
          <a:ext cx="1958225" cy="1958225"/>
        </a:xfrm>
        <a:prstGeom prst="roundRect">
          <a:avLst/>
        </a:prstGeom>
        <a:solidFill>
          <a:schemeClr val="accent1">
            <a:shade val="80000"/>
            <a:hueOff val="102082"/>
            <a:satOff val="-1464"/>
            <a:lumOff val="8538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lvl="0" algn="ctr" defTabSz="1066800" latinLnBrk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ko-KR" altLang="en-US" sz="2400" kern="1200" dirty="0" smtClean="0"/>
            <a:t>위치</a:t>
          </a:r>
          <a:r>
            <a:rPr lang="en-US" altLang="ko-KR" sz="2400" kern="1200" dirty="0" smtClean="0"/>
            <a:t>/</a:t>
          </a:r>
          <a:r>
            <a:rPr lang="ko-KR" altLang="en-US" sz="2400" kern="1200" dirty="0" smtClean="0"/>
            <a:t>타이밍  최적화   </a:t>
          </a:r>
          <a:endParaRPr lang="ko-KR" altLang="en-US" sz="2400" kern="1200" dirty="0"/>
        </a:p>
      </dsp:txBody>
      <dsp:txXfrm>
        <a:off x="3711380" y="572596"/>
        <a:ext cx="1767039" cy="1767039"/>
      </dsp:txXfrm>
    </dsp:sp>
    <dsp:sp modelId="{12A89932-CD26-4FC5-9970-4DF613AF727B}">
      <dsp:nvSpPr>
        <dsp:cNvPr id="0" name=""/>
        <dsp:cNvSpPr/>
      </dsp:nvSpPr>
      <dsp:spPr>
        <a:xfrm>
          <a:off x="1506930" y="2585861"/>
          <a:ext cx="1958225" cy="1958225"/>
        </a:xfrm>
        <a:prstGeom prst="roundRect">
          <a:avLst/>
        </a:prstGeom>
        <a:solidFill>
          <a:schemeClr val="accent1">
            <a:shade val="80000"/>
            <a:hueOff val="204164"/>
            <a:satOff val="-2928"/>
            <a:lumOff val="17077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lvl="0" algn="ctr" defTabSz="1066800" latinLnBrk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ko-KR" altLang="en-US" sz="2400" kern="1200" dirty="0" smtClean="0"/>
            <a:t>경영운영</a:t>
          </a:r>
          <a:endParaRPr lang="en-US" altLang="ko-KR" sz="2400" kern="1200" dirty="0" smtClean="0"/>
        </a:p>
        <a:p>
          <a:pPr lvl="0" algn="ctr" defTabSz="1066800" latinLnBrk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ko-KR" altLang="en-US" sz="2400" kern="1200" dirty="0" smtClean="0"/>
            <a:t>효율화 </a:t>
          </a:r>
          <a:endParaRPr lang="ko-KR" altLang="en-US" sz="2400" kern="1200" dirty="0"/>
        </a:p>
      </dsp:txBody>
      <dsp:txXfrm>
        <a:off x="1602523" y="2681454"/>
        <a:ext cx="1767039" cy="1767039"/>
      </dsp:txXfrm>
    </dsp:sp>
    <dsp:sp modelId="{636F6544-720A-44ED-9500-0D87F3CA4797}">
      <dsp:nvSpPr>
        <dsp:cNvPr id="0" name=""/>
        <dsp:cNvSpPr/>
      </dsp:nvSpPr>
      <dsp:spPr>
        <a:xfrm>
          <a:off x="3615787" y="2585861"/>
          <a:ext cx="1958225" cy="1958225"/>
        </a:xfrm>
        <a:prstGeom prst="roundRect">
          <a:avLst/>
        </a:prstGeom>
        <a:solidFill>
          <a:schemeClr val="accent1">
            <a:shade val="80000"/>
            <a:hueOff val="306246"/>
            <a:satOff val="-4392"/>
            <a:lumOff val="25615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lvl="0" algn="ctr" defTabSz="1066800" latinLnBrk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ko-KR" altLang="en-US" sz="2400" kern="1200" dirty="0" smtClean="0"/>
            <a:t>맞춤형 </a:t>
          </a:r>
          <a:endParaRPr lang="en-US" altLang="ko-KR" sz="2400" kern="1200" dirty="0" smtClean="0"/>
        </a:p>
        <a:p>
          <a:pPr lvl="0" algn="ctr" defTabSz="1066800" latinLnBrk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ko-KR" altLang="en-US" sz="2400" kern="1200" dirty="0" smtClean="0"/>
            <a:t>고객관리  </a:t>
          </a:r>
          <a:endParaRPr lang="ko-KR" altLang="en-US" sz="2400" kern="1200" dirty="0"/>
        </a:p>
      </dsp:txBody>
      <dsp:txXfrm>
        <a:off x="3711380" y="2681454"/>
        <a:ext cx="1767039" cy="1767039"/>
      </dsp:txXfrm>
    </dsp:sp>
  </dsp:spTree>
</dsp:drawing>
</file>

<file path=ppt/diagrams/drawing1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7C9D3BA-5BA1-40F0-8A60-603C11465777}">
      <dsp:nvSpPr>
        <dsp:cNvPr id="0" name=""/>
        <dsp:cNvSpPr/>
      </dsp:nvSpPr>
      <dsp:spPr>
        <a:xfrm>
          <a:off x="615" y="140266"/>
          <a:ext cx="2399971" cy="1439982"/>
        </a:xfrm>
        <a:prstGeom prst="rect">
          <a:avLst/>
        </a:prstGeom>
        <a:solidFill>
          <a:schemeClr val="accent1">
            <a:shade val="50000"/>
            <a:hueOff val="0"/>
            <a:satOff val="0"/>
            <a:lumOff val="0"/>
            <a:alphaOff val="0"/>
          </a:schemeClr>
        </a:solidFill>
        <a:ln>
          <a:noFill/>
        </a:ln>
        <a:effectLst/>
        <a:sp3d extrusionH="381000" contourW="38100" prstMaterial="matte">
          <a:contourClr>
            <a:schemeClr val="lt1"/>
          </a:contourClr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lvl="0" algn="ctr" defTabSz="889000" latinLnBrk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ko-KR" altLang="en-US" sz="2000" b="1" i="1" kern="1200" dirty="0" smtClean="0">
              <a:solidFill>
                <a:schemeClr val="bg1"/>
              </a:solidFill>
            </a:rPr>
            <a:t>수익제고 </a:t>
          </a:r>
          <a:endParaRPr lang="ko-KR" altLang="en-US" sz="2000" b="1" i="1" kern="1200" dirty="0">
            <a:solidFill>
              <a:schemeClr val="bg1"/>
            </a:solidFill>
          </a:endParaRPr>
        </a:p>
      </dsp:txBody>
      <dsp:txXfrm>
        <a:off x="615" y="140266"/>
        <a:ext cx="2399971" cy="1439982"/>
      </dsp:txXfrm>
    </dsp:sp>
    <dsp:sp modelId="{570CF9B0-5408-479A-83A8-C5695C0EA74A}">
      <dsp:nvSpPr>
        <dsp:cNvPr id="0" name=""/>
        <dsp:cNvSpPr/>
      </dsp:nvSpPr>
      <dsp:spPr>
        <a:xfrm>
          <a:off x="2640583" y="140266"/>
          <a:ext cx="2399971" cy="1439982"/>
        </a:xfrm>
        <a:prstGeom prst="rect">
          <a:avLst/>
        </a:prstGeom>
        <a:solidFill>
          <a:schemeClr val="accent1">
            <a:shade val="50000"/>
            <a:hueOff val="120479"/>
            <a:satOff val="-2520"/>
            <a:lumOff val="14021"/>
            <a:alphaOff val="0"/>
          </a:schemeClr>
        </a:solidFill>
        <a:ln>
          <a:noFill/>
        </a:ln>
        <a:effectLst/>
        <a:sp3d extrusionH="381000" contourW="38100" prstMaterial="matte">
          <a:contourClr>
            <a:schemeClr val="lt1"/>
          </a:contourClr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ctr" defTabSz="800100" latinLnBrk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ko-KR" altLang="en-US" sz="1800" b="1" i="1" kern="1200" dirty="0">
              <a:solidFill>
                <a:schemeClr val="tx1"/>
              </a:solidFill>
            </a:rPr>
            <a:t>리스크 관리</a:t>
          </a:r>
        </a:p>
      </dsp:txBody>
      <dsp:txXfrm>
        <a:off x="2640583" y="140266"/>
        <a:ext cx="2399971" cy="1439982"/>
      </dsp:txXfrm>
    </dsp:sp>
    <dsp:sp modelId="{20FD20D8-E5C8-4D39-9552-03327033DC14}">
      <dsp:nvSpPr>
        <dsp:cNvPr id="0" name=""/>
        <dsp:cNvSpPr/>
      </dsp:nvSpPr>
      <dsp:spPr>
        <a:xfrm>
          <a:off x="615" y="1820246"/>
          <a:ext cx="2399971" cy="1439982"/>
        </a:xfrm>
        <a:prstGeom prst="rect">
          <a:avLst/>
        </a:prstGeom>
        <a:solidFill>
          <a:schemeClr val="accent1">
            <a:shade val="50000"/>
            <a:hueOff val="240958"/>
            <a:satOff val="-5040"/>
            <a:lumOff val="28042"/>
            <a:alphaOff val="0"/>
          </a:schemeClr>
        </a:solidFill>
        <a:ln>
          <a:noFill/>
        </a:ln>
        <a:effectLst/>
        <a:sp3d extrusionH="381000" contourW="38100" prstMaterial="matte">
          <a:contourClr>
            <a:schemeClr val="lt1"/>
          </a:contourClr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ctr" defTabSz="800100" latinLnBrk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ko-KR" altLang="en-US" sz="1800" b="1" i="1" kern="1200" dirty="0" smtClean="0">
              <a:solidFill>
                <a:schemeClr val="tx1"/>
              </a:solidFill>
            </a:rPr>
            <a:t>시간 </a:t>
          </a:r>
          <a:r>
            <a:rPr lang="en-US" altLang="ko-KR" sz="1800" b="1" i="1" kern="1200" dirty="0" smtClean="0">
              <a:solidFill>
                <a:schemeClr val="tx1"/>
              </a:solidFill>
            </a:rPr>
            <a:t>/</a:t>
          </a:r>
          <a:r>
            <a:rPr lang="ko-KR" altLang="en-US" sz="1800" b="1" i="1" kern="1200" dirty="0" smtClean="0">
              <a:solidFill>
                <a:schemeClr val="tx1"/>
              </a:solidFill>
            </a:rPr>
            <a:t>비용감소 </a:t>
          </a:r>
          <a:endParaRPr lang="ko-KR" altLang="en-US" sz="1800" b="1" i="1" kern="1200" dirty="0">
            <a:solidFill>
              <a:schemeClr val="tx1"/>
            </a:solidFill>
          </a:endParaRPr>
        </a:p>
      </dsp:txBody>
      <dsp:txXfrm>
        <a:off x="615" y="1820246"/>
        <a:ext cx="2399971" cy="1439982"/>
      </dsp:txXfrm>
    </dsp:sp>
    <dsp:sp modelId="{437D9D72-4DEB-4B8A-B524-227FDF19423A}">
      <dsp:nvSpPr>
        <dsp:cNvPr id="0" name=""/>
        <dsp:cNvSpPr/>
      </dsp:nvSpPr>
      <dsp:spPr>
        <a:xfrm>
          <a:off x="2640583" y="1820246"/>
          <a:ext cx="2399971" cy="1439982"/>
        </a:xfrm>
        <a:prstGeom prst="rect">
          <a:avLst/>
        </a:prstGeom>
        <a:solidFill>
          <a:srgbClr val="FFC000"/>
        </a:solidFill>
        <a:ln>
          <a:noFill/>
        </a:ln>
        <a:effectLst/>
        <a:sp3d extrusionH="381000" contourW="38100" prstMaterial="matte">
          <a:contourClr>
            <a:schemeClr val="lt1"/>
          </a:contourClr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94310" tIns="194310" rIns="194310" bIns="194310" numCol="1" spcCol="1270" anchor="ctr" anchorCtr="0">
          <a:noAutofit/>
        </a:bodyPr>
        <a:lstStyle/>
        <a:p>
          <a:pPr lvl="0" algn="ctr" defTabSz="2266950" latinLnBrk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altLang="ko-KR" sz="5100" kern="1200" dirty="0" smtClean="0">
              <a:solidFill>
                <a:schemeClr val="tx1"/>
              </a:solidFill>
            </a:rPr>
            <a:t>M&amp;A</a:t>
          </a:r>
          <a:endParaRPr lang="ko-KR" altLang="en-US" sz="5100" kern="1200" dirty="0">
            <a:solidFill>
              <a:schemeClr val="tx1"/>
            </a:solidFill>
          </a:endParaRPr>
        </a:p>
      </dsp:txBody>
      <dsp:txXfrm>
        <a:off x="2640583" y="1820246"/>
        <a:ext cx="2399971" cy="1439982"/>
      </dsp:txXfrm>
    </dsp:sp>
    <dsp:sp modelId="{6DF7DCBC-0630-4C84-B544-38A29CB136AB}">
      <dsp:nvSpPr>
        <dsp:cNvPr id="0" name=""/>
        <dsp:cNvSpPr/>
      </dsp:nvSpPr>
      <dsp:spPr>
        <a:xfrm>
          <a:off x="0" y="3421286"/>
          <a:ext cx="2399971" cy="1439982"/>
        </a:xfrm>
        <a:prstGeom prst="rect">
          <a:avLst/>
        </a:prstGeom>
        <a:solidFill>
          <a:schemeClr val="accent2">
            <a:lumMod val="20000"/>
            <a:lumOff val="80000"/>
          </a:schemeClr>
        </a:solidFill>
        <a:ln>
          <a:noFill/>
        </a:ln>
        <a:effectLst/>
        <a:sp3d extrusionH="381000" contourW="38100" prstMaterial="matte">
          <a:contourClr>
            <a:schemeClr val="lt1"/>
          </a:contourClr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ctr" defTabSz="800100" latinLnBrk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ko-KR" altLang="en-US" sz="1800" b="1" i="1" kern="1200" dirty="0" smtClean="0">
              <a:solidFill>
                <a:schemeClr val="tx1"/>
              </a:solidFill>
            </a:rPr>
            <a:t>투자  지속 경제성</a:t>
          </a:r>
          <a:endParaRPr lang="en-US" altLang="ko-KR" sz="1800" b="1" i="1" kern="1200" dirty="0" smtClean="0">
            <a:solidFill>
              <a:schemeClr val="tx1"/>
            </a:solidFill>
          </a:endParaRPr>
        </a:p>
      </dsp:txBody>
      <dsp:txXfrm>
        <a:off x="0" y="3421286"/>
        <a:ext cx="2399971" cy="1439982"/>
      </dsp:txXfrm>
    </dsp:sp>
    <dsp:sp modelId="{2C8C43BD-4037-4C93-96D9-F0EB6A72AB55}">
      <dsp:nvSpPr>
        <dsp:cNvPr id="0" name=""/>
        <dsp:cNvSpPr/>
      </dsp:nvSpPr>
      <dsp:spPr>
        <a:xfrm>
          <a:off x="2522816" y="3640492"/>
          <a:ext cx="2399971" cy="1439982"/>
        </a:xfrm>
        <a:prstGeom prst="rect">
          <a:avLst/>
        </a:prstGeom>
        <a:solidFill>
          <a:srgbClr val="FF0000"/>
        </a:solidFill>
        <a:ln>
          <a:noFill/>
        </a:ln>
        <a:effectLst/>
        <a:sp3d extrusionH="381000" contourW="38100" prstMaterial="matte">
          <a:contourClr>
            <a:schemeClr val="lt1"/>
          </a:contourClr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lvl="0" algn="ctr" defTabSz="1066800" latinLnBrk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ko-KR" altLang="en-US" sz="2400" b="1" i="1" kern="1200" dirty="0" smtClean="0">
              <a:solidFill>
                <a:schemeClr val="bg1"/>
              </a:solidFill>
            </a:rPr>
            <a:t>비즈니스 경쟁력  </a:t>
          </a:r>
          <a:endParaRPr lang="ko-KR" altLang="en-US" sz="2400" b="1" i="1" kern="1200" dirty="0">
            <a:solidFill>
              <a:schemeClr val="bg1"/>
            </a:solidFill>
          </a:endParaRPr>
        </a:p>
      </dsp:txBody>
      <dsp:txXfrm>
        <a:off x="2522816" y="3640492"/>
        <a:ext cx="2399971" cy="1439982"/>
      </dsp:txXfrm>
    </dsp:sp>
  </dsp:spTree>
</dsp:drawing>
</file>

<file path=ppt/diagrams/drawing1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F69A787-02E8-466D-8EE4-F5DFCF5F7BCD}">
      <dsp:nvSpPr>
        <dsp:cNvPr id="0" name=""/>
        <dsp:cNvSpPr/>
      </dsp:nvSpPr>
      <dsp:spPr>
        <a:xfrm>
          <a:off x="1354666" y="0"/>
          <a:ext cx="5418667" cy="5418667"/>
        </a:xfrm>
        <a:prstGeom prst="diamond">
          <a:avLst/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B73F88FB-2A4A-4C27-83BB-EAF6F92E9A23}">
      <dsp:nvSpPr>
        <dsp:cNvPr id="0" name=""/>
        <dsp:cNvSpPr/>
      </dsp:nvSpPr>
      <dsp:spPr>
        <a:xfrm>
          <a:off x="1869439" y="514773"/>
          <a:ext cx="2113280" cy="2113280"/>
        </a:xfrm>
        <a:prstGeom prst="roundRect">
          <a:avLst/>
        </a:prstGeom>
        <a:solidFill>
          <a:schemeClr val="accent6">
            <a:lumMod val="75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0010" tIns="80010" rIns="80010" bIns="80010" numCol="1" spcCol="1270" anchor="ctr" anchorCtr="0">
          <a:noAutofit/>
        </a:bodyPr>
        <a:lstStyle/>
        <a:p>
          <a:pPr lvl="0" algn="ctr" defTabSz="933450" latinLnBrk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ko-KR" altLang="en-US" sz="2100" kern="1200" dirty="0" smtClean="0"/>
            <a:t>대내외 데이터 수집</a:t>
          </a:r>
          <a:endParaRPr lang="ko-KR" altLang="en-US" sz="2100" kern="1200" dirty="0"/>
        </a:p>
      </dsp:txBody>
      <dsp:txXfrm>
        <a:off x="1972601" y="617935"/>
        <a:ext cx="1906956" cy="1906956"/>
      </dsp:txXfrm>
    </dsp:sp>
    <dsp:sp modelId="{14EEB99F-D071-4FB2-A8F2-8C73541797A2}">
      <dsp:nvSpPr>
        <dsp:cNvPr id="0" name=""/>
        <dsp:cNvSpPr/>
      </dsp:nvSpPr>
      <dsp:spPr>
        <a:xfrm>
          <a:off x="4145280" y="514773"/>
          <a:ext cx="2113280" cy="2113280"/>
        </a:xfrm>
        <a:prstGeom prst="roundRect">
          <a:avLst/>
        </a:prstGeom>
        <a:solidFill>
          <a:srgbClr val="00206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0010" tIns="80010" rIns="80010" bIns="80010" numCol="1" spcCol="1270" anchor="ctr" anchorCtr="0">
          <a:noAutofit/>
        </a:bodyPr>
        <a:lstStyle/>
        <a:p>
          <a:pPr lvl="0" algn="ctr" defTabSz="933450" latinLnBrk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altLang="ko-KR" sz="2100" kern="1200" dirty="0" smtClean="0"/>
            <a:t>  </a:t>
          </a:r>
          <a:r>
            <a:rPr lang="ko-KR" altLang="en-US" sz="2100" kern="1200" dirty="0" smtClean="0"/>
            <a:t>모든 조직과  의사결정 프로세스내 통합 </a:t>
          </a:r>
          <a:endParaRPr lang="ko-KR" altLang="en-US" sz="2100" kern="1200" dirty="0"/>
        </a:p>
      </dsp:txBody>
      <dsp:txXfrm>
        <a:off x="4248442" y="617935"/>
        <a:ext cx="1906956" cy="1906956"/>
      </dsp:txXfrm>
    </dsp:sp>
    <dsp:sp modelId="{69FB94D6-6F2F-4EBC-83FD-A8235B9A2305}">
      <dsp:nvSpPr>
        <dsp:cNvPr id="0" name=""/>
        <dsp:cNvSpPr/>
      </dsp:nvSpPr>
      <dsp:spPr>
        <a:xfrm>
          <a:off x="1869439" y="2790613"/>
          <a:ext cx="2113280" cy="2113280"/>
        </a:xfrm>
        <a:prstGeom prst="roundRect">
          <a:avLst/>
        </a:prstGeom>
        <a:solidFill>
          <a:srgbClr val="00B05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0010" tIns="80010" rIns="80010" bIns="80010" numCol="1" spcCol="1270" anchor="ctr" anchorCtr="0">
          <a:noAutofit/>
        </a:bodyPr>
        <a:lstStyle/>
        <a:p>
          <a:pPr marL="0" marR="0" lvl="0" indent="0" algn="ctr" defTabSz="914400" eaLnBrk="1" fontAlgn="auto" latinLnBrk="1" hangingPunct="1">
            <a:lnSpc>
              <a:spcPct val="100000"/>
            </a:lnSpc>
            <a:spcBef>
              <a:spcPct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en-US" altLang="ko-KR" sz="2100" kern="1200" dirty="0" smtClean="0"/>
            <a:t>MIS </a:t>
          </a:r>
          <a:endParaRPr lang="ko-KR" altLang="en-US" sz="2100" kern="1200" dirty="0" smtClean="0"/>
        </a:p>
        <a:p>
          <a:pPr lvl="0" algn="ctr" defTabSz="1111250" latinLnBrk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ko-KR" altLang="en-US" sz="2100" kern="1200" dirty="0"/>
        </a:p>
      </dsp:txBody>
      <dsp:txXfrm>
        <a:off x="1972601" y="2893775"/>
        <a:ext cx="1906956" cy="1906956"/>
      </dsp:txXfrm>
    </dsp:sp>
    <dsp:sp modelId="{1E8FA470-2EEA-443E-99F4-B5127B5504C5}">
      <dsp:nvSpPr>
        <dsp:cNvPr id="0" name=""/>
        <dsp:cNvSpPr/>
      </dsp:nvSpPr>
      <dsp:spPr>
        <a:xfrm>
          <a:off x="4145280" y="2790613"/>
          <a:ext cx="2113280" cy="211328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0010" tIns="80010" rIns="80010" bIns="80010" numCol="1" spcCol="1270" anchor="ctr" anchorCtr="0">
          <a:noAutofit/>
        </a:bodyPr>
        <a:lstStyle/>
        <a:p>
          <a:pPr lvl="0" algn="ctr" defTabSz="933450" latinLnBrk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altLang="ko-KR" sz="2100" kern="1200" dirty="0" smtClean="0"/>
            <a:t>AI </a:t>
          </a:r>
          <a:r>
            <a:rPr lang="ko-KR" altLang="en-US" sz="2100" kern="1200" dirty="0" smtClean="0"/>
            <a:t>적용</a:t>
          </a:r>
          <a:r>
            <a:rPr lang="en-US" altLang="ko-KR" sz="2100" kern="1200" dirty="0" smtClean="0"/>
            <a:t> </a:t>
          </a:r>
          <a:r>
            <a:rPr lang="ko-KR" altLang="en-US" sz="2100" kern="1200" dirty="0" smtClean="0"/>
            <a:t>성과 평가 </a:t>
          </a:r>
          <a:endParaRPr lang="ko-KR" altLang="en-US" sz="2100" kern="1200" dirty="0"/>
        </a:p>
      </dsp:txBody>
      <dsp:txXfrm>
        <a:off x="4248442" y="2893775"/>
        <a:ext cx="1906956" cy="1906956"/>
      </dsp:txXfrm>
    </dsp:sp>
  </dsp:spTree>
</dsp:drawing>
</file>

<file path=ppt/diagrams/drawing1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194766E-85F3-40D1-B70B-33BF2132D925}">
      <dsp:nvSpPr>
        <dsp:cNvPr id="0" name=""/>
        <dsp:cNvSpPr/>
      </dsp:nvSpPr>
      <dsp:spPr>
        <a:xfrm>
          <a:off x="2413241" y="585415"/>
          <a:ext cx="3904517" cy="3904517"/>
        </a:xfrm>
        <a:prstGeom prst="blockArc">
          <a:avLst>
            <a:gd name="adj1" fmla="val 10800000"/>
            <a:gd name="adj2" fmla="val 16200000"/>
            <a:gd name="adj3" fmla="val 4639"/>
          </a:avLst>
        </a:prstGeom>
        <a:solidFill>
          <a:schemeClr val="accent5"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EC16D23A-7AF3-46D3-BCCC-EB0332359D9A}">
      <dsp:nvSpPr>
        <dsp:cNvPr id="0" name=""/>
        <dsp:cNvSpPr/>
      </dsp:nvSpPr>
      <dsp:spPr>
        <a:xfrm>
          <a:off x="2413241" y="585415"/>
          <a:ext cx="3904517" cy="3904517"/>
        </a:xfrm>
        <a:prstGeom prst="blockArc">
          <a:avLst>
            <a:gd name="adj1" fmla="val 5400000"/>
            <a:gd name="adj2" fmla="val 10800000"/>
            <a:gd name="adj3" fmla="val 4639"/>
          </a:avLst>
        </a:prstGeom>
        <a:solidFill>
          <a:schemeClr val="accent4"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177B4673-B7DC-4A44-88A4-1097522D2FDB}">
      <dsp:nvSpPr>
        <dsp:cNvPr id="0" name=""/>
        <dsp:cNvSpPr/>
      </dsp:nvSpPr>
      <dsp:spPr>
        <a:xfrm>
          <a:off x="2413241" y="585415"/>
          <a:ext cx="3904517" cy="3904517"/>
        </a:xfrm>
        <a:prstGeom prst="blockArc">
          <a:avLst>
            <a:gd name="adj1" fmla="val 0"/>
            <a:gd name="adj2" fmla="val 5400000"/>
            <a:gd name="adj3" fmla="val 4639"/>
          </a:avLst>
        </a:prstGeom>
        <a:solidFill>
          <a:schemeClr val="accent3"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72CBF231-9553-4A05-9F3C-870905086DF0}">
      <dsp:nvSpPr>
        <dsp:cNvPr id="0" name=""/>
        <dsp:cNvSpPr/>
      </dsp:nvSpPr>
      <dsp:spPr>
        <a:xfrm>
          <a:off x="2413241" y="585415"/>
          <a:ext cx="3904517" cy="3904517"/>
        </a:xfrm>
        <a:prstGeom prst="blockArc">
          <a:avLst>
            <a:gd name="adj1" fmla="val 16200000"/>
            <a:gd name="adj2" fmla="val 0"/>
            <a:gd name="adj3" fmla="val 4639"/>
          </a:avLst>
        </a:prstGeom>
        <a:solidFill>
          <a:schemeClr val="accent2"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78AFB8C2-B0A3-4726-9670-7C7EB8A8113B}">
      <dsp:nvSpPr>
        <dsp:cNvPr id="0" name=""/>
        <dsp:cNvSpPr/>
      </dsp:nvSpPr>
      <dsp:spPr>
        <a:xfrm>
          <a:off x="3467034" y="1639207"/>
          <a:ext cx="1796932" cy="1796932"/>
        </a:xfrm>
        <a:prstGeom prst="ellipse">
          <a:avLst/>
        </a:prstGeom>
        <a:solidFill>
          <a:srgbClr val="0070C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1750" tIns="31750" rIns="31750" bIns="31750" numCol="1" spcCol="1270" anchor="ctr" anchorCtr="0">
          <a:noAutofit/>
        </a:bodyPr>
        <a:lstStyle/>
        <a:p>
          <a:pPr lvl="0" algn="ctr" defTabSz="1111250" latinLnBrk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ko-KR" altLang="en-US" sz="2500" kern="1200" dirty="0"/>
            <a:t>공동 </a:t>
          </a:r>
          <a:endParaRPr lang="en-US" altLang="ko-KR" sz="2500" kern="1200" dirty="0"/>
        </a:p>
        <a:p>
          <a:pPr lvl="0" algn="ctr" defTabSz="1111250" latinLnBrk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ko-KR" altLang="en-US" sz="2500" kern="1200" dirty="0"/>
            <a:t>활용 </a:t>
          </a:r>
        </a:p>
      </dsp:txBody>
      <dsp:txXfrm>
        <a:off x="3730189" y="1902362"/>
        <a:ext cx="1270622" cy="1270622"/>
      </dsp:txXfrm>
    </dsp:sp>
    <dsp:sp modelId="{C4ADA477-43E7-471E-BDE8-E2F5B30E9905}">
      <dsp:nvSpPr>
        <dsp:cNvPr id="0" name=""/>
        <dsp:cNvSpPr/>
      </dsp:nvSpPr>
      <dsp:spPr>
        <a:xfrm>
          <a:off x="3736574" y="1771"/>
          <a:ext cx="1257852" cy="1257852"/>
        </a:xfrm>
        <a:prstGeom prst="ellipse">
          <a:avLst/>
        </a:prstGeom>
        <a:solidFill>
          <a:srgbClr val="FF000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4130" tIns="24130" rIns="24130" bIns="24130" numCol="1" spcCol="1270" anchor="ctr" anchorCtr="0">
          <a:noAutofit/>
        </a:bodyPr>
        <a:lstStyle/>
        <a:p>
          <a:pPr lvl="0" algn="ctr" defTabSz="844550" latinLnBrk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altLang="ko-KR" sz="1900" kern="1200" dirty="0"/>
            <a:t>R&amp;D </a:t>
          </a:r>
          <a:endParaRPr lang="ko-KR" altLang="en-US" sz="1900" kern="1200" dirty="0"/>
        </a:p>
      </dsp:txBody>
      <dsp:txXfrm>
        <a:off x="3920782" y="185979"/>
        <a:ext cx="889436" cy="889436"/>
      </dsp:txXfrm>
    </dsp:sp>
    <dsp:sp modelId="{E76C41B8-1B67-475E-9A60-BEB8DF177F38}">
      <dsp:nvSpPr>
        <dsp:cNvPr id="0" name=""/>
        <dsp:cNvSpPr/>
      </dsp:nvSpPr>
      <dsp:spPr>
        <a:xfrm>
          <a:off x="5643550" y="1908747"/>
          <a:ext cx="1257852" cy="1257852"/>
        </a:xfrm>
        <a:prstGeom prst="ellipse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4130" tIns="24130" rIns="24130" bIns="24130" numCol="1" spcCol="1270" anchor="ctr" anchorCtr="0">
          <a:noAutofit/>
        </a:bodyPr>
        <a:lstStyle/>
        <a:p>
          <a:pPr lvl="0" algn="ctr" defTabSz="844550" latinLnBrk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ko-KR" altLang="en-US" sz="1900" kern="1200" dirty="0"/>
            <a:t>컨설팅</a:t>
          </a:r>
          <a:r>
            <a:rPr lang="en-US" altLang="ko-KR" sz="1900" kern="1200" dirty="0"/>
            <a:t>/</a:t>
          </a:r>
          <a:r>
            <a:rPr lang="ko-KR" altLang="en-US" sz="1900" kern="1200" dirty="0"/>
            <a:t>교육 </a:t>
          </a:r>
        </a:p>
      </dsp:txBody>
      <dsp:txXfrm>
        <a:off x="5827758" y="2092955"/>
        <a:ext cx="889436" cy="889436"/>
      </dsp:txXfrm>
    </dsp:sp>
    <dsp:sp modelId="{3261E6CE-1056-474E-A6AC-273E528FED1E}">
      <dsp:nvSpPr>
        <dsp:cNvPr id="0" name=""/>
        <dsp:cNvSpPr/>
      </dsp:nvSpPr>
      <dsp:spPr>
        <a:xfrm>
          <a:off x="3736574" y="3815723"/>
          <a:ext cx="1257852" cy="1257852"/>
        </a:xfrm>
        <a:prstGeom prst="ellipse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4130" tIns="24130" rIns="24130" bIns="24130" numCol="1" spcCol="1270" anchor="ctr" anchorCtr="0">
          <a:noAutofit/>
        </a:bodyPr>
        <a:lstStyle/>
        <a:p>
          <a:pPr lvl="0" algn="ctr" defTabSz="844550" latinLnBrk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ko-KR" altLang="en-US" sz="1900" kern="1200" dirty="0"/>
            <a:t>성공사례</a:t>
          </a:r>
          <a:r>
            <a:rPr lang="en-US" altLang="ko-KR" sz="1900" kern="1200" dirty="0"/>
            <a:t> </a:t>
          </a:r>
          <a:r>
            <a:rPr lang="ko-KR" altLang="en-US" sz="1900" kern="1200" dirty="0"/>
            <a:t>공유 </a:t>
          </a:r>
        </a:p>
      </dsp:txBody>
      <dsp:txXfrm>
        <a:off x="3920782" y="3999931"/>
        <a:ext cx="889436" cy="889436"/>
      </dsp:txXfrm>
    </dsp:sp>
    <dsp:sp modelId="{ED99553B-0A46-4880-9C21-6EF644FD40C8}">
      <dsp:nvSpPr>
        <dsp:cNvPr id="0" name=""/>
        <dsp:cNvSpPr/>
      </dsp:nvSpPr>
      <dsp:spPr>
        <a:xfrm>
          <a:off x="1829598" y="1908747"/>
          <a:ext cx="1257852" cy="1257852"/>
        </a:xfrm>
        <a:prstGeom prst="ellipse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4130" tIns="24130" rIns="24130" bIns="24130" numCol="1" spcCol="1270" anchor="ctr" anchorCtr="0">
          <a:noAutofit/>
        </a:bodyPr>
        <a:lstStyle/>
        <a:p>
          <a:pPr lvl="0" algn="ctr" defTabSz="844550" latinLnBrk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ko-KR" altLang="en-US" sz="1900" kern="1200" dirty="0"/>
            <a:t>구매 </a:t>
          </a:r>
        </a:p>
      </dsp:txBody>
      <dsp:txXfrm>
        <a:off x="2013806" y="2092955"/>
        <a:ext cx="889436" cy="889436"/>
      </dsp:txXfrm>
    </dsp:sp>
  </dsp:spTree>
</dsp:drawing>
</file>

<file path=ppt/diagrams/drawing1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3354B5E-545C-4E41-9ABA-D027F433D980}">
      <dsp:nvSpPr>
        <dsp:cNvPr id="0" name=""/>
        <dsp:cNvSpPr/>
      </dsp:nvSpPr>
      <dsp:spPr>
        <a:xfrm>
          <a:off x="4448353" y="599"/>
          <a:ext cx="1239847" cy="1239847"/>
        </a:xfrm>
        <a:prstGeom prst="ellipse">
          <a:avLst/>
        </a:prstGeom>
        <a:solidFill>
          <a:schemeClr val="accent1">
            <a:shade val="5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0320" tIns="20320" rIns="20320" bIns="20320" numCol="1" spcCol="1270" anchor="ctr" anchorCtr="0">
          <a:noAutofit/>
        </a:bodyPr>
        <a:lstStyle/>
        <a:p>
          <a:pPr lvl="0" algn="ctr" defTabSz="711200" latinLnBrk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ko-KR" altLang="en-US" sz="1600" kern="1200" dirty="0" smtClean="0"/>
            <a:t>성공사례 탐구 </a:t>
          </a:r>
          <a:endParaRPr lang="ko-KR" altLang="en-US" sz="1600" kern="1200" dirty="0"/>
        </a:p>
      </dsp:txBody>
      <dsp:txXfrm>
        <a:off x="4629924" y="182170"/>
        <a:ext cx="876705" cy="876705"/>
      </dsp:txXfrm>
    </dsp:sp>
    <dsp:sp modelId="{8FCE1B19-4435-4508-B2AD-12DE6E16E317}">
      <dsp:nvSpPr>
        <dsp:cNvPr id="0" name=""/>
        <dsp:cNvSpPr/>
      </dsp:nvSpPr>
      <dsp:spPr>
        <a:xfrm rot="2160000">
          <a:off x="5649129" y="953215"/>
          <a:ext cx="330065" cy="418448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shade val="9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711200" latinLnBrk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ko-KR" altLang="en-US" sz="1600" kern="1200"/>
        </a:p>
      </dsp:txBody>
      <dsp:txXfrm>
        <a:off x="5658584" y="1007804"/>
        <a:ext cx="231046" cy="251068"/>
      </dsp:txXfrm>
    </dsp:sp>
    <dsp:sp modelId="{BADD34A3-75CD-4CA2-BE88-6B6ED250A385}">
      <dsp:nvSpPr>
        <dsp:cNvPr id="0" name=""/>
        <dsp:cNvSpPr/>
      </dsp:nvSpPr>
      <dsp:spPr>
        <a:xfrm>
          <a:off x="5955238" y="1095414"/>
          <a:ext cx="1239847" cy="1239847"/>
        </a:xfrm>
        <a:prstGeom prst="ellipse">
          <a:avLst/>
        </a:prstGeom>
        <a:solidFill>
          <a:schemeClr val="accent1">
            <a:shade val="50000"/>
            <a:hueOff val="144575"/>
            <a:satOff val="-3024"/>
            <a:lumOff val="16825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0320" tIns="20320" rIns="20320" bIns="20320" numCol="1" spcCol="1270" anchor="ctr" anchorCtr="0">
          <a:noAutofit/>
        </a:bodyPr>
        <a:lstStyle/>
        <a:p>
          <a:pPr marL="0" marR="0" lvl="0" indent="0" algn="ctr" defTabSz="914400" eaLnBrk="1" fontAlgn="auto" latinLnBrk="1" hangingPunct="1">
            <a:lnSpc>
              <a:spcPct val="100000"/>
            </a:lnSpc>
            <a:spcBef>
              <a:spcPct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ko-KR" altLang="en-US" sz="1600" kern="1200" dirty="0" smtClean="0"/>
            <a:t>정부 지원 탐구 </a:t>
          </a:r>
        </a:p>
        <a:p>
          <a:pPr lvl="0" algn="ctr" latinLnBrk="1">
            <a:spcBef>
              <a:spcPct val="0"/>
            </a:spcBef>
          </a:pPr>
          <a:endParaRPr lang="ko-KR" altLang="en-US" sz="1600" kern="1200" dirty="0"/>
        </a:p>
      </dsp:txBody>
      <dsp:txXfrm>
        <a:off x="6136809" y="1276985"/>
        <a:ext cx="876705" cy="876705"/>
      </dsp:txXfrm>
    </dsp:sp>
    <dsp:sp modelId="{68F7DD61-30D0-4B62-8996-03E33F5B2836}">
      <dsp:nvSpPr>
        <dsp:cNvPr id="0" name=""/>
        <dsp:cNvSpPr/>
      </dsp:nvSpPr>
      <dsp:spPr>
        <a:xfrm rot="6480000">
          <a:off x="6125226" y="2382954"/>
          <a:ext cx="330065" cy="418448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shade val="90000"/>
            <a:hueOff val="150045"/>
            <a:satOff val="-2771"/>
            <a:lumOff val="12851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711200" latinLnBrk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ko-KR" altLang="en-US" sz="1600" kern="1200"/>
        </a:p>
      </dsp:txBody>
      <dsp:txXfrm rot="10800000">
        <a:off x="6190035" y="2419558"/>
        <a:ext cx="231046" cy="251068"/>
      </dsp:txXfrm>
    </dsp:sp>
    <dsp:sp modelId="{9CBEBF81-C1C0-492B-AC17-08CE02096B99}">
      <dsp:nvSpPr>
        <dsp:cNvPr id="0" name=""/>
        <dsp:cNvSpPr/>
      </dsp:nvSpPr>
      <dsp:spPr>
        <a:xfrm>
          <a:off x="5379659" y="2866863"/>
          <a:ext cx="1239847" cy="1239847"/>
        </a:xfrm>
        <a:prstGeom prst="ellipse">
          <a:avLst/>
        </a:prstGeom>
        <a:solidFill>
          <a:schemeClr val="accent1">
            <a:shade val="50000"/>
            <a:hueOff val="289149"/>
            <a:satOff val="-6048"/>
            <a:lumOff val="3365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0320" tIns="20320" rIns="20320" bIns="20320" numCol="1" spcCol="1270" anchor="ctr" anchorCtr="0">
          <a:noAutofit/>
        </a:bodyPr>
        <a:lstStyle/>
        <a:p>
          <a:pPr marL="0" marR="0" lvl="0" indent="0" algn="ctr" defTabSz="622300" eaLnBrk="1" fontAlgn="auto" latinLnBrk="1" hangingPunct="1">
            <a:lnSpc>
              <a:spcPct val="90000"/>
            </a:lnSpc>
            <a:spcBef>
              <a:spcPct val="0"/>
            </a:spcBef>
            <a:spcAft>
              <a:spcPct val="35000"/>
            </a:spcAft>
            <a:buClrTx/>
            <a:buSzTx/>
            <a:buFontTx/>
            <a:buNone/>
            <a:tabLst/>
            <a:defRPr/>
          </a:pPr>
          <a:r>
            <a:rPr lang="ko-KR" altLang="en-US" sz="1600" kern="1200" dirty="0" err="1" smtClean="0"/>
            <a:t>협단체</a:t>
          </a:r>
          <a:r>
            <a:rPr lang="ko-KR" altLang="en-US" sz="1600" kern="1200" dirty="0" smtClean="0"/>
            <a:t> 통한  </a:t>
          </a:r>
          <a:r>
            <a:rPr lang="ko-KR" altLang="en-US" sz="1600" kern="1200" dirty="0" err="1" smtClean="0"/>
            <a:t>기업공동</a:t>
          </a:r>
          <a:r>
            <a:rPr lang="en-US" altLang="ko-KR" sz="1600" kern="1200" dirty="0" smtClean="0"/>
            <a:t> </a:t>
          </a:r>
          <a:r>
            <a:rPr lang="ko-KR" altLang="en-US" sz="1600" kern="1200" dirty="0" smtClean="0"/>
            <a:t>제안 </a:t>
          </a:r>
        </a:p>
        <a:p>
          <a:pPr lvl="0" algn="ctr" defTabSz="622300" latinLnBrk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ko-KR" altLang="en-US" sz="1600" kern="1200" dirty="0"/>
        </a:p>
      </dsp:txBody>
      <dsp:txXfrm>
        <a:off x="5561230" y="3048434"/>
        <a:ext cx="876705" cy="876705"/>
      </dsp:txXfrm>
    </dsp:sp>
    <dsp:sp modelId="{A90880D2-8FC5-40CF-9DDC-0DF657D5F5FB}">
      <dsp:nvSpPr>
        <dsp:cNvPr id="0" name=""/>
        <dsp:cNvSpPr/>
      </dsp:nvSpPr>
      <dsp:spPr>
        <a:xfrm rot="10800000">
          <a:off x="4912586" y="3277562"/>
          <a:ext cx="330065" cy="418448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shade val="90000"/>
            <a:hueOff val="300089"/>
            <a:satOff val="-5542"/>
            <a:lumOff val="25702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711200" latinLnBrk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ko-KR" altLang="en-US" sz="1600" kern="1200"/>
        </a:p>
      </dsp:txBody>
      <dsp:txXfrm rot="10800000">
        <a:off x="5011605" y="3361252"/>
        <a:ext cx="231046" cy="251068"/>
      </dsp:txXfrm>
    </dsp:sp>
    <dsp:sp modelId="{14894E34-DA92-4EAE-B8DF-BF8424E4A405}">
      <dsp:nvSpPr>
        <dsp:cNvPr id="0" name=""/>
        <dsp:cNvSpPr/>
      </dsp:nvSpPr>
      <dsp:spPr>
        <a:xfrm>
          <a:off x="3517048" y="2866863"/>
          <a:ext cx="1239847" cy="1239847"/>
        </a:xfrm>
        <a:prstGeom prst="ellipse">
          <a:avLst/>
        </a:prstGeom>
        <a:solidFill>
          <a:schemeClr val="accent1">
            <a:shade val="50000"/>
            <a:hueOff val="289149"/>
            <a:satOff val="-6048"/>
            <a:lumOff val="3365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0320" tIns="20320" rIns="20320" bIns="20320" numCol="1" spcCol="1270" anchor="ctr" anchorCtr="0">
          <a:noAutofit/>
        </a:bodyPr>
        <a:lstStyle/>
        <a:p>
          <a:pPr lvl="0" algn="ctr" defTabSz="711200" latinLnBrk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altLang="ko-KR" sz="1600" kern="1200" dirty="0" smtClean="0"/>
            <a:t>AI SW</a:t>
          </a:r>
          <a:r>
            <a:rPr lang="ko-KR" altLang="en-US" sz="1600" kern="1200" dirty="0" smtClean="0"/>
            <a:t> 기업과</a:t>
          </a:r>
          <a:r>
            <a:rPr lang="en-US" altLang="ko-KR" sz="1600" kern="1200" dirty="0" smtClean="0"/>
            <a:t> </a:t>
          </a:r>
          <a:r>
            <a:rPr lang="ko-KR" altLang="en-US" sz="1600" kern="1200" dirty="0" smtClean="0"/>
            <a:t>공동 제안 </a:t>
          </a:r>
          <a:endParaRPr lang="ko-KR" altLang="en-US" sz="1600" kern="1200" dirty="0"/>
        </a:p>
      </dsp:txBody>
      <dsp:txXfrm>
        <a:off x="3698619" y="3048434"/>
        <a:ext cx="876705" cy="876705"/>
      </dsp:txXfrm>
    </dsp:sp>
    <dsp:sp modelId="{054CC715-37F3-4CDC-94FD-F284109EAACA}">
      <dsp:nvSpPr>
        <dsp:cNvPr id="0" name=""/>
        <dsp:cNvSpPr/>
      </dsp:nvSpPr>
      <dsp:spPr>
        <a:xfrm rot="15120000">
          <a:off x="3687036" y="2400722"/>
          <a:ext cx="330065" cy="418448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shade val="90000"/>
            <a:hueOff val="300089"/>
            <a:satOff val="-5542"/>
            <a:lumOff val="25702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711200" latinLnBrk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ko-KR" altLang="en-US" sz="1600" kern="1200"/>
        </a:p>
      </dsp:txBody>
      <dsp:txXfrm rot="10800000">
        <a:off x="3751845" y="2531498"/>
        <a:ext cx="231046" cy="251068"/>
      </dsp:txXfrm>
    </dsp:sp>
    <dsp:sp modelId="{00CE0F48-E1CB-455B-AE46-7684F6982520}">
      <dsp:nvSpPr>
        <dsp:cNvPr id="0" name=""/>
        <dsp:cNvSpPr/>
      </dsp:nvSpPr>
      <dsp:spPr>
        <a:xfrm>
          <a:off x="2941469" y="1095414"/>
          <a:ext cx="1239847" cy="1239847"/>
        </a:xfrm>
        <a:prstGeom prst="ellipse">
          <a:avLst/>
        </a:prstGeom>
        <a:solidFill>
          <a:schemeClr val="accent1">
            <a:shade val="50000"/>
            <a:hueOff val="144575"/>
            <a:satOff val="-3024"/>
            <a:lumOff val="16825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0320" tIns="20320" rIns="20320" bIns="20320" numCol="1" spcCol="1270" anchor="ctr" anchorCtr="0">
          <a:noAutofit/>
        </a:bodyPr>
        <a:lstStyle/>
        <a:p>
          <a:pPr lvl="0" algn="ctr" defTabSz="711200" latinLnBrk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ko-KR" altLang="en-US" sz="1600" kern="1200" dirty="0" smtClean="0"/>
            <a:t>내부 </a:t>
          </a:r>
          <a:r>
            <a:rPr lang="en-US" altLang="ko-KR" sz="1600" kern="1200" dirty="0" smtClean="0"/>
            <a:t>AI   R&amp;D </a:t>
          </a:r>
          <a:endParaRPr lang="ko-KR" altLang="en-US" sz="1600" kern="1200" dirty="0"/>
        </a:p>
      </dsp:txBody>
      <dsp:txXfrm>
        <a:off x="3123040" y="1276985"/>
        <a:ext cx="876705" cy="876705"/>
      </dsp:txXfrm>
    </dsp:sp>
    <dsp:sp modelId="{EBC8AA6E-41BE-47ED-8A8D-CF36552B9C42}">
      <dsp:nvSpPr>
        <dsp:cNvPr id="0" name=""/>
        <dsp:cNvSpPr/>
      </dsp:nvSpPr>
      <dsp:spPr>
        <a:xfrm rot="19440000">
          <a:off x="4142245" y="964197"/>
          <a:ext cx="330065" cy="418448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shade val="90000"/>
            <a:hueOff val="150045"/>
            <a:satOff val="-2771"/>
            <a:lumOff val="12851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711200" latinLnBrk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ko-KR" altLang="en-US" sz="1600" kern="1200"/>
        </a:p>
      </dsp:txBody>
      <dsp:txXfrm>
        <a:off x="4151700" y="1076988"/>
        <a:ext cx="231046" cy="251068"/>
      </dsp:txXfrm>
    </dsp:sp>
  </dsp:spTree>
</dsp:drawing>
</file>

<file path=ppt/diagrams/drawing17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0D94E88-886E-4997-AF59-7DDB7FDE9F13}">
      <dsp:nvSpPr>
        <dsp:cNvPr id="0" name=""/>
        <dsp:cNvSpPr/>
      </dsp:nvSpPr>
      <dsp:spPr>
        <a:xfrm rot="16200000">
          <a:off x="1253369" y="-855261"/>
          <a:ext cx="2592753" cy="4675752"/>
        </a:xfrm>
        <a:prstGeom prst="round1Rect">
          <a:avLst/>
        </a:prstGeom>
        <a:gradFill rotWithShape="0">
          <a:gsLst>
            <a:gs pos="0">
              <a:schemeClr val="accent1">
                <a:shade val="50000"/>
                <a:hueOff val="0"/>
                <a:satOff val="0"/>
                <a:lumOff val="0"/>
                <a:alphaOff val="0"/>
                <a:lumMod val="110000"/>
                <a:satMod val="105000"/>
                <a:tint val="67000"/>
              </a:schemeClr>
            </a:gs>
            <a:gs pos="50000">
              <a:schemeClr val="accent1">
                <a:shade val="50000"/>
                <a:hueOff val="0"/>
                <a:satOff val="0"/>
                <a:lumOff val="0"/>
                <a:alphaOff val="0"/>
                <a:lumMod val="105000"/>
                <a:satMod val="103000"/>
                <a:tint val="73000"/>
              </a:schemeClr>
            </a:gs>
            <a:gs pos="100000">
              <a:schemeClr val="accent1">
                <a:shade val="50000"/>
                <a:hueOff val="0"/>
                <a:satOff val="0"/>
                <a:lumOff val="0"/>
                <a:alphaOff val="0"/>
                <a:lumMod val="105000"/>
                <a:satMod val="109000"/>
                <a:tint val="81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42240" tIns="142240" rIns="142240" bIns="142240" numCol="1" spcCol="1270" anchor="ctr" anchorCtr="0">
          <a:noAutofit/>
        </a:bodyPr>
        <a:lstStyle/>
        <a:p>
          <a:pPr lvl="0" algn="l" defTabSz="889000" latinLnBrk="1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altLang="ko-KR" sz="2000" kern="1200" dirty="0" smtClean="0"/>
        </a:p>
        <a:p>
          <a:pPr lvl="0" algn="l" defTabSz="889000" latinLnBrk="1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altLang="ko-KR" sz="2000" kern="1200" dirty="0" smtClean="0"/>
        </a:p>
        <a:p>
          <a:pPr lvl="0" algn="l" defTabSz="889000" latinLnBrk="1">
            <a:lnSpc>
              <a:spcPct val="90000"/>
            </a:lnSpc>
            <a:spcBef>
              <a:spcPct val="0"/>
            </a:spcBef>
            <a:spcAft>
              <a:spcPct val="35000"/>
            </a:spcAft>
            <a:buFont typeface="Arial" panose="020B0604020202020204" pitchFamily="34" charset="0"/>
            <a:buChar char="•"/>
          </a:pPr>
          <a:endParaRPr lang="en-US" altLang="ko-KR" sz="2400" b="1" kern="1200" dirty="0" smtClean="0"/>
        </a:p>
        <a:p>
          <a:pPr lvl="0" algn="l" defTabSz="889000" latinLnBrk="1">
            <a:lnSpc>
              <a:spcPct val="90000"/>
            </a:lnSpc>
            <a:spcBef>
              <a:spcPct val="0"/>
            </a:spcBef>
            <a:spcAft>
              <a:spcPct val="35000"/>
            </a:spcAft>
            <a:buFont typeface="Arial" panose="020B0604020202020204" pitchFamily="34" charset="0"/>
            <a:buChar char="•"/>
          </a:pPr>
          <a:endParaRPr lang="en-US" altLang="ko-KR" sz="2400" b="1" kern="1200" dirty="0" smtClean="0"/>
        </a:p>
        <a:p>
          <a:pPr lvl="0" algn="l" defTabSz="889000" latinLnBrk="1">
            <a:lnSpc>
              <a:spcPct val="90000"/>
            </a:lnSpc>
            <a:spcBef>
              <a:spcPct val="0"/>
            </a:spcBef>
            <a:spcAft>
              <a:spcPct val="35000"/>
            </a:spcAft>
            <a:buFont typeface="Arial" panose="020B0604020202020204" pitchFamily="34" charset="0"/>
            <a:buChar char="•"/>
          </a:pPr>
          <a:r>
            <a:rPr lang="ko-KR" altLang="en-US" sz="2000" b="1" kern="1200" dirty="0" smtClean="0"/>
            <a:t> 다양한 </a:t>
          </a:r>
          <a:r>
            <a:rPr lang="ko-KR" altLang="en-US" sz="2000" b="1" kern="1200" dirty="0" err="1" smtClean="0"/>
            <a:t>초극자</a:t>
          </a:r>
          <a:r>
            <a:rPr lang="ko-KR" altLang="en-US" sz="2000" b="1" kern="1200" dirty="0" smtClean="0"/>
            <a:t> 반도체</a:t>
          </a:r>
          <a:endParaRPr lang="en-US" altLang="ko-KR" sz="2000" b="1" kern="1200" dirty="0" smtClean="0"/>
        </a:p>
        <a:p>
          <a:pPr lvl="0" algn="l" defTabSz="889000" latinLnBrk="1">
            <a:lnSpc>
              <a:spcPct val="90000"/>
            </a:lnSpc>
            <a:spcBef>
              <a:spcPct val="0"/>
            </a:spcBef>
            <a:spcAft>
              <a:spcPct val="35000"/>
            </a:spcAft>
            <a:buFont typeface="Arial" panose="020B0604020202020204" pitchFamily="34" charset="0"/>
            <a:buChar char="•"/>
          </a:pPr>
          <a:r>
            <a:rPr lang="ko-KR" altLang="en-US" sz="2000" b="1" kern="1200" dirty="0" smtClean="0"/>
            <a:t>고속 분산병렬정보처리기술</a:t>
          </a:r>
          <a:r>
            <a:rPr lang="en-US" altLang="ko-KR" sz="2000" b="1" kern="1200" dirty="0" smtClean="0"/>
            <a:t>/</a:t>
          </a:r>
          <a:r>
            <a:rPr lang="ko-KR" altLang="en-US" sz="2000" b="1" kern="1200" dirty="0" smtClean="0"/>
            <a:t>통계</a:t>
          </a:r>
          <a:endParaRPr lang="en-US" altLang="ko-KR" sz="2000" b="1" kern="1200" dirty="0" smtClean="0"/>
        </a:p>
        <a:p>
          <a:pPr lvl="0" algn="l" defTabSz="889000" latinLnBrk="1">
            <a:lnSpc>
              <a:spcPct val="90000"/>
            </a:lnSpc>
            <a:spcBef>
              <a:spcPct val="0"/>
            </a:spcBef>
            <a:spcAft>
              <a:spcPct val="35000"/>
            </a:spcAft>
            <a:buFont typeface="Arial" panose="020B0604020202020204" pitchFamily="34" charset="0"/>
            <a:buChar char="•"/>
          </a:pPr>
          <a:r>
            <a:rPr lang="ko-KR" altLang="en-US" sz="2000" b="1" kern="1200" dirty="0" smtClean="0"/>
            <a:t> 연산 초고속  양자컴퓨터</a:t>
          </a:r>
          <a:endParaRPr lang="en-US" altLang="ko-KR" sz="2000" b="1" kern="1200" dirty="0" smtClean="0"/>
        </a:p>
        <a:p>
          <a:pPr lvl="0" algn="l" defTabSz="889000" latinLnBrk="1">
            <a:lnSpc>
              <a:spcPct val="90000"/>
            </a:lnSpc>
            <a:spcBef>
              <a:spcPct val="0"/>
            </a:spcBef>
            <a:spcAft>
              <a:spcPct val="35000"/>
            </a:spcAft>
            <a:buFont typeface="Arial" panose="020B0604020202020204" pitchFamily="34" charset="0"/>
            <a:buChar char="•"/>
          </a:pPr>
          <a:r>
            <a:rPr lang="ko-KR" altLang="en-US" sz="2000" b="1" kern="1200" dirty="0" smtClean="0"/>
            <a:t>  </a:t>
          </a:r>
          <a:r>
            <a:rPr lang="ko-KR" altLang="en-US" sz="2000" b="1" kern="1200" dirty="0" err="1" smtClean="0"/>
            <a:t>클라우딩</a:t>
          </a:r>
          <a:r>
            <a:rPr lang="ko-KR" altLang="en-US" sz="2000" b="1" kern="1200" dirty="0" smtClean="0"/>
            <a:t> 시스템  </a:t>
          </a:r>
          <a:endParaRPr lang="en-US" altLang="ko-KR" sz="2000" b="1" kern="1200" dirty="0" smtClean="0"/>
        </a:p>
        <a:p>
          <a:pPr lvl="0" algn="l" defTabSz="889000" latinLnBrk="1">
            <a:lnSpc>
              <a:spcPct val="90000"/>
            </a:lnSpc>
            <a:spcBef>
              <a:spcPct val="0"/>
            </a:spcBef>
            <a:spcAft>
              <a:spcPct val="35000"/>
            </a:spcAft>
            <a:buFont typeface="Arial" panose="020B0604020202020204" pitchFamily="34" charset="0"/>
            <a:buChar char="•"/>
          </a:pPr>
          <a:r>
            <a:rPr lang="ko-KR" altLang="en-US" sz="2400" b="1" kern="1200" dirty="0" smtClean="0"/>
            <a:t>                   </a:t>
          </a:r>
          <a:endParaRPr lang="en-US" altLang="ko-KR" sz="2400" b="1" kern="1200" dirty="0" smtClean="0"/>
        </a:p>
        <a:p>
          <a:pPr lvl="0" algn="l" defTabSz="889000" latinLnBrk="1">
            <a:lnSpc>
              <a:spcPct val="90000"/>
            </a:lnSpc>
            <a:spcBef>
              <a:spcPct val="0"/>
            </a:spcBef>
            <a:spcAft>
              <a:spcPct val="35000"/>
            </a:spcAft>
            <a:buFont typeface="Arial" panose="020B0604020202020204" pitchFamily="34" charset="0"/>
            <a:buChar char="•"/>
          </a:pPr>
          <a:r>
            <a:rPr lang="en-US" altLang="ko-KR" sz="2400" b="1" kern="1200" dirty="0" smtClean="0"/>
            <a:t>&amp; </a:t>
          </a:r>
          <a:r>
            <a:rPr lang="ko-KR" altLang="en-US" sz="2400" b="1" kern="1200" dirty="0" smtClean="0"/>
            <a:t>로봇  </a:t>
          </a:r>
          <a:endParaRPr lang="ko-KR" altLang="en-US" sz="2400" b="1" kern="1200" dirty="0"/>
        </a:p>
      </dsp:txBody>
      <dsp:txXfrm rot="5400000">
        <a:off x="211871" y="186237"/>
        <a:ext cx="4675752" cy="1944565"/>
      </dsp:txXfrm>
    </dsp:sp>
    <dsp:sp modelId="{B7F82935-E5BA-4F50-8B43-4237D868BA85}">
      <dsp:nvSpPr>
        <dsp:cNvPr id="0" name=""/>
        <dsp:cNvSpPr/>
      </dsp:nvSpPr>
      <dsp:spPr>
        <a:xfrm>
          <a:off x="4580700" y="152790"/>
          <a:ext cx="4549017" cy="2592753"/>
        </a:xfrm>
        <a:prstGeom prst="round1Rect">
          <a:avLst/>
        </a:prstGeom>
        <a:gradFill rotWithShape="0">
          <a:gsLst>
            <a:gs pos="0">
              <a:schemeClr val="accent1">
                <a:shade val="50000"/>
                <a:hueOff val="180718"/>
                <a:satOff val="-3780"/>
                <a:lumOff val="21031"/>
                <a:alphaOff val="0"/>
                <a:lumMod val="110000"/>
                <a:satMod val="105000"/>
                <a:tint val="67000"/>
              </a:schemeClr>
            </a:gs>
            <a:gs pos="50000">
              <a:schemeClr val="accent1">
                <a:shade val="50000"/>
                <a:hueOff val="180718"/>
                <a:satOff val="-3780"/>
                <a:lumOff val="21031"/>
                <a:alphaOff val="0"/>
                <a:lumMod val="105000"/>
                <a:satMod val="103000"/>
                <a:tint val="73000"/>
              </a:schemeClr>
            </a:gs>
            <a:gs pos="100000">
              <a:schemeClr val="accent1">
                <a:shade val="50000"/>
                <a:hueOff val="180718"/>
                <a:satOff val="-3780"/>
                <a:lumOff val="21031"/>
                <a:alphaOff val="0"/>
                <a:lumMod val="105000"/>
                <a:satMod val="109000"/>
                <a:tint val="81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70688" tIns="170688" rIns="170688" bIns="170688" numCol="1" spcCol="1270" anchor="ctr" anchorCtr="0">
          <a:noAutofit/>
        </a:bodyPr>
        <a:lstStyle/>
        <a:p>
          <a:pPr lvl="0" algn="l" defTabSz="1066800" latinLnBrk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altLang="ko-KR" sz="2400" b="1" kern="1200" dirty="0">
            <a:solidFill>
              <a:schemeClr val="tx1"/>
            </a:solidFill>
          </a:endParaRPr>
        </a:p>
      </dsp:txBody>
      <dsp:txXfrm>
        <a:off x="4580700" y="152790"/>
        <a:ext cx="4549017" cy="1944565"/>
      </dsp:txXfrm>
    </dsp:sp>
    <dsp:sp modelId="{794ED799-04A2-49E0-BBB2-5155F80CADA7}">
      <dsp:nvSpPr>
        <dsp:cNvPr id="0" name=""/>
        <dsp:cNvSpPr/>
      </dsp:nvSpPr>
      <dsp:spPr>
        <a:xfrm rot="10800000">
          <a:off x="146364" y="2592753"/>
          <a:ext cx="4549017" cy="2592753"/>
        </a:xfrm>
        <a:prstGeom prst="round1Rect">
          <a:avLst/>
        </a:prstGeom>
        <a:gradFill rotWithShape="0">
          <a:gsLst>
            <a:gs pos="0">
              <a:schemeClr val="accent1">
                <a:shade val="50000"/>
                <a:hueOff val="361436"/>
                <a:satOff val="-7560"/>
                <a:lumOff val="42063"/>
                <a:alphaOff val="0"/>
                <a:lumMod val="110000"/>
                <a:satMod val="105000"/>
                <a:tint val="67000"/>
              </a:schemeClr>
            </a:gs>
            <a:gs pos="50000">
              <a:schemeClr val="accent1">
                <a:shade val="50000"/>
                <a:hueOff val="361436"/>
                <a:satOff val="-7560"/>
                <a:lumOff val="42063"/>
                <a:alphaOff val="0"/>
                <a:lumMod val="105000"/>
                <a:satMod val="103000"/>
                <a:tint val="73000"/>
              </a:schemeClr>
            </a:gs>
            <a:gs pos="100000">
              <a:schemeClr val="accent1">
                <a:shade val="50000"/>
                <a:hueOff val="361436"/>
                <a:satOff val="-7560"/>
                <a:lumOff val="42063"/>
                <a:alphaOff val="0"/>
                <a:lumMod val="105000"/>
                <a:satMod val="109000"/>
                <a:tint val="81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70688" tIns="170688" rIns="170688" bIns="170688" numCol="1" spcCol="1270" anchor="ctr" anchorCtr="0">
          <a:noAutofit/>
        </a:bodyPr>
        <a:lstStyle/>
        <a:p>
          <a:pPr marL="0" marR="0" lvl="0" indent="0" algn="l" defTabSz="914400" eaLnBrk="1" fontAlgn="auto" latinLnBrk="1" hangingPunct="1">
            <a:lnSpc>
              <a:spcPct val="90000"/>
            </a:lnSpc>
            <a:spcBef>
              <a:spcPct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ko-KR" altLang="en-US" sz="2400" b="1" kern="1200" smtClean="0"/>
            <a:t> </a:t>
          </a:r>
          <a:endParaRPr lang="en-US" altLang="ko-KR" sz="2400" b="1" kern="1200" smtClean="0"/>
        </a:p>
        <a:p>
          <a:pPr marL="0" marR="0" lvl="0" indent="0" algn="l" defTabSz="914400" eaLnBrk="1" fontAlgn="auto" latinLnBrk="1" hangingPunct="1">
            <a:lnSpc>
              <a:spcPct val="90000"/>
            </a:lnSpc>
            <a:spcBef>
              <a:spcPct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ko-KR" altLang="en-US" sz="2400" b="1" kern="1200" smtClean="0"/>
            <a:t>빅데이터 플렛폼</a:t>
          </a:r>
          <a:endParaRPr lang="en-US" altLang="ko-KR" sz="2400" b="1" kern="1200" smtClean="0"/>
        </a:p>
        <a:p>
          <a:pPr marL="0" marR="0" lvl="0" indent="0" algn="l" defTabSz="914400" eaLnBrk="1" fontAlgn="auto" latinLnBrk="1" hangingPunct="1">
            <a:lnSpc>
              <a:spcPct val="90000"/>
            </a:lnSpc>
            <a:spcBef>
              <a:spcPct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ko-KR" altLang="en-US" sz="1600" b="1" kern="1200" smtClean="0"/>
            <a:t>데이터</a:t>
          </a:r>
          <a:r>
            <a:rPr lang="en-US" altLang="ko-KR" sz="1600" b="1" kern="1200" smtClean="0"/>
            <a:t> </a:t>
          </a:r>
          <a:r>
            <a:rPr lang="ko-KR" altLang="en-US" sz="1600" b="1" kern="1200" smtClean="0"/>
            <a:t>처리 분석 기법 </a:t>
          </a:r>
          <a:r>
            <a:rPr lang="en-US" altLang="ko-KR" sz="1600" b="1" kern="1200" smtClean="0"/>
            <a:t>SW HW/</a:t>
          </a:r>
        </a:p>
        <a:p>
          <a:pPr marL="0" marR="0" lvl="0" indent="0" algn="l" defTabSz="914400" eaLnBrk="1" fontAlgn="auto" latinLnBrk="1" hangingPunct="1">
            <a:lnSpc>
              <a:spcPct val="90000"/>
            </a:lnSpc>
            <a:spcBef>
              <a:spcPct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ko-KR" altLang="en-US" sz="1600" b="1" kern="1200" smtClean="0"/>
            <a:t>통계패케지 </a:t>
          </a:r>
          <a:r>
            <a:rPr lang="en-US" altLang="ko-KR" sz="1600" b="1" kern="1200" smtClean="0"/>
            <a:t> </a:t>
          </a:r>
        </a:p>
        <a:p>
          <a:pPr marL="0" lvl="0" algn="l" defTabSz="1066800" latinLnBrk="1">
            <a:lnSpc>
              <a:spcPct val="100000"/>
            </a:lnSpc>
            <a:spcBef>
              <a:spcPct val="0"/>
            </a:spcBef>
            <a:spcAft>
              <a:spcPct val="35000"/>
            </a:spcAft>
            <a:buFont typeface="Arial" panose="020B0604020202020204" pitchFamily="34" charset="0"/>
            <a:buChar char="•"/>
          </a:pPr>
          <a:r>
            <a:rPr lang="en-US" altLang="ko-KR" sz="1600" b="1" kern="1200" smtClean="0"/>
            <a:t>- </a:t>
          </a:r>
          <a:r>
            <a:rPr lang="ko-KR" altLang="en-US" sz="1600" b="1" kern="1200" smtClean="0"/>
            <a:t>목표에 따라  발굴</a:t>
          </a:r>
          <a:r>
            <a:rPr lang="en-US" altLang="ko-KR" sz="1600" b="1" kern="1200" smtClean="0"/>
            <a:t>/</a:t>
          </a:r>
          <a:r>
            <a:rPr lang="ko-KR" altLang="en-US" sz="1600" b="1" kern="1200" smtClean="0"/>
            <a:t>수집</a:t>
          </a:r>
          <a:r>
            <a:rPr lang="en-US" altLang="ko-KR" sz="1600" b="1" kern="1200" smtClean="0"/>
            <a:t>- </a:t>
          </a:r>
          <a:r>
            <a:rPr lang="ko-KR" altLang="en-US" sz="1600" b="1" kern="1200" smtClean="0"/>
            <a:t>분산</a:t>
          </a:r>
          <a:r>
            <a:rPr lang="en-US" altLang="ko-KR" sz="1600" b="1" kern="1200" smtClean="0"/>
            <a:t>&amp; </a:t>
          </a:r>
          <a:r>
            <a:rPr lang="ko-KR" altLang="en-US" sz="1600" b="1" kern="1200" smtClean="0"/>
            <a:t>구조화</a:t>
          </a:r>
          <a:r>
            <a:rPr lang="en-US" altLang="ko-KR" sz="1600" b="1" kern="1200" smtClean="0"/>
            <a:t>&gt; </a:t>
          </a:r>
          <a:r>
            <a:rPr lang="ko-KR" altLang="en-US" sz="1600" b="1" kern="1200" smtClean="0"/>
            <a:t>저장관리 </a:t>
          </a:r>
          <a:r>
            <a:rPr lang="en-US" altLang="ko-KR" sz="1600" b="1" kern="1200" smtClean="0"/>
            <a:t> &gt;- </a:t>
          </a:r>
          <a:r>
            <a:rPr lang="ko-KR" altLang="en-US" sz="1600" b="1" kern="1200" smtClean="0"/>
            <a:t>가공</a:t>
          </a:r>
          <a:r>
            <a:rPr lang="en-US" altLang="ko-KR" sz="1600" b="1" kern="1200" smtClean="0"/>
            <a:t>/ </a:t>
          </a:r>
          <a:r>
            <a:rPr lang="ko-KR" altLang="en-US" sz="1600" b="1" kern="1200" smtClean="0"/>
            <a:t>분석 </a:t>
          </a:r>
          <a:r>
            <a:rPr lang="en-US" altLang="ko-KR" sz="1600" b="1" kern="1200" smtClean="0"/>
            <a:t>&amp;</a:t>
          </a:r>
          <a:r>
            <a:rPr lang="ko-KR" altLang="en-US" sz="1600" b="1" kern="1200" smtClean="0"/>
            <a:t>표현 기술 </a:t>
          </a:r>
          <a:endParaRPr lang="en-US" altLang="ko-KR" sz="1600" b="1" kern="1200" smtClean="0"/>
        </a:p>
        <a:p>
          <a:pPr marL="0" lvl="0" algn="l" defTabSz="1066800" latinLnBrk="1">
            <a:lnSpc>
              <a:spcPct val="100000"/>
            </a:lnSpc>
            <a:spcBef>
              <a:spcPct val="0"/>
            </a:spcBef>
            <a:spcAft>
              <a:spcPct val="35000"/>
            </a:spcAft>
            <a:buChar char="•"/>
          </a:pPr>
          <a:r>
            <a:rPr lang="en-US" altLang="ko-KR" sz="1600" b="1" kern="1200" smtClean="0">
              <a:effectLst/>
            </a:rPr>
            <a:t>By </a:t>
          </a:r>
          <a:r>
            <a:rPr lang="ko-KR" altLang="ko-KR" sz="1600" b="1" kern="1200" smtClean="0">
              <a:effectLst/>
            </a:rPr>
            <a:t>인공지능 </a:t>
          </a:r>
          <a:r>
            <a:rPr lang="en-US" altLang="ko-KR" sz="1600" b="1" kern="1200" smtClean="0">
              <a:effectLst/>
            </a:rPr>
            <a:t>(AI)&gt; </a:t>
          </a:r>
          <a:r>
            <a:rPr lang="ko-KR" altLang="ko-KR" sz="1600" b="1" kern="1200" smtClean="0">
              <a:effectLst/>
            </a:rPr>
            <a:t>목적형 테이터세트 </a:t>
          </a:r>
        </a:p>
        <a:p>
          <a:pPr marL="0" lvl="0" algn="l" defTabSz="1066800" latinLnBrk="1">
            <a:lnSpc>
              <a:spcPct val="100000"/>
            </a:lnSpc>
            <a:spcBef>
              <a:spcPct val="0"/>
            </a:spcBef>
            <a:spcAft>
              <a:spcPct val="35000"/>
            </a:spcAft>
            <a:buFont typeface="Arial" panose="020B0604020202020204" pitchFamily="34" charset="0"/>
            <a:buChar char="•"/>
          </a:pPr>
          <a:endParaRPr lang="en-US" altLang="ko-KR" sz="1600" b="1" kern="1200" smtClean="0"/>
        </a:p>
        <a:p>
          <a:pPr marL="0" lvl="0" algn="l" defTabSz="1066800" latinLnBrk="1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ko-KR" altLang="en-US" kern="1200" dirty="0"/>
        </a:p>
      </dsp:txBody>
      <dsp:txXfrm rot="10800000">
        <a:off x="146364" y="3240942"/>
        <a:ext cx="4549017" cy="1944565"/>
      </dsp:txXfrm>
    </dsp:sp>
    <dsp:sp modelId="{0D086A8C-620C-43AD-8941-DAA5A1E56674}">
      <dsp:nvSpPr>
        <dsp:cNvPr id="0" name=""/>
        <dsp:cNvSpPr/>
      </dsp:nvSpPr>
      <dsp:spPr>
        <a:xfrm rot="5400000">
          <a:off x="5558832" y="1614622"/>
          <a:ext cx="2592753" cy="4549017"/>
        </a:xfrm>
        <a:prstGeom prst="round1Rect">
          <a:avLst/>
        </a:prstGeom>
        <a:gradFill rotWithShape="0">
          <a:gsLst>
            <a:gs pos="0">
              <a:schemeClr val="accent1">
                <a:shade val="50000"/>
                <a:hueOff val="180718"/>
                <a:satOff val="-3780"/>
                <a:lumOff val="21031"/>
                <a:alphaOff val="0"/>
                <a:lumMod val="110000"/>
                <a:satMod val="105000"/>
                <a:tint val="67000"/>
              </a:schemeClr>
            </a:gs>
            <a:gs pos="50000">
              <a:schemeClr val="accent1">
                <a:shade val="50000"/>
                <a:hueOff val="180718"/>
                <a:satOff val="-3780"/>
                <a:lumOff val="21031"/>
                <a:alphaOff val="0"/>
                <a:lumMod val="105000"/>
                <a:satMod val="103000"/>
                <a:tint val="73000"/>
              </a:schemeClr>
            </a:gs>
            <a:gs pos="100000">
              <a:schemeClr val="accent1">
                <a:shade val="50000"/>
                <a:hueOff val="180718"/>
                <a:satOff val="-3780"/>
                <a:lumOff val="21031"/>
                <a:alphaOff val="0"/>
                <a:lumMod val="105000"/>
                <a:satMod val="109000"/>
                <a:tint val="81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28016" tIns="128016" rIns="128016" bIns="128016" numCol="1" spcCol="1270" anchor="ctr" anchorCtr="0">
          <a:noAutofit/>
        </a:bodyPr>
        <a:lstStyle/>
        <a:p>
          <a:pPr lvl="0" algn="l" defTabSz="800100" latinLnBrk="1">
            <a:lnSpc>
              <a:spcPct val="90000"/>
            </a:lnSpc>
            <a:spcBef>
              <a:spcPct val="0"/>
            </a:spcBef>
            <a:spcAft>
              <a:spcPts val="0"/>
            </a:spcAft>
          </a:pPr>
          <a:endParaRPr lang="ko-KR" altLang="ko-KR" sz="1800" b="1" kern="1200" dirty="0" smtClean="0">
            <a:effectLst/>
          </a:endParaRPr>
        </a:p>
      </dsp:txBody>
      <dsp:txXfrm rot="-5400000">
        <a:off x="4580700" y="3240942"/>
        <a:ext cx="4549017" cy="1944565"/>
      </dsp:txXfrm>
    </dsp:sp>
    <dsp:sp modelId="{EE128795-9B30-413D-9BB3-8D461267661D}">
      <dsp:nvSpPr>
        <dsp:cNvPr id="0" name=""/>
        <dsp:cNvSpPr/>
      </dsp:nvSpPr>
      <dsp:spPr>
        <a:xfrm>
          <a:off x="3184311" y="1944565"/>
          <a:ext cx="2729410" cy="1296376"/>
        </a:xfrm>
        <a:prstGeom prst="roundRect">
          <a:avLst/>
        </a:prstGeom>
        <a:gradFill rotWithShape="0">
          <a:gsLst>
            <a:gs pos="0">
              <a:schemeClr val="accent1">
                <a:tint val="55000"/>
                <a:hueOff val="0"/>
                <a:satOff val="0"/>
                <a:lumOff val="0"/>
                <a:alphaOff val="0"/>
                <a:lumMod val="110000"/>
                <a:satMod val="105000"/>
                <a:tint val="67000"/>
              </a:schemeClr>
            </a:gs>
            <a:gs pos="50000">
              <a:schemeClr val="accent1">
                <a:tint val="55000"/>
                <a:hueOff val="0"/>
                <a:satOff val="0"/>
                <a:lumOff val="0"/>
                <a:alphaOff val="0"/>
                <a:lumMod val="105000"/>
                <a:satMod val="103000"/>
                <a:tint val="73000"/>
              </a:schemeClr>
            </a:gs>
            <a:gs pos="100000">
              <a:schemeClr val="accent1">
                <a:tint val="55000"/>
                <a:hueOff val="0"/>
                <a:satOff val="0"/>
                <a:lumOff val="0"/>
                <a:alphaOff val="0"/>
                <a:lumMod val="105000"/>
                <a:satMod val="109000"/>
                <a:tint val="81000"/>
              </a:schemeClr>
            </a:gs>
          </a:gsLst>
          <a:lin ang="5400000" scaled="0"/>
        </a:gradFill>
        <a:ln w="63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1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/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lvl="0" algn="l" defTabSz="1066800" latinLnBrk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ko-KR" altLang="en-US" sz="2400" kern="1200" dirty="0"/>
            <a:t>기술</a:t>
          </a:r>
          <a:r>
            <a:rPr lang="en-US" altLang="ko-KR" sz="2400" kern="1200" dirty="0"/>
            <a:t>/</a:t>
          </a:r>
          <a:r>
            <a:rPr lang="ko-KR" altLang="en-US" sz="2400" kern="1200" dirty="0"/>
            <a:t>비즈니스의 융합</a:t>
          </a:r>
          <a:r>
            <a:rPr lang="en-US" altLang="ko-KR" sz="2400" kern="1200" dirty="0"/>
            <a:t>&amp; </a:t>
          </a:r>
          <a:r>
            <a:rPr lang="ko-KR" altLang="en-US" sz="2400" kern="1200" dirty="0"/>
            <a:t>소통 </a:t>
          </a:r>
          <a:r>
            <a:rPr lang="en-US" altLang="ko-KR" sz="2400" kern="1200" dirty="0"/>
            <a:t>(</a:t>
          </a:r>
          <a:r>
            <a:rPr lang="en-US" altLang="ko-KR" sz="2400" kern="1200" dirty="0" err="1"/>
            <a:t>Iot</a:t>
          </a:r>
          <a:r>
            <a:rPr lang="en-US" altLang="ko-KR" sz="2400" kern="1200" dirty="0"/>
            <a:t>)</a:t>
          </a:r>
          <a:r>
            <a:rPr lang="ko-KR" altLang="en-US" sz="2400" kern="1200" dirty="0"/>
            <a:t>  </a:t>
          </a:r>
        </a:p>
      </dsp:txBody>
      <dsp:txXfrm>
        <a:off x="3247595" y="2007849"/>
        <a:ext cx="2602842" cy="1169808"/>
      </dsp:txXfrm>
    </dsp:sp>
  </dsp:spTree>
</dsp:drawing>
</file>

<file path=ppt/diagrams/drawing18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7503038-1E9B-4A95-B5B5-CDDC70DEF0C8}">
      <dsp:nvSpPr>
        <dsp:cNvPr id="0" name=""/>
        <dsp:cNvSpPr/>
      </dsp:nvSpPr>
      <dsp:spPr>
        <a:xfrm>
          <a:off x="-6125176" y="-937410"/>
          <a:ext cx="7293488" cy="7293488"/>
        </a:xfrm>
        <a:prstGeom prst="blockArc">
          <a:avLst>
            <a:gd name="adj1" fmla="val 18900000"/>
            <a:gd name="adj2" fmla="val 2700000"/>
            <a:gd name="adj3" fmla="val 296"/>
          </a:avLst>
        </a:prstGeom>
        <a:noFill/>
        <a:ln w="12700" cap="flat" cmpd="sng" algn="ctr">
          <a:solidFill>
            <a:schemeClr val="accent4">
              <a:hueOff val="0"/>
              <a:satOff val="0"/>
              <a:lumOff val="0"/>
              <a:alphaOff val="0"/>
            </a:schemeClr>
          </a:solidFill>
          <a:prstDash val="solid"/>
          <a:miter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69ACD03A-742A-4D4E-96C5-5166F52D1E09}">
      <dsp:nvSpPr>
        <dsp:cNvPr id="0" name=""/>
        <dsp:cNvSpPr/>
      </dsp:nvSpPr>
      <dsp:spPr>
        <a:xfrm>
          <a:off x="752110" y="528320"/>
          <a:ext cx="7301111" cy="1083733"/>
        </a:xfrm>
        <a:prstGeom prst="rect">
          <a:avLst/>
        </a:prstGeom>
        <a:solidFill>
          <a:schemeClr val="accent1"/>
        </a:solidFill>
        <a:ln w="12700" cap="flat" cmpd="sng" algn="ctr">
          <a:solidFill>
            <a:schemeClr val="accent1">
              <a:shade val="50000"/>
            </a:schemeClr>
          </a:solidFill>
          <a:prstDash val="solid"/>
          <a:miter/>
        </a:ln>
        <a:effectLst/>
      </dsp:spPr>
      <dsp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dsp:style>
      <dsp:txBody>
        <a:bodyPr spcFirstLastPara="0" vert="horz" wrap="square" lIns="860213" tIns="68580" rIns="68580" bIns="68580" numCol="1" spcCol="1270" anchor="ctr" anchorCtr="0">
          <a:noAutofit/>
        </a:bodyPr>
        <a:lstStyle/>
        <a:p>
          <a:pPr lvl="0" algn="l" defTabSz="1200150" latinLnBrk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ko-KR" altLang="en-US" sz="2700" kern="1200" dirty="0"/>
            <a:t>조직화 </a:t>
          </a:r>
          <a:r>
            <a:rPr lang="en-US" altLang="ko-KR" sz="2700" kern="1200" dirty="0"/>
            <a:t>: </a:t>
          </a:r>
          <a:r>
            <a:rPr lang="ko-KR" altLang="en-US" sz="2700" kern="1200" dirty="0"/>
            <a:t>정부부처</a:t>
          </a:r>
          <a:r>
            <a:rPr lang="en-US" altLang="ko-KR" sz="2700" kern="1200" dirty="0"/>
            <a:t>/</a:t>
          </a:r>
          <a:r>
            <a:rPr lang="ko-KR" altLang="en-US" sz="2700" kern="1200" dirty="0"/>
            <a:t>공익조직 확산</a:t>
          </a:r>
          <a:r>
            <a:rPr lang="en-US" altLang="ko-KR" sz="2700" kern="1200" dirty="0"/>
            <a:t> </a:t>
          </a:r>
          <a:endParaRPr lang="ko-KR" altLang="en-US" sz="2700" kern="1200" dirty="0"/>
        </a:p>
      </dsp:txBody>
      <dsp:txXfrm>
        <a:off x="752110" y="528320"/>
        <a:ext cx="7301111" cy="1083733"/>
      </dsp:txXfrm>
    </dsp:sp>
    <dsp:sp modelId="{E465EB2C-3D0C-4AC0-8FE7-220720700130}">
      <dsp:nvSpPr>
        <dsp:cNvPr id="0" name=""/>
        <dsp:cNvSpPr/>
      </dsp:nvSpPr>
      <dsp:spPr>
        <a:xfrm>
          <a:off x="102128" y="318251"/>
          <a:ext cx="1354666" cy="1354666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  <a:miter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7E894A97-E817-4821-94D9-775AE3A34B9B}">
      <dsp:nvSpPr>
        <dsp:cNvPr id="0" name=""/>
        <dsp:cNvSpPr/>
      </dsp:nvSpPr>
      <dsp:spPr>
        <a:xfrm>
          <a:off x="1146048" y="2167466"/>
          <a:ext cx="6907174" cy="1083733"/>
        </a:xfrm>
        <a:prstGeom prst="rect">
          <a:avLst/>
        </a:prstGeom>
        <a:solidFill>
          <a:srgbClr val="0070C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60213" tIns="68580" rIns="68580" bIns="68580" numCol="1" spcCol="1270" anchor="ctr" anchorCtr="0">
          <a:noAutofit/>
        </a:bodyPr>
        <a:lstStyle/>
        <a:p>
          <a:pPr lvl="0" algn="l" defTabSz="1200150" latinLnBrk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ko-KR" altLang="en-US" sz="2700" kern="1200" dirty="0"/>
            <a:t>지원 정책 질과 양 </a:t>
          </a:r>
        </a:p>
      </dsp:txBody>
      <dsp:txXfrm>
        <a:off x="1146048" y="2167466"/>
        <a:ext cx="6907174" cy="1083733"/>
      </dsp:txXfrm>
    </dsp:sp>
    <dsp:sp modelId="{7F102B11-372A-46A6-BD0F-B572CCCFA797}">
      <dsp:nvSpPr>
        <dsp:cNvPr id="0" name=""/>
        <dsp:cNvSpPr/>
      </dsp:nvSpPr>
      <dsp:spPr>
        <a:xfrm>
          <a:off x="468714" y="2032000"/>
          <a:ext cx="1354666" cy="1354666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3">
              <a:hueOff val="5625132"/>
              <a:satOff val="-8440"/>
              <a:lumOff val="-1373"/>
              <a:alphaOff val="0"/>
            </a:schemeClr>
          </a:solidFill>
          <a:prstDash val="solid"/>
          <a:miter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35F5DB9A-71DD-4EC2-872B-5DED884CFEFE}">
      <dsp:nvSpPr>
        <dsp:cNvPr id="0" name=""/>
        <dsp:cNvSpPr/>
      </dsp:nvSpPr>
      <dsp:spPr>
        <a:xfrm>
          <a:off x="752110" y="3793066"/>
          <a:ext cx="7301111" cy="1083733"/>
        </a:xfrm>
        <a:prstGeom prst="rect">
          <a:avLst/>
        </a:prstGeom>
        <a:solidFill>
          <a:schemeClr val="accent3">
            <a:hueOff val="11250264"/>
            <a:satOff val="-16880"/>
            <a:lumOff val="-2745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60213" tIns="68580" rIns="68580" bIns="68580" numCol="1" spcCol="1270" anchor="ctr" anchorCtr="0">
          <a:noAutofit/>
        </a:bodyPr>
        <a:lstStyle/>
        <a:p>
          <a:pPr lvl="0" algn="l" defTabSz="1200150" latinLnBrk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ko-KR" altLang="en-US" sz="2700" kern="1200" dirty="0"/>
            <a:t>활용 인프라</a:t>
          </a:r>
          <a:r>
            <a:rPr lang="en-US" altLang="ko-KR" sz="2700" kern="1200" dirty="0"/>
            <a:t>(</a:t>
          </a:r>
          <a:r>
            <a:rPr lang="ko-KR" altLang="en-US" sz="2700" kern="1200" dirty="0"/>
            <a:t>교육</a:t>
          </a:r>
          <a:r>
            <a:rPr lang="en-US" altLang="ko-KR" sz="2700" kern="1200" dirty="0"/>
            <a:t>/</a:t>
          </a:r>
          <a:r>
            <a:rPr lang="ko-KR" altLang="en-US" sz="2700" kern="1200" dirty="0"/>
            <a:t>스마트시티 </a:t>
          </a:r>
          <a:r>
            <a:rPr lang="en-US" altLang="ko-KR" sz="2700" kern="1200" dirty="0"/>
            <a:t>/</a:t>
          </a:r>
          <a:r>
            <a:rPr lang="ko-KR" altLang="en-US" sz="2700" kern="1200" dirty="0" err="1"/>
            <a:t>플렛폼</a:t>
          </a:r>
          <a:r>
            <a:rPr lang="ko-KR" altLang="en-US" sz="2700" kern="1200" dirty="0"/>
            <a:t> 등</a:t>
          </a:r>
          <a:r>
            <a:rPr lang="en-US" altLang="ko-KR" sz="2700" kern="1200" dirty="0"/>
            <a:t>)</a:t>
          </a:r>
          <a:r>
            <a:rPr lang="ko-KR" altLang="en-US" sz="2700" kern="1200" dirty="0"/>
            <a:t> </a:t>
          </a:r>
        </a:p>
      </dsp:txBody>
      <dsp:txXfrm>
        <a:off x="752110" y="3793066"/>
        <a:ext cx="7301111" cy="1083733"/>
      </dsp:txXfrm>
    </dsp:sp>
    <dsp:sp modelId="{A788E3CA-FDD6-4B69-ABE7-BE059A1418B4}">
      <dsp:nvSpPr>
        <dsp:cNvPr id="0" name=""/>
        <dsp:cNvSpPr/>
      </dsp:nvSpPr>
      <dsp:spPr>
        <a:xfrm>
          <a:off x="74777" y="3657600"/>
          <a:ext cx="1354666" cy="1354666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3">
              <a:hueOff val="11250264"/>
              <a:satOff val="-16880"/>
              <a:lumOff val="-2745"/>
              <a:alphaOff val="0"/>
            </a:schemeClr>
          </a:solidFill>
          <a:prstDash val="solid"/>
          <a:miter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19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EB5B033-AF07-4DF1-BB05-1EC545FE3AE2}">
      <dsp:nvSpPr>
        <dsp:cNvPr id="0" name=""/>
        <dsp:cNvSpPr/>
      </dsp:nvSpPr>
      <dsp:spPr>
        <a:xfrm>
          <a:off x="504699" y="1836069"/>
          <a:ext cx="1998029" cy="1746528"/>
        </a:xfrm>
        <a:prstGeom prst="rightArrow">
          <a:avLst>
            <a:gd name="adj1" fmla="val 70000"/>
            <a:gd name="adj2" fmla="val 50000"/>
          </a:avLst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7940" tIns="6985" rIns="13970" bIns="6985" numCol="1" spcCol="1270" anchor="ctr" anchorCtr="0">
          <a:noAutofit/>
        </a:bodyPr>
        <a:lstStyle/>
        <a:p>
          <a:pPr marL="57150" lvl="1" indent="-57150" algn="l" defTabSz="488950" latinLnBrk="1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ko-KR" altLang="en-US" sz="1100" kern="1200" dirty="0"/>
            <a:t>공적 기관 </a:t>
          </a:r>
        </a:p>
        <a:p>
          <a:pPr marL="57150" lvl="1" indent="-57150" algn="l" defTabSz="488950" latinLnBrk="1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altLang="ko-KR" sz="1100" kern="1200" dirty="0"/>
            <a:t> </a:t>
          </a:r>
          <a:r>
            <a:rPr lang="ko-KR" altLang="en-US" sz="1100" kern="1200" dirty="0" err="1"/>
            <a:t>사적기관</a:t>
          </a:r>
          <a:r>
            <a:rPr lang="ko-KR" altLang="en-US" sz="1100" kern="1200" dirty="0"/>
            <a:t> </a:t>
          </a:r>
        </a:p>
      </dsp:txBody>
      <dsp:txXfrm>
        <a:off x="1004207" y="2098048"/>
        <a:ext cx="974039" cy="1222570"/>
      </dsp:txXfrm>
    </dsp:sp>
    <dsp:sp modelId="{FF84EC17-1AAF-4B73-BA1B-D786EACB8830}">
      <dsp:nvSpPr>
        <dsp:cNvPr id="0" name=""/>
        <dsp:cNvSpPr/>
      </dsp:nvSpPr>
      <dsp:spPr>
        <a:xfrm>
          <a:off x="5192" y="2209826"/>
          <a:ext cx="999014" cy="999014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lvl="0" algn="ctr" defTabSz="711200" latinLnBrk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ko-KR" altLang="en-US" sz="1600" kern="1200" dirty="0" err="1"/>
            <a:t>빅데이터</a:t>
          </a:r>
          <a:r>
            <a:rPr lang="ko-KR" altLang="en-US" sz="1600" kern="1200" dirty="0"/>
            <a:t> 수집 </a:t>
          </a:r>
        </a:p>
      </dsp:txBody>
      <dsp:txXfrm>
        <a:off x="151494" y="2356128"/>
        <a:ext cx="706410" cy="706410"/>
      </dsp:txXfrm>
    </dsp:sp>
    <dsp:sp modelId="{12126160-5290-491E-A51E-4A19A44E27BF}">
      <dsp:nvSpPr>
        <dsp:cNvPr id="0" name=""/>
        <dsp:cNvSpPr/>
      </dsp:nvSpPr>
      <dsp:spPr>
        <a:xfrm>
          <a:off x="3127113" y="1836069"/>
          <a:ext cx="1998029" cy="1746528"/>
        </a:xfrm>
        <a:prstGeom prst="rightArrow">
          <a:avLst>
            <a:gd name="adj1" fmla="val 70000"/>
            <a:gd name="adj2" fmla="val 50000"/>
          </a:avLst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7940" tIns="6985" rIns="13970" bIns="6985" numCol="1" spcCol="1270" anchor="ctr" anchorCtr="0">
          <a:noAutofit/>
        </a:bodyPr>
        <a:lstStyle/>
        <a:p>
          <a:pPr marL="57150" lvl="1" indent="-57150" algn="l" defTabSz="488950" latinLnBrk="1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altLang="ko-KR" sz="1100" kern="1200" dirty="0"/>
            <a:t> </a:t>
          </a:r>
          <a:r>
            <a:rPr lang="ko-KR" altLang="en-US" sz="1100" kern="1200" dirty="0" err="1"/>
            <a:t>그룹핑</a:t>
          </a:r>
          <a:r>
            <a:rPr lang="ko-KR" altLang="en-US" sz="1100" kern="1200" dirty="0"/>
            <a:t> </a:t>
          </a:r>
        </a:p>
        <a:p>
          <a:pPr marL="57150" lvl="1" indent="-57150" algn="l" defTabSz="488950" latinLnBrk="1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altLang="ko-KR" sz="1100" kern="1200" dirty="0"/>
            <a:t>  </a:t>
          </a:r>
          <a:r>
            <a:rPr lang="ko-KR" altLang="en-US" sz="1100" kern="1200" dirty="0"/>
            <a:t>분석 </a:t>
          </a:r>
        </a:p>
      </dsp:txBody>
      <dsp:txXfrm>
        <a:off x="3626620" y="2098048"/>
        <a:ext cx="974039" cy="1222570"/>
      </dsp:txXfrm>
    </dsp:sp>
    <dsp:sp modelId="{0EB26D1C-C8CC-4FF1-81F3-2470D0D1BD1E}">
      <dsp:nvSpPr>
        <dsp:cNvPr id="0" name=""/>
        <dsp:cNvSpPr/>
      </dsp:nvSpPr>
      <dsp:spPr>
        <a:xfrm>
          <a:off x="2627605" y="2209826"/>
          <a:ext cx="999014" cy="999014"/>
        </a:xfrm>
        <a:prstGeom prst="ellipse">
          <a:avLst/>
        </a:prstGeom>
        <a:solidFill>
          <a:srgbClr val="00B05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lvl="0" algn="ctr" defTabSz="711200" latinLnBrk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ko-KR" altLang="en-US" sz="1600" kern="1200" dirty="0"/>
            <a:t>가공</a:t>
          </a:r>
          <a:r>
            <a:rPr lang="en-US" altLang="ko-KR" sz="1600" kern="1200" dirty="0"/>
            <a:t>/</a:t>
          </a:r>
          <a:r>
            <a:rPr lang="ko-KR" altLang="en-US" sz="1600" kern="1200" dirty="0"/>
            <a:t>보관 </a:t>
          </a:r>
        </a:p>
      </dsp:txBody>
      <dsp:txXfrm>
        <a:off x="2773907" y="2356128"/>
        <a:ext cx="706410" cy="706410"/>
      </dsp:txXfrm>
    </dsp:sp>
    <dsp:sp modelId="{2B36068C-FBE3-43CA-9089-F87D32C4EA18}">
      <dsp:nvSpPr>
        <dsp:cNvPr id="0" name=""/>
        <dsp:cNvSpPr/>
      </dsp:nvSpPr>
      <dsp:spPr>
        <a:xfrm>
          <a:off x="5749526" y="1811617"/>
          <a:ext cx="1998029" cy="1746528"/>
        </a:xfrm>
        <a:prstGeom prst="rightArrow">
          <a:avLst>
            <a:gd name="adj1" fmla="val 70000"/>
            <a:gd name="adj2" fmla="val 50000"/>
          </a:avLst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7940" tIns="6985" rIns="13970" bIns="6985" numCol="1" spcCol="1270" anchor="ctr" anchorCtr="0">
          <a:noAutofit/>
        </a:bodyPr>
        <a:lstStyle/>
        <a:p>
          <a:pPr marL="57150" lvl="1" indent="-57150" algn="l" defTabSz="488950" latinLnBrk="1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altLang="ko-KR" sz="1100" kern="1200" dirty="0"/>
            <a:t> </a:t>
          </a:r>
          <a:r>
            <a:rPr lang="ko-KR" altLang="en-US" sz="1100" kern="1200" dirty="0"/>
            <a:t>공익 적 가치  거래</a:t>
          </a:r>
        </a:p>
        <a:p>
          <a:pPr marL="57150" lvl="1" indent="-57150" algn="l" defTabSz="488950" latinLnBrk="1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altLang="ko-KR" sz="1100" kern="1200" dirty="0"/>
            <a:t>  </a:t>
          </a:r>
          <a:r>
            <a:rPr lang="ko-KR" altLang="en-US" sz="1100" kern="1200" dirty="0"/>
            <a:t>한국 적 </a:t>
          </a:r>
          <a:r>
            <a:rPr lang="ko-KR" altLang="en-US" sz="1100" kern="1200" dirty="0" err="1"/>
            <a:t>빅데이터</a:t>
          </a:r>
          <a:r>
            <a:rPr lang="ko-KR" altLang="en-US" sz="1100" kern="1200" dirty="0"/>
            <a:t> 표준 </a:t>
          </a:r>
          <a:r>
            <a:rPr lang="en-US" altLang="ko-KR" sz="1100" kern="1200" dirty="0"/>
            <a:t>&amp; </a:t>
          </a:r>
          <a:r>
            <a:rPr lang="ko-KR" altLang="en-US" sz="1100" kern="1200" dirty="0"/>
            <a:t>보안  </a:t>
          </a:r>
        </a:p>
      </dsp:txBody>
      <dsp:txXfrm>
        <a:off x="6249033" y="2073596"/>
        <a:ext cx="974039" cy="1222570"/>
      </dsp:txXfrm>
    </dsp:sp>
    <dsp:sp modelId="{370EF0DB-070B-429D-B61C-F9EADB0098E0}">
      <dsp:nvSpPr>
        <dsp:cNvPr id="0" name=""/>
        <dsp:cNvSpPr/>
      </dsp:nvSpPr>
      <dsp:spPr>
        <a:xfrm>
          <a:off x="5250018" y="2209826"/>
          <a:ext cx="999014" cy="999014"/>
        </a:xfrm>
        <a:prstGeom prst="ellipse">
          <a:avLst/>
        </a:prstGeom>
        <a:solidFill>
          <a:srgbClr val="0070C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lvl="0" algn="ctr" defTabSz="711200" latinLnBrk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ko-KR" altLang="en-US" sz="1600" kern="1200" dirty="0"/>
            <a:t>전달 </a:t>
          </a:r>
        </a:p>
      </dsp:txBody>
      <dsp:txXfrm>
        <a:off x="5396320" y="2356128"/>
        <a:ext cx="706410" cy="706410"/>
      </dsp:txXfrm>
    </dsp:sp>
    <dsp:sp modelId="{72E4A7DC-5B0F-442C-8910-748987640931}">
      <dsp:nvSpPr>
        <dsp:cNvPr id="0" name=""/>
        <dsp:cNvSpPr/>
      </dsp:nvSpPr>
      <dsp:spPr>
        <a:xfrm>
          <a:off x="8371939" y="1836069"/>
          <a:ext cx="1998029" cy="1746528"/>
        </a:xfrm>
        <a:prstGeom prst="rightArrow">
          <a:avLst>
            <a:gd name="adj1" fmla="val 70000"/>
            <a:gd name="adj2" fmla="val 50000"/>
          </a:avLst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7940" tIns="6985" rIns="13970" bIns="6985" numCol="1" spcCol="1270" anchor="ctr" anchorCtr="0">
          <a:noAutofit/>
        </a:bodyPr>
        <a:lstStyle/>
        <a:p>
          <a:pPr lvl="0" algn="ctr" defTabSz="488950" latinLnBrk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ko-KR" altLang="en-US" sz="1100" kern="1200" dirty="0"/>
            <a:t>기업전달 </a:t>
          </a:r>
          <a:endParaRPr lang="en-US" altLang="ko-KR" sz="1100" kern="1200" dirty="0"/>
        </a:p>
        <a:p>
          <a:pPr lvl="0" algn="ctr" defTabSz="488950" latinLnBrk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ko-KR" altLang="en-US" sz="1100" kern="1200" dirty="0"/>
            <a:t>산업화 </a:t>
          </a:r>
        </a:p>
      </dsp:txBody>
      <dsp:txXfrm>
        <a:off x="8871446" y="2098048"/>
        <a:ext cx="974039" cy="1222570"/>
      </dsp:txXfrm>
    </dsp:sp>
    <dsp:sp modelId="{7BD0B3FE-125E-4323-88A5-E70DA8466974}">
      <dsp:nvSpPr>
        <dsp:cNvPr id="0" name=""/>
        <dsp:cNvSpPr/>
      </dsp:nvSpPr>
      <dsp:spPr>
        <a:xfrm>
          <a:off x="7817885" y="2159266"/>
          <a:ext cx="999014" cy="999014"/>
        </a:xfrm>
        <a:prstGeom prst="ellipse">
          <a:avLst/>
        </a:prstGeom>
        <a:solidFill>
          <a:srgbClr val="FF000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lvl="0" algn="ctr" defTabSz="711200" latinLnBrk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altLang="ko-KR" sz="1600" kern="1200" dirty="0"/>
            <a:t>AI</a:t>
          </a:r>
          <a:endParaRPr lang="ko-KR" altLang="en-US" sz="1600" kern="1200" dirty="0"/>
        </a:p>
      </dsp:txBody>
      <dsp:txXfrm>
        <a:off x="7964187" y="2305568"/>
        <a:ext cx="706410" cy="706410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64CB8F9-286B-4F67-8183-D6C1449A92D7}">
      <dsp:nvSpPr>
        <dsp:cNvPr id="0" name=""/>
        <dsp:cNvSpPr/>
      </dsp:nvSpPr>
      <dsp:spPr>
        <a:xfrm>
          <a:off x="0" y="1545993"/>
          <a:ext cx="8128000" cy="5796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  <a:miter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E773FB58-CF99-4F79-97DA-85D7D2234B39}">
      <dsp:nvSpPr>
        <dsp:cNvPr id="0" name=""/>
        <dsp:cNvSpPr/>
      </dsp:nvSpPr>
      <dsp:spPr>
        <a:xfrm>
          <a:off x="406400" y="1206513"/>
          <a:ext cx="5689600" cy="678960"/>
        </a:xfrm>
        <a:prstGeom prst="roundRect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15053" tIns="0" rIns="215053" bIns="0" numCol="1" spcCol="1270" anchor="ctr" anchorCtr="0">
          <a:noAutofit/>
        </a:bodyPr>
        <a:lstStyle/>
        <a:p>
          <a:pPr lvl="0" algn="l" defTabSz="1022350" latinLnBrk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ko-KR" altLang="en-US" sz="2300" kern="1200" dirty="0"/>
            <a:t>선행 문헌연구 </a:t>
          </a:r>
        </a:p>
      </dsp:txBody>
      <dsp:txXfrm>
        <a:off x="439544" y="1239657"/>
        <a:ext cx="5623312" cy="612672"/>
      </dsp:txXfrm>
    </dsp:sp>
    <dsp:sp modelId="{136EFB8D-42B3-4D6C-B957-B71F44341693}">
      <dsp:nvSpPr>
        <dsp:cNvPr id="0" name=""/>
        <dsp:cNvSpPr/>
      </dsp:nvSpPr>
      <dsp:spPr>
        <a:xfrm>
          <a:off x="0" y="2589273"/>
          <a:ext cx="8128000" cy="5796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3">
              <a:hueOff val="5625132"/>
              <a:satOff val="-8440"/>
              <a:lumOff val="-1373"/>
              <a:alphaOff val="0"/>
            </a:schemeClr>
          </a:solidFill>
          <a:prstDash val="solid"/>
          <a:miter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E49C3508-A382-404D-A855-4272ED52BFCC}">
      <dsp:nvSpPr>
        <dsp:cNvPr id="0" name=""/>
        <dsp:cNvSpPr/>
      </dsp:nvSpPr>
      <dsp:spPr>
        <a:xfrm>
          <a:off x="406400" y="2249793"/>
          <a:ext cx="5689600" cy="678960"/>
        </a:xfrm>
        <a:prstGeom prst="roundRect">
          <a:avLst/>
        </a:prstGeom>
        <a:solidFill>
          <a:schemeClr val="accent3">
            <a:hueOff val="5625132"/>
            <a:satOff val="-8440"/>
            <a:lumOff val="-1373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15053" tIns="0" rIns="215053" bIns="0" numCol="1" spcCol="1270" anchor="ctr" anchorCtr="0">
          <a:noAutofit/>
        </a:bodyPr>
        <a:lstStyle/>
        <a:p>
          <a:pPr lvl="0" algn="l" defTabSz="1022350" latinLnBrk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ko-KR" altLang="en-US" sz="2300" kern="1200" dirty="0" smtClean="0"/>
            <a:t>활용사례연구</a:t>
          </a:r>
          <a:r>
            <a:rPr lang="en-US" altLang="ko-KR" sz="2300" kern="1200" dirty="0" smtClean="0"/>
            <a:t>&gt;</a:t>
          </a:r>
          <a:r>
            <a:rPr lang="ko-KR" altLang="en-US" sz="2300" kern="1200" dirty="0" smtClean="0"/>
            <a:t> </a:t>
          </a:r>
          <a:r>
            <a:rPr lang="ko-KR" altLang="en-US" sz="2300" kern="1200" dirty="0"/>
            <a:t>귀납적 검증</a:t>
          </a:r>
          <a:r>
            <a:rPr lang="en-US" altLang="ko-KR" sz="2300" kern="1200" dirty="0"/>
            <a:t>: AI </a:t>
          </a:r>
          <a:r>
            <a:rPr lang="ko-KR" altLang="en-US" sz="2300" kern="1200" dirty="0"/>
            <a:t>필요성</a:t>
          </a:r>
          <a:r>
            <a:rPr lang="en-US" altLang="ko-KR" sz="2300" kern="1200" dirty="0"/>
            <a:t> </a:t>
          </a:r>
          <a:r>
            <a:rPr lang="ko-KR" altLang="en-US" sz="2300" kern="1200" dirty="0"/>
            <a:t>  </a:t>
          </a:r>
        </a:p>
      </dsp:txBody>
      <dsp:txXfrm>
        <a:off x="439544" y="2282937"/>
        <a:ext cx="5623312" cy="612672"/>
      </dsp:txXfrm>
    </dsp:sp>
    <dsp:sp modelId="{ACA2A516-B6C6-49A9-83B6-0A3889B12261}">
      <dsp:nvSpPr>
        <dsp:cNvPr id="0" name=""/>
        <dsp:cNvSpPr/>
      </dsp:nvSpPr>
      <dsp:spPr>
        <a:xfrm>
          <a:off x="0" y="3632553"/>
          <a:ext cx="8128000" cy="5796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3">
              <a:hueOff val="11250264"/>
              <a:satOff val="-16880"/>
              <a:lumOff val="-2745"/>
              <a:alphaOff val="0"/>
            </a:schemeClr>
          </a:solidFill>
          <a:prstDash val="solid"/>
          <a:miter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2C8B4DD7-671C-403E-BA18-5DCD9F88FEE2}">
      <dsp:nvSpPr>
        <dsp:cNvPr id="0" name=""/>
        <dsp:cNvSpPr/>
      </dsp:nvSpPr>
      <dsp:spPr>
        <a:xfrm>
          <a:off x="406400" y="3293073"/>
          <a:ext cx="5689600" cy="678960"/>
        </a:xfrm>
        <a:prstGeom prst="roundRect">
          <a:avLst/>
        </a:prstGeom>
        <a:solidFill>
          <a:schemeClr val="accent3">
            <a:hueOff val="11250264"/>
            <a:satOff val="-16880"/>
            <a:lumOff val="-2745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15053" tIns="0" rIns="215053" bIns="0" numCol="1" spcCol="1270" anchor="ctr" anchorCtr="0">
          <a:noAutofit/>
        </a:bodyPr>
        <a:lstStyle/>
        <a:p>
          <a:pPr lvl="0" algn="l" defTabSz="1022350" latinLnBrk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ko-KR" altLang="en-US" sz="2300" b="0" i="0" kern="1200" dirty="0" err="1"/>
            <a:t>탐험적</a:t>
          </a:r>
          <a:r>
            <a:rPr lang="ko-KR" altLang="en-US" sz="2300" b="0" i="0" kern="1200" dirty="0"/>
            <a:t> 분석을 통한 </a:t>
          </a:r>
          <a:r>
            <a:rPr lang="ko-KR" altLang="en-US" sz="2300" kern="1200" dirty="0"/>
            <a:t>규범적 제안   </a:t>
          </a:r>
        </a:p>
      </dsp:txBody>
      <dsp:txXfrm>
        <a:off x="439544" y="3326217"/>
        <a:ext cx="5623312" cy="612672"/>
      </dsp:txXfrm>
    </dsp:sp>
  </dsp:spTree>
</dsp:drawing>
</file>

<file path=ppt/diagrams/drawing20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8F0B71D-7BA9-465D-897F-2104CAC2DE41}">
      <dsp:nvSpPr>
        <dsp:cNvPr id="0" name=""/>
        <dsp:cNvSpPr/>
      </dsp:nvSpPr>
      <dsp:spPr>
        <a:xfrm>
          <a:off x="3465679" y="2069923"/>
          <a:ext cx="3191117" cy="3191117"/>
        </a:xfrm>
        <a:prstGeom prst="gear9">
          <a:avLst/>
        </a:prstGeom>
        <a:solidFill>
          <a:srgbClr val="0070C0"/>
        </a:solidFill>
        <a:ln>
          <a:noFill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20320" tIns="20320" rIns="20320" bIns="20320" numCol="1" spcCol="1270" anchor="ctr" anchorCtr="0">
          <a:noAutofit/>
        </a:bodyPr>
        <a:lstStyle/>
        <a:p>
          <a:pPr lvl="0" algn="ctr" defTabSz="711200" latinLnBrk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altLang="ko-KR" sz="1600" kern="1200" dirty="0"/>
            <a:t>AI </a:t>
          </a:r>
          <a:r>
            <a:rPr lang="ko-KR" altLang="en-US" sz="1600" kern="1200" dirty="0"/>
            <a:t>분석</a:t>
          </a:r>
          <a:r>
            <a:rPr lang="en-US" altLang="ko-KR" sz="1600" kern="1200" dirty="0"/>
            <a:t> /</a:t>
          </a:r>
          <a:r>
            <a:rPr lang="ko-KR" altLang="en-US" sz="1600" kern="1200" dirty="0"/>
            <a:t>표현 방법기술</a:t>
          </a:r>
          <a:r>
            <a:rPr lang="en-US" altLang="ko-KR" sz="1600" kern="1200" dirty="0"/>
            <a:t> </a:t>
          </a:r>
        </a:p>
        <a:p>
          <a:pPr lvl="0" algn="ctr" defTabSz="711200" latinLnBrk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altLang="ko-KR" sz="1600" kern="1200" dirty="0"/>
            <a:t>SW/HW</a:t>
          </a:r>
        </a:p>
        <a:p>
          <a:pPr lvl="0" algn="ctr" defTabSz="711200" latinLnBrk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ko-KR" altLang="en-US" sz="1600" kern="1200" dirty="0"/>
            <a:t>한국형</a:t>
          </a:r>
          <a:r>
            <a:rPr lang="en-US" altLang="ko-KR" sz="1600" kern="1200" dirty="0"/>
            <a:t> Chet GPT </a:t>
          </a:r>
          <a:endParaRPr lang="ko-KR" altLang="en-US" sz="1600" kern="1200" dirty="0"/>
        </a:p>
      </dsp:txBody>
      <dsp:txXfrm>
        <a:off x="4107235" y="2817427"/>
        <a:ext cx="1908005" cy="1640300"/>
      </dsp:txXfrm>
    </dsp:sp>
    <dsp:sp modelId="{D4C1249B-D779-4C2C-9CB5-EE0525C1722E}">
      <dsp:nvSpPr>
        <dsp:cNvPr id="0" name=""/>
        <dsp:cNvSpPr/>
      </dsp:nvSpPr>
      <dsp:spPr>
        <a:xfrm>
          <a:off x="1875264" y="1856649"/>
          <a:ext cx="2320812" cy="2320812"/>
        </a:xfrm>
        <a:prstGeom prst="gear6">
          <a:avLst/>
        </a:prstGeom>
        <a:solidFill>
          <a:srgbClr val="FFC000"/>
        </a:solidFill>
        <a:ln>
          <a:noFill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30480" tIns="30480" rIns="30480" bIns="30480" numCol="1" spcCol="1270" anchor="ctr" anchorCtr="0">
          <a:noAutofit/>
        </a:bodyPr>
        <a:lstStyle/>
        <a:p>
          <a:pPr lvl="0" algn="ctr" defTabSz="1066800" latinLnBrk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altLang="ko-KR" sz="2400" b="1" kern="1200" dirty="0">
              <a:solidFill>
                <a:schemeClr val="tx1"/>
              </a:solidFill>
            </a:rPr>
            <a:t>6G/</a:t>
          </a:r>
          <a:r>
            <a:rPr lang="ko-KR" altLang="en-US" sz="2000" b="0" kern="1200" dirty="0">
              <a:solidFill>
                <a:schemeClr val="tx1"/>
              </a:solidFill>
            </a:rPr>
            <a:t>우주 인공위성 </a:t>
          </a:r>
          <a:r>
            <a:rPr lang="en-US" altLang="ko-KR" sz="2400" b="1" kern="1200" dirty="0">
              <a:solidFill>
                <a:schemeClr val="tx1"/>
              </a:solidFill>
            </a:rPr>
            <a:t> </a:t>
          </a:r>
          <a:endParaRPr lang="ko-KR" altLang="en-US" sz="2400" b="1" kern="1200" dirty="0">
            <a:solidFill>
              <a:schemeClr val="tx1"/>
            </a:solidFill>
          </a:endParaRPr>
        </a:p>
      </dsp:txBody>
      <dsp:txXfrm>
        <a:off x="2459535" y="2444452"/>
        <a:ext cx="1152270" cy="1145206"/>
      </dsp:txXfrm>
    </dsp:sp>
    <dsp:sp modelId="{D0D80A23-AA75-4603-822B-B2AFA808A71E}">
      <dsp:nvSpPr>
        <dsp:cNvPr id="0" name=""/>
        <dsp:cNvSpPr/>
      </dsp:nvSpPr>
      <dsp:spPr>
        <a:xfrm rot="20700000">
          <a:off x="3175155" y="255526"/>
          <a:ext cx="2273922" cy="2273922"/>
        </a:xfrm>
        <a:prstGeom prst="gear6">
          <a:avLst/>
        </a:prstGeom>
        <a:solidFill>
          <a:schemeClr val="accent2">
            <a:hueOff val="4681519"/>
            <a:satOff val="-5839"/>
            <a:lumOff val="1373"/>
            <a:alphaOff val="0"/>
          </a:schemeClr>
        </a:solidFill>
        <a:ln>
          <a:noFill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20320" tIns="20320" rIns="20320" bIns="20320" numCol="1" spcCol="1270" anchor="ctr" anchorCtr="0">
          <a:noAutofit/>
        </a:bodyPr>
        <a:lstStyle/>
        <a:p>
          <a:pPr lvl="0" algn="ctr" defTabSz="711200" latinLnBrk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ko-KR" altLang="en-US" sz="1600" kern="1200" dirty="0"/>
            <a:t>스마트시티 </a:t>
          </a:r>
        </a:p>
      </dsp:txBody>
      <dsp:txXfrm rot="-20700000">
        <a:off x="3673893" y="754264"/>
        <a:ext cx="1276446" cy="1276446"/>
      </dsp:txXfrm>
    </dsp:sp>
    <dsp:sp modelId="{F0B4E438-C1A7-44D7-B1AA-6A94857501AE}">
      <dsp:nvSpPr>
        <dsp:cNvPr id="0" name=""/>
        <dsp:cNvSpPr/>
      </dsp:nvSpPr>
      <dsp:spPr>
        <a:xfrm>
          <a:off x="4892320" y="754264"/>
          <a:ext cx="2030710" cy="1218426"/>
        </a:xfrm>
        <a:prstGeom prst="roundRect">
          <a:avLst>
            <a:gd name="adj" fmla="val 10000"/>
          </a:avLst>
        </a:prstGeom>
        <a:solidFill>
          <a:srgbClr val="00B0F0"/>
        </a:solidFill>
        <a:ln>
          <a:noFill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z="300000"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8580" tIns="68580" rIns="68580" bIns="68580" numCol="1" spcCol="1270" anchor="t" anchorCtr="0">
          <a:noAutofit/>
        </a:bodyPr>
        <a:lstStyle/>
        <a:p>
          <a:pPr marL="171450" lvl="1" indent="-171450" algn="l" defTabSz="800100" latinLnBrk="1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ko-KR" altLang="en-US" sz="1800" kern="1200" dirty="0"/>
            <a:t>반도체</a:t>
          </a:r>
          <a:r>
            <a:rPr lang="en-US" altLang="ko-KR" sz="1800" kern="1200" dirty="0"/>
            <a:t>/</a:t>
          </a:r>
        </a:p>
        <a:p>
          <a:pPr marL="171450" lvl="1" indent="-171450" algn="l" defTabSz="800100" latinLnBrk="1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ko-KR" altLang="en-US" sz="1800" kern="1200" dirty="0"/>
            <a:t>컴퓨팅 </a:t>
          </a:r>
          <a:endParaRPr lang="en-US" altLang="ko-KR" sz="1800" kern="1200" dirty="0"/>
        </a:p>
        <a:p>
          <a:pPr marL="171450" lvl="1" indent="-171450" algn="l" defTabSz="800100" latinLnBrk="1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altLang="ko-KR" sz="1800" kern="1200" dirty="0"/>
            <a:t>* </a:t>
          </a:r>
          <a:r>
            <a:rPr lang="ko-KR" altLang="en-US" sz="1800" kern="1200" dirty="0"/>
            <a:t>양자컴퓨터  </a:t>
          </a:r>
        </a:p>
      </dsp:txBody>
      <dsp:txXfrm>
        <a:off x="4928006" y="789950"/>
        <a:ext cx="1959338" cy="1147054"/>
      </dsp:txXfrm>
    </dsp:sp>
    <dsp:sp modelId="{C15EB928-5C16-455F-9AEF-C3EA87D08819}">
      <dsp:nvSpPr>
        <dsp:cNvPr id="0" name=""/>
        <dsp:cNvSpPr/>
      </dsp:nvSpPr>
      <dsp:spPr>
        <a:xfrm>
          <a:off x="3116495" y="1543527"/>
          <a:ext cx="4084629" cy="4084629"/>
        </a:xfrm>
        <a:prstGeom prst="circularArrow">
          <a:avLst>
            <a:gd name="adj1" fmla="val 4687"/>
            <a:gd name="adj2" fmla="val 299029"/>
            <a:gd name="adj3" fmla="val 2544706"/>
            <a:gd name="adj4" fmla="val 15801111"/>
            <a:gd name="adj5" fmla="val 5469"/>
          </a:avLst>
        </a:prstGeom>
        <a:solidFill>
          <a:schemeClr val="accent2"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z="-182000"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A79EAF3E-671B-4816-A85A-5BBC1FE72B22}">
      <dsp:nvSpPr>
        <dsp:cNvPr id="0" name=""/>
        <dsp:cNvSpPr/>
      </dsp:nvSpPr>
      <dsp:spPr>
        <a:xfrm>
          <a:off x="1464252" y="1336242"/>
          <a:ext cx="2967738" cy="2967738"/>
        </a:xfrm>
        <a:prstGeom prst="leftCircularArrow">
          <a:avLst>
            <a:gd name="adj1" fmla="val 6452"/>
            <a:gd name="adj2" fmla="val 429999"/>
            <a:gd name="adj3" fmla="val 10489124"/>
            <a:gd name="adj4" fmla="val 14837806"/>
            <a:gd name="adj5" fmla="val 7527"/>
          </a:avLst>
        </a:prstGeom>
        <a:solidFill>
          <a:schemeClr val="accent2">
            <a:hueOff val="2340759"/>
            <a:satOff val="-2919"/>
            <a:lumOff val="686"/>
            <a:alphaOff val="0"/>
          </a:schemeClr>
        </a:solidFill>
        <a:ln>
          <a:noFill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z="-182000"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096D26FF-3AED-4CA7-8FC4-55A5B5AD6346}">
      <dsp:nvSpPr>
        <dsp:cNvPr id="0" name=""/>
        <dsp:cNvSpPr/>
      </dsp:nvSpPr>
      <dsp:spPr>
        <a:xfrm>
          <a:off x="2649174" y="-249447"/>
          <a:ext cx="3199820" cy="3199820"/>
        </a:xfrm>
        <a:prstGeom prst="circularArrow">
          <a:avLst>
            <a:gd name="adj1" fmla="val 5984"/>
            <a:gd name="adj2" fmla="val 394124"/>
            <a:gd name="adj3" fmla="val 13313824"/>
            <a:gd name="adj4" fmla="val 10508221"/>
            <a:gd name="adj5" fmla="val 6981"/>
          </a:avLst>
        </a:prstGeom>
        <a:solidFill>
          <a:schemeClr val="accent2">
            <a:hueOff val="4681519"/>
            <a:satOff val="-5839"/>
            <a:lumOff val="1373"/>
            <a:alphaOff val="0"/>
          </a:schemeClr>
        </a:solidFill>
        <a:ln>
          <a:noFill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z="-182000"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</dsp:spTree>
</dsp:drawing>
</file>

<file path=ppt/diagrams/drawing2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83A0445-1A3C-43C7-B6EA-10FAE8D33876}">
      <dsp:nvSpPr>
        <dsp:cNvPr id="0" name=""/>
        <dsp:cNvSpPr/>
      </dsp:nvSpPr>
      <dsp:spPr>
        <a:xfrm>
          <a:off x="1312183" y="0"/>
          <a:ext cx="5503632" cy="5503632"/>
        </a:xfrm>
        <a:prstGeom prst="diamond">
          <a:avLst/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FA52CD6E-39BE-4C70-873C-431A21913283}">
      <dsp:nvSpPr>
        <dsp:cNvPr id="0" name=""/>
        <dsp:cNvSpPr/>
      </dsp:nvSpPr>
      <dsp:spPr>
        <a:xfrm>
          <a:off x="1835029" y="522845"/>
          <a:ext cx="2146416" cy="2146416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marR="0" lvl="0" indent="0" algn="ctr" defTabSz="914400" eaLnBrk="1" fontAlgn="auto" latinLnBrk="1" hangingPunct="1">
            <a:lnSpc>
              <a:spcPct val="100000"/>
            </a:lnSpc>
            <a:spcBef>
              <a:spcPct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ko-KR" altLang="en-US" sz="2000" b="0" kern="1200" dirty="0" err="1"/>
            <a:t>빅데이터</a:t>
          </a:r>
          <a:r>
            <a:rPr lang="ko-KR" altLang="en-US" sz="2000" b="0" kern="1200" dirty="0"/>
            <a:t> </a:t>
          </a:r>
          <a:r>
            <a:rPr lang="en-US" altLang="ko-KR" sz="2000" b="0" kern="1200" dirty="0"/>
            <a:t>&amp; AI  </a:t>
          </a:r>
          <a:r>
            <a:rPr lang="ko-KR" altLang="en-US" sz="2000" b="0" kern="1200" dirty="0"/>
            <a:t>분석 및 활용 지식 교양 필수 융합화 </a:t>
          </a:r>
        </a:p>
        <a:p>
          <a:pPr lvl="0" algn="ctr" defTabSz="1733550" latinLnBrk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ko-KR" altLang="en-US" kern="1200" dirty="0"/>
        </a:p>
      </dsp:txBody>
      <dsp:txXfrm>
        <a:off x="1939808" y="627624"/>
        <a:ext cx="1936858" cy="1936858"/>
      </dsp:txXfrm>
    </dsp:sp>
    <dsp:sp modelId="{AB7F71BD-83E1-4551-8DE5-DEDDAD70CCA7}">
      <dsp:nvSpPr>
        <dsp:cNvPr id="0" name=""/>
        <dsp:cNvSpPr/>
      </dsp:nvSpPr>
      <dsp:spPr>
        <a:xfrm>
          <a:off x="4146554" y="522845"/>
          <a:ext cx="2146416" cy="2146416"/>
        </a:xfrm>
        <a:prstGeom prst="roundRect">
          <a:avLst/>
        </a:prstGeom>
        <a:solidFill>
          <a:srgbClr val="FFC000"/>
        </a:solidFill>
        <a:ln w="6350" cap="flat" cmpd="sng" algn="ctr">
          <a:solidFill>
            <a:schemeClr val="accent2"/>
          </a:solidFill>
          <a:prstDash val="solid"/>
          <a:miter/>
        </a:ln>
        <a:effectLst/>
      </dsp:spPr>
      <dsp:style>
        <a:lnRef idx="1">
          <a:schemeClr val="accent2"/>
        </a:lnRef>
        <a:fillRef idx="2">
          <a:schemeClr val="accent2"/>
        </a:fillRef>
        <a:effectRef idx="1">
          <a:schemeClr val="accent2"/>
        </a:effectRef>
        <a:fontRef idx="minor">
          <a:schemeClr val="dk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marR="0" lvl="0" indent="0" algn="ctr" defTabSz="914400" eaLnBrk="1" fontAlgn="auto" latinLnBrk="1" hangingPunct="1">
            <a:lnSpc>
              <a:spcPct val="100000"/>
            </a:lnSpc>
            <a:spcBef>
              <a:spcPct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ko-KR" altLang="en-US" sz="1800" kern="1200" dirty="0"/>
            <a:t>인문학적  사고를 바탕으로 한 </a:t>
          </a:r>
          <a:endParaRPr lang="en-US" altLang="ko-KR" sz="1800" kern="1200" dirty="0"/>
        </a:p>
        <a:p>
          <a:pPr marL="0" marR="0" lvl="0" indent="0" algn="ctr" defTabSz="914400" eaLnBrk="1" fontAlgn="auto" latinLnBrk="1" hangingPunct="1">
            <a:lnSpc>
              <a:spcPct val="100000"/>
            </a:lnSpc>
            <a:spcBef>
              <a:spcPct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en-US" altLang="ko-KR" sz="1800" kern="1200" dirty="0"/>
            <a:t>AI &amp; </a:t>
          </a:r>
          <a:r>
            <a:rPr lang="ko-KR" altLang="en-US" sz="1800" kern="1200" dirty="0" err="1"/>
            <a:t>빅데이터</a:t>
          </a:r>
          <a:r>
            <a:rPr lang="ko-KR" altLang="en-US" sz="1800" kern="1200" dirty="0"/>
            <a:t> </a:t>
          </a:r>
          <a:endParaRPr lang="en-US" altLang="ko-KR" sz="1800" kern="1200" dirty="0"/>
        </a:p>
        <a:p>
          <a:pPr marL="0" marR="0" lvl="0" indent="0" algn="ctr" defTabSz="914400" eaLnBrk="1" fontAlgn="auto" latinLnBrk="1" hangingPunct="1">
            <a:lnSpc>
              <a:spcPct val="100000"/>
            </a:lnSpc>
            <a:spcBef>
              <a:spcPct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ko-KR" altLang="en-US" sz="1800" kern="1200" dirty="0"/>
            <a:t>전문가 육성  </a:t>
          </a:r>
        </a:p>
        <a:p>
          <a:pPr lvl="0" algn="ctr" defTabSz="1733550" latinLnBrk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ko-KR" altLang="en-US" kern="1200" dirty="0"/>
        </a:p>
      </dsp:txBody>
      <dsp:txXfrm>
        <a:off x="4251333" y="627624"/>
        <a:ext cx="1936858" cy="1936858"/>
      </dsp:txXfrm>
    </dsp:sp>
    <dsp:sp modelId="{41183CEC-A46F-41DF-9DFF-EE2729C59918}">
      <dsp:nvSpPr>
        <dsp:cNvPr id="0" name=""/>
        <dsp:cNvSpPr/>
      </dsp:nvSpPr>
      <dsp:spPr>
        <a:xfrm>
          <a:off x="1835029" y="2834370"/>
          <a:ext cx="2146416" cy="2146416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marR="0" lvl="0" indent="0" algn="just" defTabSz="914400" eaLnBrk="1" fontAlgn="auto" latinLnBrk="1" hangingPunct="1">
            <a:lnSpc>
              <a:spcPct val="100000"/>
            </a:lnSpc>
            <a:spcBef>
              <a:spcPct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ko-KR" altLang="en-US" sz="1800" kern="1200" dirty="0"/>
            <a:t>교육내용 내 행간의 뜻 </a:t>
          </a:r>
          <a:r>
            <a:rPr lang="ko-KR" altLang="en-US" sz="1800" b="1" kern="1200" dirty="0"/>
            <a:t>통찰하고 논리적이고 창의적 언어표현력</a:t>
          </a:r>
          <a:r>
            <a:rPr lang="en-US" altLang="ko-KR" sz="1800" kern="1200" dirty="0"/>
            <a:t>(</a:t>
          </a:r>
          <a:r>
            <a:rPr lang="ko-KR" altLang="en-US" sz="1800" kern="1200" dirty="0"/>
            <a:t>자연 명령어</a:t>
          </a:r>
          <a:r>
            <a:rPr lang="en-US" altLang="ko-KR" sz="1800" kern="1200" dirty="0"/>
            <a:t>)</a:t>
          </a:r>
          <a:r>
            <a:rPr lang="ko-KR" altLang="en-US" sz="1800" kern="1200" dirty="0"/>
            <a:t>내재화 </a:t>
          </a:r>
        </a:p>
      </dsp:txBody>
      <dsp:txXfrm>
        <a:off x="1939808" y="2939149"/>
        <a:ext cx="1936858" cy="1936858"/>
      </dsp:txXfrm>
    </dsp:sp>
    <dsp:sp modelId="{938362C5-6FCC-47E1-9DA5-773984C3B96D}">
      <dsp:nvSpPr>
        <dsp:cNvPr id="0" name=""/>
        <dsp:cNvSpPr/>
      </dsp:nvSpPr>
      <dsp:spPr>
        <a:xfrm>
          <a:off x="4146554" y="2834370"/>
          <a:ext cx="2146416" cy="2146416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lvl="0" algn="ctr" defTabSz="889000" latinLnBrk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ko-KR" altLang="en-US" sz="2000" kern="1200" dirty="0"/>
            <a:t>윤리적이고  </a:t>
          </a:r>
          <a:endParaRPr lang="en-US" altLang="ko-KR" sz="2000" kern="1200" dirty="0"/>
        </a:p>
        <a:p>
          <a:pPr lvl="0" algn="ctr" defTabSz="889000" latinLnBrk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ko-KR" altLang="en-US" sz="2000" kern="1200" dirty="0"/>
            <a:t>합리적인 </a:t>
          </a:r>
          <a:endParaRPr lang="en-US" altLang="ko-KR" sz="2000" kern="1200" dirty="0"/>
        </a:p>
        <a:p>
          <a:pPr lvl="0" algn="ctr" defTabSz="889000" latinLnBrk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ko-KR" altLang="en-US" sz="2000" kern="1200" dirty="0" err="1"/>
            <a:t>협력형</a:t>
          </a:r>
          <a:r>
            <a:rPr lang="ko-KR" altLang="en-US" sz="2000" kern="1200" dirty="0"/>
            <a:t>  인간 </a:t>
          </a:r>
        </a:p>
      </dsp:txBody>
      <dsp:txXfrm>
        <a:off x="4251333" y="2939149"/>
        <a:ext cx="1936858" cy="1936858"/>
      </dsp:txXfrm>
    </dsp:sp>
  </dsp:spTree>
</dsp:drawing>
</file>

<file path=ppt/diagrams/drawing2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70BEA20-71A7-4D32-8586-228FC736ADC1}">
      <dsp:nvSpPr>
        <dsp:cNvPr id="0" name=""/>
        <dsp:cNvSpPr/>
      </dsp:nvSpPr>
      <dsp:spPr>
        <a:xfrm>
          <a:off x="3162167" y="1733023"/>
          <a:ext cx="2873358" cy="1724014"/>
        </a:xfrm>
        <a:prstGeom prst="rect">
          <a:avLst/>
        </a:prstGeom>
        <a:solidFill>
          <a:schemeClr val="accent1">
            <a:shade val="5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lvl="0" algn="ctr" defTabSz="889000" latinLnBrk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ko-KR" altLang="en-US" sz="2000" kern="1200" dirty="0"/>
            <a:t> </a:t>
          </a:r>
          <a:r>
            <a:rPr lang="en-US" altLang="ko-KR" sz="2000" kern="1200" dirty="0" smtClean="0"/>
            <a:t>AI</a:t>
          </a:r>
          <a:r>
            <a:rPr lang="ko-KR" altLang="en-US" sz="2000" kern="1200" dirty="0" smtClean="0"/>
            <a:t>비지니스 모델 </a:t>
          </a:r>
          <a:r>
            <a:rPr lang="ko-KR" altLang="en-US" sz="2000" kern="1200" dirty="0"/>
            <a:t>공급자는 검증된 데이터 세트 필수 사용 </a:t>
          </a:r>
        </a:p>
      </dsp:txBody>
      <dsp:txXfrm>
        <a:off x="3162167" y="1733023"/>
        <a:ext cx="2873358" cy="1724014"/>
      </dsp:txXfrm>
    </dsp:sp>
    <dsp:sp modelId="{BE4DBAB1-5517-4CDB-9353-B6CA78CAF03B}">
      <dsp:nvSpPr>
        <dsp:cNvPr id="0" name=""/>
        <dsp:cNvSpPr/>
      </dsp:nvSpPr>
      <dsp:spPr>
        <a:xfrm>
          <a:off x="3153557" y="59866"/>
          <a:ext cx="2873358" cy="1724014"/>
        </a:xfrm>
        <a:prstGeom prst="rect">
          <a:avLst/>
        </a:prstGeom>
        <a:solidFill>
          <a:srgbClr val="00B05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lvl="0" algn="ctr" defTabSz="889000" latinLnBrk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altLang="ko-KR" sz="2000" kern="1200" dirty="0"/>
            <a:t>  AI </a:t>
          </a:r>
          <a:r>
            <a:rPr lang="ko-KR" altLang="en-US" sz="2000" kern="1200" dirty="0"/>
            <a:t>훈련 시 활용</a:t>
          </a:r>
          <a:r>
            <a:rPr lang="en-US" altLang="ko-KR" sz="2000" kern="1200" dirty="0"/>
            <a:t> </a:t>
          </a:r>
          <a:r>
            <a:rPr lang="ko-KR" altLang="en-US" sz="2000" kern="1200" dirty="0"/>
            <a:t>저작물 공개</a:t>
          </a:r>
        </a:p>
      </dsp:txBody>
      <dsp:txXfrm>
        <a:off x="3153557" y="59866"/>
        <a:ext cx="2873358" cy="1724014"/>
      </dsp:txXfrm>
    </dsp:sp>
    <dsp:sp modelId="{6B0F789A-64B9-4997-8025-F9B94694E523}">
      <dsp:nvSpPr>
        <dsp:cNvPr id="0" name=""/>
        <dsp:cNvSpPr/>
      </dsp:nvSpPr>
      <dsp:spPr>
        <a:xfrm>
          <a:off x="3162167" y="3251788"/>
          <a:ext cx="2873358" cy="1724014"/>
        </a:xfrm>
        <a:prstGeom prst="rect">
          <a:avLst/>
        </a:prstGeom>
        <a:solidFill>
          <a:srgbClr val="00206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lvl="0" algn="ctr" defTabSz="889000" latinLnBrk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altLang="ko-KR" sz="2000" kern="1200" dirty="0"/>
            <a:t>AI </a:t>
          </a:r>
          <a:r>
            <a:rPr lang="ko-KR" altLang="en-US" sz="2000" kern="1200" dirty="0"/>
            <a:t>기업과 </a:t>
          </a:r>
          <a:r>
            <a:rPr lang="en-US" altLang="ko-KR" sz="2000" kern="1200" dirty="0"/>
            <a:t>EU </a:t>
          </a:r>
          <a:r>
            <a:rPr lang="ko-KR" altLang="en-US" sz="2000" kern="1200" dirty="0"/>
            <a:t>스타트업</a:t>
          </a:r>
          <a:r>
            <a:rPr lang="en-US" altLang="ko-KR" sz="2000" kern="1200" dirty="0"/>
            <a:t> </a:t>
          </a:r>
          <a:r>
            <a:rPr lang="ko-KR" altLang="en-US" sz="2000" kern="1200" dirty="0"/>
            <a:t>기업 공정</a:t>
          </a:r>
          <a:r>
            <a:rPr lang="en-US" altLang="ko-KR" sz="2000" kern="1200" dirty="0"/>
            <a:t> </a:t>
          </a:r>
          <a:r>
            <a:rPr lang="ko-KR" altLang="en-US" sz="2000" kern="1200" dirty="0"/>
            <a:t>거래 </a:t>
          </a:r>
        </a:p>
      </dsp:txBody>
      <dsp:txXfrm>
        <a:off x="3162167" y="3251788"/>
        <a:ext cx="2873358" cy="1724014"/>
      </dsp:txXfrm>
    </dsp:sp>
    <dsp:sp modelId="{A9516B44-79E8-4E29-860D-3E43A923C220}">
      <dsp:nvSpPr>
        <dsp:cNvPr id="0" name=""/>
        <dsp:cNvSpPr/>
      </dsp:nvSpPr>
      <dsp:spPr>
        <a:xfrm>
          <a:off x="0" y="0"/>
          <a:ext cx="2873358" cy="1724014"/>
        </a:xfrm>
        <a:prstGeom prst="rect">
          <a:avLst/>
        </a:prstGeom>
        <a:solidFill>
          <a:schemeClr val="accent1">
            <a:shade val="50000"/>
            <a:hueOff val="180718"/>
            <a:satOff val="-3780"/>
            <a:lumOff val="21031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lvl="0" algn="ctr" defTabSz="889000" latinLnBrk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ko-KR" altLang="en-US" sz="2000" kern="1200" dirty="0"/>
            <a:t> 거짓 정보 </a:t>
          </a:r>
          <a:endParaRPr lang="en-US" altLang="ko-KR" sz="2000" kern="1200" dirty="0"/>
        </a:p>
        <a:p>
          <a:pPr lvl="0" algn="ctr" defTabSz="889000" latinLnBrk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ko-KR" altLang="en-US" sz="2000" kern="1200" dirty="0"/>
            <a:t>차별적 언어 사용</a:t>
          </a:r>
          <a:endParaRPr lang="en-US" altLang="ko-KR" sz="2000" kern="1200" dirty="0"/>
        </a:p>
        <a:p>
          <a:pPr lvl="0" algn="ctr" defTabSz="889000" latinLnBrk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ko-KR" altLang="en-US" sz="2000" kern="1200" dirty="0"/>
            <a:t>생체적 감시</a:t>
          </a:r>
        </a:p>
      </dsp:txBody>
      <dsp:txXfrm>
        <a:off x="0" y="0"/>
        <a:ext cx="2873358" cy="1724014"/>
      </dsp:txXfrm>
    </dsp:sp>
  </dsp:spTree>
</dsp:drawing>
</file>

<file path=ppt/diagrams/drawing2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70BEA20-71A7-4D32-8586-228FC736ADC1}">
      <dsp:nvSpPr>
        <dsp:cNvPr id="0" name=""/>
        <dsp:cNvSpPr/>
      </dsp:nvSpPr>
      <dsp:spPr>
        <a:xfrm>
          <a:off x="3391" y="281864"/>
          <a:ext cx="2085424" cy="1251254"/>
        </a:xfrm>
        <a:prstGeom prst="rect">
          <a:avLst/>
        </a:prstGeom>
        <a:solidFill>
          <a:schemeClr val="accent1">
            <a:shade val="5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770" tIns="64770" rIns="64770" bIns="64770" numCol="1" spcCol="1270" anchor="ctr" anchorCtr="0">
          <a:noAutofit/>
        </a:bodyPr>
        <a:lstStyle/>
        <a:p>
          <a:pPr lvl="0" algn="ctr" defTabSz="755650" latinLnBrk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ko-KR" altLang="en-US" sz="1700" kern="1200" dirty="0"/>
            <a:t>정보통신망 이용촉진 및 정보보호 등에 관한 법률</a:t>
          </a:r>
        </a:p>
      </dsp:txBody>
      <dsp:txXfrm>
        <a:off x="3391" y="281864"/>
        <a:ext cx="2085424" cy="1251254"/>
      </dsp:txXfrm>
    </dsp:sp>
    <dsp:sp modelId="{BE4DBAB1-5517-4CDB-9353-B6CA78CAF03B}">
      <dsp:nvSpPr>
        <dsp:cNvPr id="0" name=""/>
        <dsp:cNvSpPr/>
      </dsp:nvSpPr>
      <dsp:spPr>
        <a:xfrm>
          <a:off x="2257067" y="335944"/>
          <a:ext cx="2085424" cy="1251254"/>
        </a:xfrm>
        <a:prstGeom prst="rect">
          <a:avLst/>
        </a:prstGeom>
        <a:solidFill>
          <a:srgbClr val="0070C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770" tIns="64770" rIns="64770" bIns="64770" numCol="1" spcCol="1270" anchor="ctr" anchorCtr="0">
          <a:noAutofit/>
        </a:bodyPr>
        <a:lstStyle/>
        <a:p>
          <a:pPr lvl="0" algn="ctr" defTabSz="755650" latinLnBrk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altLang="ko-KR" sz="1700" kern="1200" dirty="0"/>
            <a:t> </a:t>
          </a:r>
          <a:r>
            <a:rPr lang="ko-KR" altLang="en-US" sz="1700" kern="1200" dirty="0" err="1"/>
            <a:t>신용정보법</a:t>
          </a:r>
          <a:r>
            <a:rPr lang="en-US" altLang="ko-KR" sz="1700" kern="1200" dirty="0"/>
            <a:t>, </a:t>
          </a:r>
          <a:endParaRPr lang="ko-KR" altLang="en-US" sz="1700" kern="1200" dirty="0"/>
        </a:p>
      </dsp:txBody>
      <dsp:txXfrm>
        <a:off x="2257067" y="335944"/>
        <a:ext cx="2085424" cy="1251254"/>
      </dsp:txXfrm>
    </dsp:sp>
    <dsp:sp modelId="{6B0F789A-64B9-4997-8025-F9B94694E523}">
      <dsp:nvSpPr>
        <dsp:cNvPr id="0" name=""/>
        <dsp:cNvSpPr/>
      </dsp:nvSpPr>
      <dsp:spPr>
        <a:xfrm>
          <a:off x="0" y="1619376"/>
          <a:ext cx="2085424" cy="1251254"/>
        </a:xfrm>
        <a:prstGeom prst="rect">
          <a:avLst/>
        </a:prstGeom>
        <a:solidFill>
          <a:srgbClr val="00206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770" tIns="64770" rIns="64770" bIns="64770" numCol="1" spcCol="1270" anchor="ctr" anchorCtr="0">
          <a:noAutofit/>
        </a:bodyPr>
        <a:lstStyle/>
        <a:p>
          <a:pPr lvl="0" algn="ctr" defTabSz="755650" latinLnBrk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ko-KR" altLang="en-US" sz="1700" kern="1200" dirty="0"/>
            <a:t>개인정보보호법</a:t>
          </a:r>
        </a:p>
      </dsp:txBody>
      <dsp:txXfrm>
        <a:off x="0" y="1619376"/>
        <a:ext cx="2085424" cy="1251254"/>
      </dsp:txXfrm>
    </dsp:sp>
    <dsp:sp modelId="{AF1B9180-9EE9-432E-9EDE-8FEBE3DAE46F}">
      <dsp:nvSpPr>
        <dsp:cNvPr id="0" name=""/>
        <dsp:cNvSpPr/>
      </dsp:nvSpPr>
      <dsp:spPr>
        <a:xfrm>
          <a:off x="2259090" y="1678110"/>
          <a:ext cx="2085424" cy="1251254"/>
        </a:xfrm>
        <a:prstGeom prst="rect">
          <a:avLst/>
        </a:prstGeom>
        <a:solidFill>
          <a:schemeClr val="accent1">
            <a:shade val="50000"/>
            <a:hueOff val="180718"/>
            <a:satOff val="-3780"/>
            <a:lumOff val="21031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770" tIns="64770" rIns="64770" bIns="64770" numCol="1" spcCol="1270" anchor="ctr" anchorCtr="0">
          <a:noAutofit/>
        </a:bodyPr>
        <a:lstStyle/>
        <a:p>
          <a:pPr marL="0" marR="0" lvl="0" indent="0" algn="ctr" defTabSz="914400" eaLnBrk="1" fontAlgn="auto" latinLnBrk="1" hangingPunct="1">
            <a:lnSpc>
              <a:spcPct val="100000"/>
            </a:lnSpc>
            <a:spcBef>
              <a:spcPct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ko-KR" altLang="en-US" sz="1700" kern="1200" dirty="0"/>
            <a:t>저작권법</a:t>
          </a:r>
          <a:r>
            <a:rPr lang="en-US" altLang="ko-KR" sz="1700" kern="1200" dirty="0"/>
            <a:t>/ </a:t>
          </a:r>
          <a:r>
            <a:rPr lang="ko-KR" altLang="en-US" sz="1700" kern="1200" dirty="0"/>
            <a:t>공동활용 에 관한 법 </a:t>
          </a:r>
          <a:endParaRPr lang="en-US" altLang="ko-KR" sz="1700" kern="1200" dirty="0"/>
        </a:p>
        <a:p>
          <a:pPr lvl="0" algn="ctr" defTabSz="1066800" latinLnBrk="1">
            <a:spcBef>
              <a:spcPct val="0"/>
            </a:spcBef>
            <a:spcAft>
              <a:spcPct val="35000"/>
            </a:spcAft>
          </a:pPr>
          <a:endParaRPr lang="ko-KR" altLang="en-US" sz="1700" kern="1200" dirty="0"/>
        </a:p>
      </dsp:txBody>
      <dsp:txXfrm>
        <a:off x="2259090" y="1678110"/>
        <a:ext cx="2085424" cy="1251254"/>
      </dsp:txXfrm>
    </dsp:sp>
  </dsp:spTree>
</dsp:drawing>
</file>

<file path=ppt/diagrams/drawing2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02FA37C-48A2-406C-B9D4-4A49F3B07775}">
      <dsp:nvSpPr>
        <dsp:cNvPr id="0" name=""/>
        <dsp:cNvSpPr/>
      </dsp:nvSpPr>
      <dsp:spPr>
        <a:xfrm>
          <a:off x="0" y="269841"/>
          <a:ext cx="2427539" cy="1456523"/>
        </a:xfrm>
        <a:prstGeom prst="rect">
          <a:avLst/>
        </a:prstGeom>
        <a:solidFill>
          <a:srgbClr val="FF000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lvl="0" algn="ctr" defTabSz="889000" latinLnBrk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ko-KR" altLang="en-US" sz="2000" kern="1200" dirty="0"/>
            <a:t>거짓 가공데이터</a:t>
          </a:r>
          <a:endParaRPr lang="en-US" altLang="ko-KR" sz="2000" kern="1200" dirty="0"/>
        </a:p>
      </dsp:txBody>
      <dsp:txXfrm>
        <a:off x="0" y="269841"/>
        <a:ext cx="2427539" cy="1456523"/>
      </dsp:txXfrm>
    </dsp:sp>
    <dsp:sp modelId="{AE7F0EEE-4BFC-4A94-AB7B-294B6B80EC07}">
      <dsp:nvSpPr>
        <dsp:cNvPr id="0" name=""/>
        <dsp:cNvSpPr/>
      </dsp:nvSpPr>
      <dsp:spPr>
        <a:xfrm>
          <a:off x="2686096" y="254024"/>
          <a:ext cx="2427539" cy="1456523"/>
        </a:xfrm>
        <a:prstGeom prst="rect">
          <a:avLst/>
        </a:prstGeom>
        <a:solidFill>
          <a:schemeClr val="accent3">
            <a:hueOff val="1406283"/>
            <a:satOff val="-2110"/>
            <a:lumOff val="-343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lvl="0" algn="ctr" defTabSz="889000" latinLnBrk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ko-KR" altLang="en-US" sz="2000" kern="1200" dirty="0"/>
            <a:t>전문가그룹의 신념에 따른 결과 상이 </a:t>
          </a:r>
        </a:p>
      </dsp:txBody>
      <dsp:txXfrm>
        <a:off x="2686096" y="254024"/>
        <a:ext cx="2427539" cy="1456523"/>
      </dsp:txXfrm>
    </dsp:sp>
    <dsp:sp modelId="{9155AA68-7DD1-4988-8A77-9BF53BB10014}">
      <dsp:nvSpPr>
        <dsp:cNvPr id="0" name=""/>
        <dsp:cNvSpPr/>
      </dsp:nvSpPr>
      <dsp:spPr>
        <a:xfrm>
          <a:off x="112273" y="3541951"/>
          <a:ext cx="2427539" cy="1456523"/>
        </a:xfrm>
        <a:prstGeom prst="rect">
          <a:avLst/>
        </a:prstGeom>
        <a:solidFill>
          <a:schemeClr val="accent3">
            <a:hueOff val="2812566"/>
            <a:satOff val="-4220"/>
            <a:lumOff val="-686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lvl="0" algn="ctr" defTabSz="889000" latinLnBrk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ko-KR" altLang="en-US" sz="2000" kern="1200" dirty="0" smtClean="0"/>
            <a:t>인간 생체에 대한 </a:t>
          </a:r>
          <a:endParaRPr lang="en-US" altLang="ko-KR" sz="2000" kern="1200" dirty="0" smtClean="0"/>
        </a:p>
        <a:p>
          <a:pPr lvl="0" algn="ctr" defTabSz="889000" latinLnBrk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ko-KR" altLang="en-US" sz="2000" kern="1200" dirty="0" smtClean="0"/>
            <a:t>비지니스 </a:t>
          </a:r>
          <a:endParaRPr lang="ko-KR" altLang="en-US" sz="2000" kern="1200" dirty="0"/>
        </a:p>
      </dsp:txBody>
      <dsp:txXfrm>
        <a:off x="112273" y="3541951"/>
        <a:ext cx="2427539" cy="1456523"/>
      </dsp:txXfrm>
    </dsp:sp>
    <dsp:sp modelId="{DD336C7B-CBC1-4C4F-B302-EFC2C83B60F2}">
      <dsp:nvSpPr>
        <dsp:cNvPr id="0" name=""/>
        <dsp:cNvSpPr/>
      </dsp:nvSpPr>
      <dsp:spPr>
        <a:xfrm>
          <a:off x="27940" y="1862706"/>
          <a:ext cx="2427539" cy="1456523"/>
        </a:xfrm>
        <a:prstGeom prst="rect">
          <a:avLst/>
        </a:prstGeom>
        <a:solidFill>
          <a:schemeClr val="accent3">
            <a:hueOff val="4218849"/>
            <a:satOff val="-6330"/>
            <a:lumOff val="-1029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marR="0" lvl="0" indent="0" algn="ctr" defTabSz="914400" eaLnBrk="1" fontAlgn="auto" latinLnBrk="1" hangingPunct="1">
            <a:lnSpc>
              <a:spcPct val="100000"/>
            </a:lnSpc>
            <a:spcBef>
              <a:spcPct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ko-KR" altLang="en-US" sz="2000" kern="1200" dirty="0"/>
            <a:t>인간에 대한 판단 </a:t>
          </a:r>
          <a:r>
            <a:rPr lang="en-US" altLang="ko-KR" sz="2000" kern="1200" dirty="0"/>
            <a:t>( </a:t>
          </a:r>
          <a:r>
            <a:rPr lang="ko-KR" altLang="en-US" sz="2000" kern="1200" dirty="0" err="1" smtClean="0"/>
            <a:t>성적평가</a:t>
          </a:r>
          <a:r>
            <a:rPr lang="en-US" altLang="ko-KR" sz="2000" kern="1200" dirty="0" smtClean="0"/>
            <a:t>)</a:t>
          </a:r>
          <a:r>
            <a:rPr lang="ko-KR" altLang="en-US" sz="2000" kern="1200" dirty="0" smtClean="0"/>
            <a:t> </a:t>
          </a:r>
          <a:endParaRPr lang="ko-KR" altLang="en-US" sz="2000" kern="1200" dirty="0"/>
        </a:p>
        <a:p>
          <a:pPr marL="0" lvl="0" algn="ctr" defTabSz="844550" latinLnBrk="1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ko-KR" altLang="en-US" sz="2000" kern="1200" dirty="0"/>
        </a:p>
      </dsp:txBody>
      <dsp:txXfrm>
        <a:off x="27940" y="1862706"/>
        <a:ext cx="2427539" cy="1456523"/>
      </dsp:txXfrm>
    </dsp:sp>
    <dsp:sp modelId="{E7A5282A-9285-4FBD-8A93-19BFD0695DE0}">
      <dsp:nvSpPr>
        <dsp:cNvPr id="0" name=""/>
        <dsp:cNvSpPr/>
      </dsp:nvSpPr>
      <dsp:spPr>
        <a:xfrm>
          <a:off x="2670293" y="1897983"/>
          <a:ext cx="2427539" cy="1456523"/>
        </a:xfrm>
        <a:prstGeom prst="rect">
          <a:avLst/>
        </a:prstGeom>
        <a:solidFill>
          <a:schemeClr val="accent3">
            <a:hueOff val="5625132"/>
            <a:satOff val="-8440"/>
            <a:lumOff val="-1373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lvl="0" algn="ctr" defTabSz="889000" latinLnBrk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altLang="ko-KR" sz="2000" kern="1200" dirty="0"/>
            <a:t>HW /</a:t>
          </a:r>
          <a:r>
            <a:rPr lang="ko-KR" altLang="en-US" sz="2000" kern="1200" dirty="0"/>
            <a:t>인재</a:t>
          </a:r>
          <a:r>
            <a:rPr lang="en-US" altLang="ko-KR" sz="2000" kern="1200" dirty="0"/>
            <a:t>/</a:t>
          </a:r>
          <a:r>
            <a:rPr lang="ko-KR" altLang="en-US" sz="2000" kern="1200" dirty="0"/>
            <a:t>교육 등 인프라 수준 </a:t>
          </a:r>
        </a:p>
      </dsp:txBody>
      <dsp:txXfrm>
        <a:off x="2670293" y="1897983"/>
        <a:ext cx="2427539" cy="1456523"/>
      </dsp:txXfrm>
    </dsp:sp>
    <dsp:sp modelId="{DA782436-3C06-4009-9F49-D4E6D8C2AED1}">
      <dsp:nvSpPr>
        <dsp:cNvPr id="0" name=""/>
        <dsp:cNvSpPr/>
      </dsp:nvSpPr>
      <dsp:spPr>
        <a:xfrm>
          <a:off x="5340587" y="1897983"/>
          <a:ext cx="2427539" cy="1456523"/>
        </a:xfrm>
        <a:prstGeom prst="rect">
          <a:avLst/>
        </a:prstGeom>
        <a:solidFill>
          <a:schemeClr val="accent3">
            <a:hueOff val="7031415"/>
            <a:satOff val="-10550"/>
            <a:lumOff val="-1716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lvl="0" algn="ctr" defTabSz="889000" latinLnBrk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ko-KR" altLang="en-US" sz="2000" kern="1200" dirty="0"/>
            <a:t>각국</a:t>
          </a:r>
          <a:r>
            <a:rPr lang="en-US" altLang="ko-KR" sz="2000" kern="1200" dirty="0"/>
            <a:t> </a:t>
          </a:r>
          <a:r>
            <a:rPr lang="ko-KR" altLang="en-US" sz="2000" kern="1200" dirty="0"/>
            <a:t>정치 판단과 규제의 차이 </a:t>
          </a:r>
        </a:p>
      </dsp:txBody>
      <dsp:txXfrm>
        <a:off x="5340587" y="1897983"/>
        <a:ext cx="2427539" cy="1456523"/>
      </dsp:txXfrm>
    </dsp:sp>
    <dsp:sp modelId="{E5D1F1AF-31DF-4E82-8191-FA0BA2F2E67F}">
      <dsp:nvSpPr>
        <dsp:cNvPr id="0" name=""/>
        <dsp:cNvSpPr/>
      </dsp:nvSpPr>
      <dsp:spPr>
        <a:xfrm>
          <a:off x="2734502" y="3578879"/>
          <a:ext cx="2427539" cy="1456523"/>
        </a:xfrm>
        <a:prstGeom prst="rect">
          <a:avLst/>
        </a:prstGeom>
        <a:solidFill>
          <a:schemeClr val="accent3">
            <a:hueOff val="8437698"/>
            <a:satOff val="-12660"/>
            <a:lumOff val="-2059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lvl="0" algn="ctr" defTabSz="889000" latinLnBrk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ko-KR" altLang="en-US" sz="2000" kern="1200" dirty="0"/>
            <a:t>언어적 차이</a:t>
          </a:r>
          <a:r>
            <a:rPr lang="en-US" altLang="ko-KR" sz="2000" kern="1200" dirty="0"/>
            <a:t>&gt; </a:t>
          </a:r>
          <a:r>
            <a:rPr lang="ko-KR" altLang="en-US" sz="2000" kern="1200" dirty="0"/>
            <a:t>글로벌 단일화  </a:t>
          </a:r>
        </a:p>
      </dsp:txBody>
      <dsp:txXfrm>
        <a:off x="2734502" y="3578879"/>
        <a:ext cx="2427539" cy="1456523"/>
      </dsp:txXfrm>
    </dsp:sp>
    <dsp:sp modelId="{10B3D5B2-F746-43A1-BD39-15ED697E8743}">
      <dsp:nvSpPr>
        <dsp:cNvPr id="0" name=""/>
        <dsp:cNvSpPr/>
      </dsp:nvSpPr>
      <dsp:spPr>
        <a:xfrm>
          <a:off x="5291575" y="3578879"/>
          <a:ext cx="2427539" cy="1456523"/>
        </a:xfrm>
        <a:prstGeom prst="rect">
          <a:avLst/>
        </a:prstGeom>
        <a:solidFill>
          <a:schemeClr val="accent3">
            <a:hueOff val="9843981"/>
            <a:satOff val="-14770"/>
            <a:lumOff val="-2402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lvl="0" algn="ctr" defTabSz="889000" latinLnBrk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ko-KR" altLang="en-US" sz="2000" kern="1200" dirty="0"/>
            <a:t>범죄</a:t>
          </a:r>
          <a:r>
            <a:rPr lang="en-US" altLang="ko-KR" sz="2000" kern="1200" dirty="0"/>
            <a:t>/</a:t>
          </a:r>
          <a:r>
            <a:rPr lang="ko-KR" altLang="en-US" sz="2000" kern="1200" dirty="0"/>
            <a:t>전쟁 활용 </a:t>
          </a:r>
        </a:p>
      </dsp:txBody>
      <dsp:txXfrm>
        <a:off x="5291575" y="3578879"/>
        <a:ext cx="2427539" cy="1456523"/>
      </dsp:txXfrm>
    </dsp:sp>
    <dsp:sp modelId="{5288E610-3DD5-4DE5-8D17-DC0F7C7EA8B9}">
      <dsp:nvSpPr>
        <dsp:cNvPr id="0" name=""/>
        <dsp:cNvSpPr/>
      </dsp:nvSpPr>
      <dsp:spPr>
        <a:xfrm>
          <a:off x="5340587" y="168574"/>
          <a:ext cx="2427539" cy="1456523"/>
        </a:xfrm>
        <a:prstGeom prst="rect">
          <a:avLst/>
        </a:prstGeom>
        <a:solidFill>
          <a:schemeClr val="accent3">
            <a:hueOff val="11250264"/>
            <a:satOff val="-16880"/>
            <a:lumOff val="-2745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lvl="0" algn="ctr" defTabSz="889000" latinLnBrk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ko-KR" altLang="en-US" sz="2000" kern="1200" dirty="0"/>
            <a:t>수용기업의  차이 </a:t>
          </a:r>
        </a:p>
      </dsp:txBody>
      <dsp:txXfrm>
        <a:off x="5340587" y="168574"/>
        <a:ext cx="2427539" cy="1456523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57080C2-6D2E-437A-BA8D-11E276065E31}">
      <dsp:nvSpPr>
        <dsp:cNvPr id="0" name=""/>
        <dsp:cNvSpPr/>
      </dsp:nvSpPr>
      <dsp:spPr>
        <a:xfrm>
          <a:off x="512047" y="0"/>
          <a:ext cx="6908800" cy="5418667"/>
        </a:xfrm>
        <a:prstGeom prst="rightArrow">
          <a:avLst/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9D496B10-B9C9-4637-8072-1AAEC2A54A15}">
      <dsp:nvSpPr>
        <dsp:cNvPr id="0" name=""/>
        <dsp:cNvSpPr/>
      </dsp:nvSpPr>
      <dsp:spPr>
        <a:xfrm>
          <a:off x="275431" y="1625600"/>
          <a:ext cx="2438400" cy="2167466"/>
        </a:xfrm>
        <a:prstGeom prst="roundRect">
          <a:avLst/>
        </a:prstGeom>
        <a:solidFill>
          <a:schemeClr val="accent1">
            <a:shade val="8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9060" tIns="99060" rIns="99060" bIns="99060" numCol="1" spcCol="1270" anchor="ctr" anchorCtr="0">
          <a:noAutofit/>
        </a:bodyPr>
        <a:lstStyle/>
        <a:p>
          <a:pPr lvl="0" algn="ctr" defTabSz="1155700" latinLnBrk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ko-KR" altLang="en-US" sz="2600" kern="1200" dirty="0"/>
            <a:t>유통산업 </a:t>
          </a:r>
        </a:p>
      </dsp:txBody>
      <dsp:txXfrm>
        <a:off x="381238" y="1731407"/>
        <a:ext cx="2226786" cy="1955852"/>
      </dsp:txXfrm>
    </dsp:sp>
    <dsp:sp modelId="{F2DB3207-8680-4D50-BA19-9F5C0989E1EE}">
      <dsp:nvSpPr>
        <dsp:cNvPr id="0" name=""/>
        <dsp:cNvSpPr/>
      </dsp:nvSpPr>
      <dsp:spPr>
        <a:xfrm>
          <a:off x="2844799" y="1625600"/>
          <a:ext cx="2438400" cy="2167466"/>
        </a:xfrm>
        <a:prstGeom prst="roundRect">
          <a:avLst/>
        </a:prstGeom>
        <a:solidFill>
          <a:schemeClr val="accent1">
            <a:shade val="80000"/>
            <a:hueOff val="153123"/>
            <a:satOff val="-2196"/>
            <a:lumOff val="12807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9060" tIns="99060" rIns="99060" bIns="99060" numCol="1" spcCol="1270" anchor="ctr" anchorCtr="0">
          <a:noAutofit/>
        </a:bodyPr>
        <a:lstStyle/>
        <a:p>
          <a:pPr marL="0" marR="0" lvl="0" indent="0" algn="ctr" defTabSz="914400" eaLnBrk="1" fontAlgn="auto" latinLnBrk="1" hangingPunct="1">
            <a:lnSpc>
              <a:spcPct val="100000"/>
            </a:lnSpc>
            <a:spcBef>
              <a:spcPct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ko-KR" altLang="en-US" sz="2600" kern="1200" dirty="0"/>
            <a:t>유통기업의 </a:t>
          </a:r>
          <a:r>
            <a:rPr lang="en-US" altLang="ko-KR" sz="2600" kern="1200" dirty="0"/>
            <a:t>AI</a:t>
          </a:r>
          <a:r>
            <a:rPr lang="ko-KR" altLang="en-US" sz="2600" kern="1200" dirty="0"/>
            <a:t>활용전략</a:t>
          </a:r>
        </a:p>
        <a:p>
          <a:pPr marL="0" lvl="0" algn="ctr" defTabSz="1822450" latinLnBrk="1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ko-KR" altLang="en-US" sz="2600" kern="1200" dirty="0"/>
        </a:p>
      </dsp:txBody>
      <dsp:txXfrm>
        <a:off x="2950606" y="1731407"/>
        <a:ext cx="2226786" cy="1955852"/>
      </dsp:txXfrm>
    </dsp:sp>
    <dsp:sp modelId="{7D857E43-C72F-46C3-A520-3938F14F8ADE}">
      <dsp:nvSpPr>
        <dsp:cNvPr id="0" name=""/>
        <dsp:cNvSpPr/>
      </dsp:nvSpPr>
      <dsp:spPr>
        <a:xfrm>
          <a:off x="5414168" y="1625600"/>
          <a:ext cx="2438400" cy="2167466"/>
        </a:xfrm>
        <a:prstGeom prst="roundRect">
          <a:avLst/>
        </a:prstGeom>
        <a:solidFill>
          <a:schemeClr val="accent1">
            <a:shade val="80000"/>
            <a:hueOff val="306246"/>
            <a:satOff val="-4392"/>
            <a:lumOff val="25615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9060" tIns="99060" rIns="99060" bIns="99060" numCol="1" spcCol="1270" anchor="ctr" anchorCtr="0">
          <a:noAutofit/>
        </a:bodyPr>
        <a:lstStyle/>
        <a:p>
          <a:pPr lvl="0" algn="ctr" defTabSz="1155700" latinLnBrk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ko-KR" altLang="en-US" sz="2600" kern="1200" dirty="0"/>
            <a:t>유통산업을 위한 정책</a:t>
          </a:r>
          <a:endParaRPr lang="en-US" altLang="ko-KR" sz="2600" kern="1200" dirty="0"/>
        </a:p>
        <a:p>
          <a:pPr lvl="0" algn="ctr" defTabSz="1155700" latinLnBrk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ko-KR" altLang="en-US" sz="2600" kern="1200" dirty="0"/>
            <a:t>제안 </a:t>
          </a:r>
        </a:p>
      </dsp:txBody>
      <dsp:txXfrm>
        <a:off x="5519975" y="1731407"/>
        <a:ext cx="2226786" cy="1955852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7727328-49F7-4D72-80DC-1865A3C2C4F9}">
      <dsp:nvSpPr>
        <dsp:cNvPr id="0" name=""/>
        <dsp:cNvSpPr/>
      </dsp:nvSpPr>
      <dsp:spPr>
        <a:xfrm>
          <a:off x="3679002" y="2977989"/>
          <a:ext cx="2439131" cy="2439131"/>
        </a:xfrm>
        <a:prstGeom prst="ellipse">
          <a:avLst/>
        </a:prstGeom>
        <a:solidFill>
          <a:srgbClr val="002060"/>
        </a:solidFill>
        <a:ln w="12700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5400" tIns="25400" rIns="25400" bIns="25400" numCol="1" spcCol="1270" anchor="ctr" anchorCtr="0">
          <a:noAutofit/>
        </a:bodyPr>
        <a:lstStyle/>
        <a:p>
          <a:pPr marL="0" marR="0" lvl="0" indent="0" algn="ctr" defTabSz="914400" eaLnBrk="1" fontAlgn="auto" latinLnBrk="1" hangingPunct="1">
            <a:lnSpc>
              <a:spcPct val="100000"/>
            </a:lnSpc>
            <a:spcBef>
              <a:spcPct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endParaRPr lang="en-US" altLang="ko-KR" sz="4000" kern="1200" dirty="0"/>
        </a:p>
        <a:p>
          <a:pPr marL="0" marR="0" lvl="0" indent="0" algn="ctr" defTabSz="914400" eaLnBrk="1" fontAlgn="auto" latinLnBrk="1" hangingPunct="1">
            <a:lnSpc>
              <a:spcPct val="100000"/>
            </a:lnSpc>
            <a:spcBef>
              <a:spcPct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en-US" altLang="ko-KR" sz="4000" kern="1200" dirty="0">
              <a:solidFill>
                <a:schemeClr val="bg1"/>
              </a:solidFill>
            </a:rPr>
            <a:t>Big</a:t>
          </a:r>
          <a:r>
            <a:rPr lang="ko-KR" altLang="en-US" sz="4000" kern="1200" dirty="0">
              <a:solidFill>
                <a:schemeClr val="bg1"/>
              </a:solidFill>
            </a:rPr>
            <a:t> </a:t>
          </a:r>
          <a:r>
            <a:rPr lang="en-US" altLang="ko-KR" sz="4000" kern="1200" dirty="0">
              <a:solidFill>
                <a:schemeClr val="bg1"/>
              </a:solidFill>
            </a:rPr>
            <a:t>Data</a:t>
          </a:r>
        </a:p>
        <a:p>
          <a:pPr marL="0" marR="0" lvl="0" indent="0" algn="ctr" defTabSz="914400" eaLnBrk="1" fontAlgn="auto" latinLnBrk="1" hangingPunct="1">
            <a:lnSpc>
              <a:spcPct val="100000"/>
            </a:lnSpc>
            <a:spcBef>
              <a:spcPct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ko-KR" altLang="en-US" sz="2400" kern="1200" dirty="0">
              <a:solidFill>
                <a:schemeClr val="bg1"/>
              </a:solidFill>
            </a:rPr>
            <a:t>변화 지속</a:t>
          </a:r>
          <a:endParaRPr lang="en-US" altLang="ko-KR" sz="2400" kern="1200" dirty="0">
            <a:solidFill>
              <a:schemeClr val="bg1"/>
            </a:solidFill>
          </a:endParaRPr>
        </a:p>
        <a:p>
          <a:pPr marL="0" marR="0" lvl="0" indent="0" algn="ctr" defTabSz="914400" eaLnBrk="1" fontAlgn="auto" latinLnBrk="1" hangingPunct="1">
            <a:lnSpc>
              <a:spcPct val="100000"/>
            </a:lnSpc>
            <a:spcBef>
              <a:spcPct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en-US" altLang="ko-KR" sz="1200" kern="1200" dirty="0" err="1">
              <a:solidFill>
                <a:schemeClr val="bg1"/>
              </a:solidFill>
            </a:rPr>
            <a:t>Mckinsey</a:t>
          </a:r>
          <a:r>
            <a:rPr lang="en-US" altLang="ko-KR" sz="1200" kern="1200" dirty="0">
              <a:solidFill>
                <a:schemeClr val="bg1"/>
              </a:solidFill>
            </a:rPr>
            <a:t> </a:t>
          </a:r>
          <a:r>
            <a:rPr lang="ko-KR" altLang="en-US" sz="1200" kern="1200" dirty="0">
              <a:solidFill>
                <a:schemeClr val="bg1"/>
              </a:solidFill>
            </a:rPr>
            <a:t> </a:t>
          </a:r>
          <a:r>
            <a:rPr lang="en-US" altLang="ko-KR" sz="2400" kern="1200" dirty="0">
              <a:solidFill>
                <a:schemeClr val="bg1"/>
              </a:solidFill>
            </a:rPr>
            <a:t> </a:t>
          </a:r>
          <a:endParaRPr lang="ko-KR" altLang="en-US" sz="2400" kern="1200" dirty="0">
            <a:solidFill>
              <a:schemeClr val="bg1"/>
            </a:solidFill>
          </a:endParaRPr>
        </a:p>
        <a:p>
          <a:pPr marL="0" lvl="0" algn="ctr" defTabSz="2889250" latinLnBrk="1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ko-KR" altLang="en-US" sz="4000" b="1" i="1" kern="1200" dirty="0">
            <a:solidFill>
              <a:schemeClr val="bg1"/>
            </a:solidFill>
          </a:endParaRPr>
        </a:p>
      </dsp:txBody>
      <dsp:txXfrm>
        <a:off x="4036204" y="3335191"/>
        <a:ext cx="1724727" cy="1724727"/>
      </dsp:txXfrm>
    </dsp:sp>
    <dsp:sp modelId="{D84B4087-DBA9-45EB-A9D2-82E339EF6091}">
      <dsp:nvSpPr>
        <dsp:cNvPr id="0" name=""/>
        <dsp:cNvSpPr/>
      </dsp:nvSpPr>
      <dsp:spPr>
        <a:xfrm rot="10687662">
          <a:off x="1289568" y="3931027"/>
          <a:ext cx="2259265" cy="695152"/>
        </a:xfrm>
        <a:prstGeom prst="leftArrow">
          <a:avLst>
            <a:gd name="adj1" fmla="val 60000"/>
            <a:gd name="adj2" fmla="val 50000"/>
          </a:avLst>
        </a:prstGeom>
        <a:solidFill>
          <a:schemeClr val="accent4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B05B0508-FC91-4D63-9E72-81202E267C93}">
      <dsp:nvSpPr>
        <dsp:cNvPr id="0" name=""/>
        <dsp:cNvSpPr/>
      </dsp:nvSpPr>
      <dsp:spPr>
        <a:xfrm>
          <a:off x="193377" y="3607571"/>
          <a:ext cx="2193588" cy="1415878"/>
        </a:xfrm>
        <a:prstGeom prst="roundRect">
          <a:avLst>
            <a:gd name="adj" fmla="val 10000"/>
          </a:avLst>
        </a:prstGeom>
        <a:solidFill>
          <a:schemeClr val="accent1">
            <a:lumMod val="40000"/>
            <a:lumOff val="60000"/>
          </a:schemeClr>
        </a:solidFill>
        <a:ln w="12700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4765" tIns="24765" rIns="24765" bIns="24765" numCol="1" spcCol="1270" anchor="ctr" anchorCtr="0">
          <a:noAutofit/>
        </a:bodyPr>
        <a:lstStyle/>
        <a:p>
          <a:pPr marL="0" marR="0" lvl="0" indent="0" algn="ctr" defTabSz="914400" eaLnBrk="1" fontAlgn="auto" latinLnBrk="1" hangingPunct="1">
            <a:lnSpc>
              <a:spcPct val="100000"/>
            </a:lnSpc>
            <a:spcBef>
              <a:spcPct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ko-KR" altLang="en-US" sz="1300" b="1" kern="1200" dirty="0">
              <a:solidFill>
                <a:srgbClr val="222222"/>
              </a:solidFill>
              <a:latin typeface="AppleSDGothicNeo-Light"/>
            </a:rPr>
            <a:t>다양한 형태</a:t>
          </a:r>
          <a:r>
            <a:rPr lang="en-US" altLang="ko-KR" sz="1300" b="1" kern="1200" dirty="0">
              <a:solidFill>
                <a:srgbClr val="222222"/>
              </a:solidFill>
              <a:latin typeface="AppleSDGothicNeo-Light"/>
            </a:rPr>
            <a:t>/</a:t>
          </a:r>
        </a:p>
        <a:p>
          <a:pPr marL="0" marR="0" lvl="0" indent="0" algn="ctr" defTabSz="914400" eaLnBrk="1" fontAlgn="auto" latinLnBrk="1" hangingPunct="1">
            <a:lnSpc>
              <a:spcPct val="100000"/>
            </a:lnSpc>
            <a:spcBef>
              <a:spcPct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ko-KR" altLang="en-US" sz="1300" b="1" kern="1200" dirty="0">
              <a:solidFill>
                <a:srgbClr val="222222"/>
              </a:solidFill>
              <a:latin typeface="AppleSDGothicNeo-Light"/>
            </a:rPr>
            <a:t>복잡 혼용 </a:t>
          </a:r>
          <a:endParaRPr lang="ko-KR" altLang="en-US" sz="1300" b="1" kern="1200" dirty="0"/>
        </a:p>
        <a:p>
          <a:pPr marL="0" lvl="0" algn="ctr" defTabSz="1022350" latinLnBrk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ko-KR" altLang="en-US" sz="1300" kern="1200" dirty="0"/>
        </a:p>
      </dsp:txBody>
      <dsp:txXfrm>
        <a:off x="234847" y="3649041"/>
        <a:ext cx="2110648" cy="1332938"/>
      </dsp:txXfrm>
    </dsp:sp>
    <dsp:sp modelId="{A216A879-4BAB-42DE-9E23-C7747B8E0E7F}">
      <dsp:nvSpPr>
        <dsp:cNvPr id="0" name=""/>
        <dsp:cNvSpPr/>
      </dsp:nvSpPr>
      <dsp:spPr>
        <a:xfrm rot="12750864">
          <a:off x="1248041" y="2383966"/>
          <a:ext cx="2701248" cy="695152"/>
        </a:xfrm>
        <a:prstGeom prst="leftArrow">
          <a:avLst>
            <a:gd name="adj1" fmla="val 60000"/>
            <a:gd name="adj2" fmla="val 50000"/>
          </a:avLst>
        </a:prstGeom>
        <a:solidFill>
          <a:schemeClr val="accent4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CBE14429-FD07-40B2-967D-5D7B3B09A37C}">
      <dsp:nvSpPr>
        <dsp:cNvPr id="0" name=""/>
        <dsp:cNvSpPr/>
      </dsp:nvSpPr>
      <dsp:spPr>
        <a:xfrm>
          <a:off x="0" y="1301807"/>
          <a:ext cx="2919486" cy="1407519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4765" tIns="24765" rIns="24765" bIns="24765" numCol="1" spcCol="1270" anchor="ctr" anchorCtr="0">
          <a:noAutofit/>
        </a:bodyPr>
        <a:lstStyle/>
        <a:p>
          <a:pPr lvl="0" algn="ctr" defTabSz="577850" latinLnBrk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ko-KR" altLang="en-US" sz="1300" b="1" kern="1200" dirty="0">
              <a:solidFill>
                <a:srgbClr val="222222"/>
              </a:solidFill>
              <a:latin typeface="AppleSDGothicNeo-Light"/>
            </a:rPr>
            <a:t>생성소멸 속도</a:t>
          </a:r>
          <a:r>
            <a:rPr lang="en-US" altLang="ko-KR" sz="1300" b="1" kern="1200" dirty="0">
              <a:solidFill>
                <a:srgbClr val="222222"/>
              </a:solidFill>
              <a:latin typeface="AppleSDGothicNeo-Light"/>
            </a:rPr>
            <a:t>/</a:t>
          </a:r>
          <a:r>
            <a:rPr lang="ko-KR" altLang="en-US" sz="1300" b="1" kern="1200" dirty="0">
              <a:solidFill>
                <a:srgbClr val="222222"/>
              </a:solidFill>
              <a:latin typeface="AppleSDGothicNeo-Light"/>
            </a:rPr>
            <a:t>주기 단축             </a:t>
          </a:r>
          <a:r>
            <a:rPr lang="en-US" altLang="ko-KR" sz="1300" b="1" kern="1200" dirty="0">
              <a:solidFill>
                <a:srgbClr val="222222"/>
              </a:solidFill>
              <a:latin typeface="AppleSDGothicNeo-Light"/>
            </a:rPr>
            <a:t>* </a:t>
          </a:r>
          <a:r>
            <a:rPr lang="ko-KR" altLang="en-US" sz="1300" b="1" kern="1200" dirty="0">
              <a:solidFill>
                <a:srgbClr val="222222"/>
              </a:solidFill>
              <a:latin typeface="AppleSDGothicNeo-Light"/>
            </a:rPr>
            <a:t>다이내믹하게 변화 </a:t>
          </a:r>
          <a:endParaRPr lang="ko-KR" altLang="en-US" sz="1300" kern="1200" dirty="0"/>
        </a:p>
      </dsp:txBody>
      <dsp:txXfrm>
        <a:off x="41225" y="1343032"/>
        <a:ext cx="2837036" cy="1325069"/>
      </dsp:txXfrm>
    </dsp:sp>
    <dsp:sp modelId="{06656FCF-0186-4F6C-BCCA-643DD323E928}">
      <dsp:nvSpPr>
        <dsp:cNvPr id="0" name=""/>
        <dsp:cNvSpPr/>
      </dsp:nvSpPr>
      <dsp:spPr>
        <a:xfrm rot="15062922">
          <a:off x="2801343" y="1378254"/>
          <a:ext cx="2496981" cy="695152"/>
        </a:xfrm>
        <a:prstGeom prst="leftArrow">
          <a:avLst>
            <a:gd name="adj1" fmla="val 60000"/>
            <a:gd name="adj2" fmla="val 50000"/>
          </a:avLst>
        </a:prstGeom>
        <a:solidFill>
          <a:schemeClr val="accent4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CBE3698D-D2A8-4902-AE62-6C5DC6B269E0}">
      <dsp:nvSpPr>
        <dsp:cNvPr id="0" name=""/>
        <dsp:cNvSpPr/>
      </dsp:nvSpPr>
      <dsp:spPr>
        <a:xfrm>
          <a:off x="2790672" y="180936"/>
          <a:ext cx="1707391" cy="728154"/>
        </a:xfrm>
        <a:prstGeom prst="roundRect">
          <a:avLst>
            <a:gd name="adj" fmla="val 10000"/>
          </a:avLst>
        </a:prstGeom>
        <a:solidFill>
          <a:srgbClr val="FFC000"/>
        </a:solidFill>
        <a:ln w="12700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4765" tIns="24765" rIns="24765" bIns="24765" numCol="1" spcCol="1270" anchor="ctr" anchorCtr="0">
          <a:noAutofit/>
        </a:bodyPr>
        <a:lstStyle/>
        <a:p>
          <a:pPr lvl="0" algn="ctr" defTabSz="577850" latinLnBrk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ko-KR" altLang="en-US" sz="1300" b="1" kern="1200" dirty="0">
              <a:solidFill>
                <a:srgbClr val="222222"/>
              </a:solidFill>
              <a:latin typeface="AppleSDGothicNeo-Light"/>
            </a:rPr>
            <a:t>방대한 양</a:t>
          </a:r>
          <a:endParaRPr lang="en-US" altLang="ko-KR" sz="1300" b="1" kern="1200" dirty="0">
            <a:solidFill>
              <a:srgbClr val="222222"/>
            </a:solidFill>
            <a:latin typeface="AppleSDGothicNeo-Light"/>
          </a:endParaRPr>
        </a:p>
        <a:p>
          <a:pPr lvl="0" algn="ctr" defTabSz="577850" latinLnBrk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altLang="ko-KR" sz="1300" b="1" kern="1200" dirty="0">
              <a:solidFill>
                <a:srgbClr val="222222"/>
              </a:solidFill>
              <a:latin typeface="AppleSDGothicNeo-Light"/>
            </a:rPr>
            <a:t>* </a:t>
          </a:r>
          <a:r>
            <a:rPr lang="ko-KR" altLang="en-US" sz="1300" b="1" kern="1200" dirty="0">
              <a:solidFill>
                <a:srgbClr val="222222"/>
              </a:solidFill>
              <a:latin typeface="AppleSDGothicNeo-Light"/>
            </a:rPr>
            <a:t>테라</a:t>
          </a:r>
          <a:r>
            <a:rPr lang="en-US" altLang="ko-KR" sz="1300" b="1" kern="1200" dirty="0">
              <a:solidFill>
                <a:srgbClr val="222222"/>
              </a:solidFill>
              <a:latin typeface="AppleSDGothicNeo-Light"/>
            </a:rPr>
            <a:t>/</a:t>
          </a:r>
          <a:r>
            <a:rPr lang="ko-KR" altLang="en-US" sz="1300" b="1" kern="1200" dirty="0" err="1">
              <a:solidFill>
                <a:srgbClr val="222222"/>
              </a:solidFill>
              <a:latin typeface="AppleSDGothicNeo-Light"/>
            </a:rPr>
            <a:t>페타바이트</a:t>
          </a:r>
          <a:r>
            <a:rPr lang="ko-KR" altLang="en-US" sz="1300" b="1" kern="1200" dirty="0">
              <a:solidFill>
                <a:srgbClr val="222222"/>
              </a:solidFill>
              <a:latin typeface="AppleSDGothicNeo-Light"/>
            </a:rPr>
            <a:t>  </a:t>
          </a:r>
          <a:endParaRPr lang="ko-KR" altLang="en-US" sz="1300" kern="1200" dirty="0"/>
        </a:p>
      </dsp:txBody>
      <dsp:txXfrm>
        <a:off x="2811999" y="202263"/>
        <a:ext cx="1664737" cy="685500"/>
      </dsp:txXfrm>
    </dsp:sp>
    <dsp:sp modelId="{F4AAD968-F570-4E8E-9211-C5CE34B566D5}">
      <dsp:nvSpPr>
        <dsp:cNvPr id="0" name=""/>
        <dsp:cNvSpPr/>
      </dsp:nvSpPr>
      <dsp:spPr>
        <a:xfrm rot="17280000">
          <a:off x="4509661" y="1448802"/>
          <a:ext cx="2338190" cy="695152"/>
        </a:xfrm>
        <a:prstGeom prst="leftArrow">
          <a:avLst>
            <a:gd name="adj1" fmla="val 60000"/>
            <a:gd name="adj2" fmla="val 50000"/>
          </a:avLst>
        </a:prstGeom>
        <a:solidFill>
          <a:schemeClr val="accent4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1C206728-A5E3-4CB7-90AC-ADF401461907}">
      <dsp:nvSpPr>
        <dsp:cNvPr id="0" name=""/>
        <dsp:cNvSpPr/>
      </dsp:nvSpPr>
      <dsp:spPr>
        <a:xfrm>
          <a:off x="5045821" y="1546"/>
          <a:ext cx="1988411" cy="1365913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4765" tIns="24765" rIns="24765" bIns="24765" numCol="1" spcCol="1270" anchor="ctr" anchorCtr="0">
          <a:noAutofit/>
        </a:bodyPr>
        <a:lstStyle/>
        <a:p>
          <a:pPr lvl="0" algn="ctr" defTabSz="577850" latinLnBrk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ko-KR" altLang="en-US" sz="1300" b="1" kern="1200" dirty="0">
              <a:solidFill>
                <a:srgbClr val="222222"/>
              </a:solidFill>
              <a:latin typeface="AppleSDGothicNeo-Light"/>
            </a:rPr>
            <a:t>사용자의 필요성에 따라 목적성  </a:t>
          </a:r>
          <a:endParaRPr lang="en-US" altLang="ko-KR" sz="1300" b="1" kern="1200" dirty="0">
            <a:solidFill>
              <a:srgbClr val="222222"/>
            </a:solidFill>
            <a:latin typeface="AppleSDGothicNeo-Light"/>
          </a:endParaRPr>
        </a:p>
        <a:p>
          <a:pPr lvl="0" algn="ctr" defTabSz="577850" latinLnBrk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ko-KR" altLang="en-US" sz="1300" b="1" kern="1200" dirty="0">
              <a:solidFill>
                <a:srgbClr val="222222"/>
              </a:solidFill>
              <a:latin typeface="AppleSDGothicNeo-Light"/>
            </a:rPr>
            <a:t> </a:t>
          </a:r>
          <a:endParaRPr lang="ko-KR" altLang="en-US" sz="1300" kern="1200" dirty="0"/>
        </a:p>
      </dsp:txBody>
      <dsp:txXfrm>
        <a:off x="5085827" y="41552"/>
        <a:ext cx="1908399" cy="1285901"/>
      </dsp:txXfrm>
    </dsp:sp>
    <dsp:sp modelId="{CDF58959-1B25-46E8-B680-F9887631E197}">
      <dsp:nvSpPr>
        <dsp:cNvPr id="0" name=""/>
        <dsp:cNvSpPr/>
      </dsp:nvSpPr>
      <dsp:spPr>
        <a:xfrm rot="19854468">
          <a:off x="5932730" y="2556647"/>
          <a:ext cx="2580478" cy="695152"/>
        </a:xfrm>
        <a:prstGeom prst="leftArrow">
          <a:avLst>
            <a:gd name="adj1" fmla="val 60000"/>
            <a:gd name="adj2" fmla="val 50000"/>
          </a:avLst>
        </a:prstGeom>
        <a:solidFill>
          <a:schemeClr val="accent4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EF77754D-56B4-4401-9AD8-AD37E6068462}">
      <dsp:nvSpPr>
        <dsp:cNvPr id="0" name=""/>
        <dsp:cNvSpPr/>
      </dsp:nvSpPr>
      <dsp:spPr>
        <a:xfrm>
          <a:off x="6998585" y="1593931"/>
          <a:ext cx="2703688" cy="1365913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4290" tIns="34290" rIns="34290" bIns="34290" numCol="1" spcCol="1270" anchor="ctr" anchorCtr="0">
          <a:noAutofit/>
        </a:bodyPr>
        <a:lstStyle/>
        <a:p>
          <a:pPr lvl="0" algn="ctr" defTabSz="800100" latinLnBrk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ko-KR" altLang="en-US" sz="1800" b="1" kern="1200" dirty="0">
              <a:solidFill>
                <a:srgbClr val="222222"/>
              </a:solidFill>
              <a:latin typeface="AppleSDGothicNeo-Light"/>
            </a:rPr>
            <a:t>발굴</a:t>
          </a:r>
          <a:r>
            <a:rPr lang="en-US" altLang="ko-KR" sz="1800" b="1" kern="1200" dirty="0">
              <a:solidFill>
                <a:srgbClr val="222222"/>
              </a:solidFill>
              <a:latin typeface="AppleSDGothicNeo-Light"/>
            </a:rPr>
            <a:t>/</a:t>
          </a:r>
          <a:r>
            <a:rPr lang="ko-KR" altLang="en-US" sz="1800" b="1" kern="1200" dirty="0">
              <a:solidFill>
                <a:srgbClr val="222222"/>
              </a:solidFill>
              <a:latin typeface="AppleSDGothicNeo-Light"/>
            </a:rPr>
            <a:t>저장</a:t>
          </a:r>
          <a:r>
            <a:rPr lang="en-US" altLang="ko-KR" sz="1800" b="1" kern="1200" dirty="0">
              <a:solidFill>
                <a:srgbClr val="222222"/>
              </a:solidFill>
              <a:latin typeface="AppleSDGothicNeo-Light"/>
            </a:rPr>
            <a:t>/</a:t>
          </a:r>
          <a:r>
            <a:rPr lang="ko-KR" altLang="en-US" sz="1800" b="1" kern="1200" dirty="0">
              <a:solidFill>
                <a:srgbClr val="222222"/>
              </a:solidFill>
              <a:latin typeface="AppleSDGothicNeo-Light"/>
            </a:rPr>
            <a:t>관리</a:t>
          </a:r>
          <a:r>
            <a:rPr lang="en-US" altLang="ko-KR" sz="1800" b="1" kern="1200" dirty="0">
              <a:solidFill>
                <a:srgbClr val="222222"/>
              </a:solidFill>
              <a:latin typeface="AppleSDGothicNeo-Light"/>
            </a:rPr>
            <a:t>/</a:t>
          </a:r>
        </a:p>
        <a:p>
          <a:pPr lvl="0" algn="ctr" defTabSz="800100" latinLnBrk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ko-KR" altLang="en-US" sz="1800" b="1" kern="1200" dirty="0">
              <a:solidFill>
                <a:srgbClr val="222222"/>
              </a:solidFill>
              <a:latin typeface="AppleSDGothicNeo-Light"/>
            </a:rPr>
            <a:t>분석</a:t>
          </a:r>
          <a:r>
            <a:rPr lang="en-US" altLang="ko-KR" sz="1800" b="1" kern="1200" dirty="0">
              <a:solidFill>
                <a:srgbClr val="222222"/>
              </a:solidFill>
              <a:latin typeface="AppleSDGothicNeo-Light"/>
            </a:rPr>
            <a:t>&gt; </a:t>
          </a:r>
          <a:r>
            <a:rPr lang="ko-KR" altLang="en-US" sz="1800" b="1" kern="1200" dirty="0">
              <a:solidFill>
                <a:srgbClr val="222222"/>
              </a:solidFill>
              <a:latin typeface="AppleSDGothicNeo-Light"/>
            </a:rPr>
            <a:t>표현 전달</a:t>
          </a:r>
          <a:endParaRPr lang="en-US" altLang="ko-KR" sz="1800" b="1" kern="1200" dirty="0">
            <a:solidFill>
              <a:srgbClr val="222222"/>
            </a:solidFill>
            <a:latin typeface="AppleSDGothicNeo-Light"/>
          </a:endParaRPr>
        </a:p>
        <a:p>
          <a:pPr lvl="0" algn="ctr" defTabSz="800100" latinLnBrk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ko-KR" altLang="en-US" sz="1800" b="1" kern="1200" dirty="0">
              <a:solidFill>
                <a:srgbClr val="222222"/>
              </a:solidFill>
              <a:latin typeface="AppleSDGothicNeo-Light"/>
            </a:rPr>
            <a:t>통합프로세스</a:t>
          </a:r>
          <a:endParaRPr lang="ko-KR" altLang="en-US" sz="1600" kern="1200" dirty="0"/>
        </a:p>
      </dsp:txBody>
      <dsp:txXfrm>
        <a:off x="7038591" y="1633937"/>
        <a:ext cx="2623676" cy="1285901"/>
      </dsp:txXfrm>
    </dsp:sp>
    <dsp:sp modelId="{44115350-4BA4-457D-BFAF-EE330E470B37}">
      <dsp:nvSpPr>
        <dsp:cNvPr id="0" name=""/>
        <dsp:cNvSpPr/>
      </dsp:nvSpPr>
      <dsp:spPr>
        <a:xfrm rot="340830">
          <a:off x="5946221" y="4087183"/>
          <a:ext cx="1838883" cy="695152"/>
        </a:xfrm>
        <a:prstGeom prst="leftArrow">
          <a:avLst>
            <a:gd name="adj1" fmla="val 60000"/>
            <a:gd name="adj2" fmla="val 50000"/>
          </a:avLst>
        </a:prstGeom>
        <a:solidFill>
          <a:schemeClr val="accent4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722FCAA7-2D67-42B0-97EC-1C90504F4B1E}">
      <dsp:nvSpPr>
        <dsp:cNvPr id="0" name=""/>
        <dsp:cNvSpPr/>
      </dsp:nvSpPr>
      <dsp:spPr>
        <a:xfrm>
          <a:off x="6928635" y="3827920"/>
          <a:ext cx="2239722" cy="1365913"/>
        </a:xfrm>
        <a:prstGeom prst="roundRect">
          <a:avLst>
            <a:gd name="adj" fmla="val 10000"/>
          </a:avLst>
        </a:prstGeom>
        <a:solidFill>
          <a:srgbClr val="FF0000"/>
        </a:solidFill>
        <a:ln w="12700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0480" tIns="30480" rIns="30480" bIns="30480" numCol="1" spcCol="1270" anchor="ctr" anchorCtr="0">
          <a:noAutofit/>
        </a:bodyPr>
        <a:lstStyle/>
        <a:p>
          <a:pPr lvl="0" algn="ctr" defTabSz="711200" latinLnBrk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ko-KR" altLang="en-US" sz="1600" b="0" kern="1200" dirty="0">
              <a:solidFill>
                <a:schemeClr val="bg1"/>
              </a:solidFill>
              <a:latin typeface="AppleSDGothicNeo-Light"/>
            </a:rPr>
            <a:t>가치와 수익성</a:t>
          </a:r>
          <a:endParaRPr lang="en-US" altLang="ko-KR" sz="1600" b="0" kern="1200" dirty="0">
            <a:solidFill>
              <a:schemeClr val="bg1"/>
            </a:solidFill>
            <a:latin typeface="AppleSDGothicNeo-Light"/>
          </a:endParaRPr>
        </a:p>
        <a:p>
          <a:pPr lvl="0" algn="ctr" defTabSz="711200" latinLnBrk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ko-KR" altLang="en-US" sz="1600" b="0" kern="1200" dirty="0">
              <a:solidFill>
                <a:schemeClr val="bg1"/>
              </a:solidFill>
              <a:latin typeface="AppleSDGothicNeo-Light"/>
            </a:rPr>
            <a:t> </a:t>
          </a:r>
          <a:r>
            <a:rPr lang="en-US" altLang="ko-KR" sz="1600" b="0" kern="1200" dirty="0">
              <a:solidFill>
                <a:schemeClr val="bg1"/>
              </a:solidFill>
              <a:latin typeface="AppleSDGothicNeo-Light"/>
            </a:rPr>
            <a:t>NEW Business </a:t>
          </a:r>
          <a:endParaRPr lang="ko-KR" altLang="en-US" sz="1600" b="0" kern="1200" dirty="0">
            <a:solidFill>
              <a:schemeClr val="bg1"/>
            </a:solidFill>
          </a:endParaRPr>
        </a:p>
      </dsp:txBody>
      <dsp:txXfrm>
        <a:off x="6968641" y="3867926"/>
        <a:ext cx="2159710" cy="1285901"/>
      </dsp:txXfrm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937ADFE-FAB1-4C60-95A9-0B2D7602A735}">
      <dsp:nvSpPr>
        <dsp:cNvPr id="0" name=""/>
        <dsp:cNvSpPr/>
      </dsp:nvSpPr>
      <dsp:spPr>
        <a:xfrm>
          <a:off x="342891" y="0"/>
          <a:ext cx="4506080" cy="5137090"/>
        </a:xfrm>
        <a:prstGeom prst="rightArrow">
          <a:avLst/>
        </a:prstGeom>
        <a:solidFill>
          <a:schemeClr val="bg2"/>
        </a:solidFill>
        <a:ln w="19050" cap="flat" cmpd="sng" algn="ctr">
          <a:solidFill>
            <a:schemeClr val="lt1"/>
          </a:solidFill>
          <a:prstDash val="solid"/>
          <a:miter/>
        </a:ln>
        <a:effectLst/>
      </dsp:spPr>
      <dsp:style>
        <a:lnRef idx="3">
          <a:schemeClr val="lt1"/>
        </a:lnRef>
        <a:fillRef idx="1">
          <a:schemeClr val="accent3"/>
        </a:fillRef>
        <a:effectRef idx="1">
          <a:schemeClr val="accent3"/>
        </a:effectRef>
        <a:fontRef idx="minor">
          <a:schemeClr val="lt1"/>
        </a:fontRef>
      </dsp:style>
    </dsp:sp>
    <dsp:sp modelId="{FA60030A-A069-4CFF-9AA0-3ADBABF42FAB}">
      <dsp:nvSpPr>
        <dsp:cNvPr id="0" name=""/>
        <dsp:cNvSpPr/>
      </dsp:nvSpPr>
      <dsp:spPr>
        <a:xfrm>
          <a:off x="179642" y="1541127"/>
          <a:ext cx="1590381" cy="2054836"/>
        </a:xfrm>
        <a:prstGeom prst="roundRect">
          <a:avLst/>
        </a:prstGeom>
        <a:solidFill>
          <a:schemeClr val="accent5">
            <a:lumMod val="75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ctr" defTabSz="711200" latinLnBrk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altLang="ko-KR" sz="1600" kern="1200" dirty="0"/>
            <a:t>4</a:t>
          </a:r>
          <a:r>
            <a:rPr lang="ko-KR" altLang="en-US" sz="1600" kern="1200" dirty="0" err="1"/>
            <a:t>차산업혁명</a:t>
          </a:r>
          <a:endParaRPr lang="en-US" altLang="ko-KR" sz="1600" kern="1200" dirty="0"/>
        </a:p>
        <a:p>
          <a:pPr lvl="0" algn="ctr" defTabSz="711200" latinLnBrk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ko-KR" altLang="en-US" sz="1600" kern="1200" dirty="0"/>
            <a:t>기술  융합 </a:t>
          </a:r>
        </a:p>
      </dsp:txBody>
      <dsp:txXfrm>
        <a:off x="257278" y="1618763"/>
        <a:ext cx="1435109" cy="1899564"/>
      </dsp:txXfrm>
    </dsp:sp>
    <dsp:sp modelId="{23D45DE7-A0EB-4C18-BF91-646FC91B07A2}">
      <dsp:nvSpPr>
        <dsp:cNvPr id="0" name=""/>
        <dsp:cNvSpPr/>
      </dsp:nvSpPr>
      <dsp:spPr>
        <a:xfrm>
          <a:off x="1855444" y="1541127"/>
          <a:ext cx="1590381" cy="2054836"/>
        </a:xfrm>
        <a:prstGeom prst="roundRect">
          <a:avLst/>
        </a:prstGeom>
        <a:solidFill>
          <a:srgbClr val="0070C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ctr" defTabSz="711200" latinLnBrk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ko-KR" altLang="en-US" sz="1600" kern="1200" dirty="0"/>
            <a:t>전문직</a:t>
          </a:r>
          <a:r>
            <a:rPr lang="en-US" altLang="ko-KR" sz="1600" kern="1200" dirty="0"/>
            <a:t>&gt;big</a:t>
          </a:r>
          <a:r>
            <a:rPr lang="ko-KR" altLang="en-US" sz="1600" kern="1200" dirty="0"/>
            <a:t> </a:t>
          </a:r>
          <a:r>
            <a:rPr lang="en-US" altLang="ko-KR" sz="1600" kern="1200" dirty="0"/>
            <a:t>Data </a:t>
          </a:r>
          <a:r>
            <a:rPr lang="ko-KR" altLang="en-US" sz="1600" kern="1200" dirty="0"/>
            <a:t>기반 </a:t>
          </a:r>
          <a:r>
            <a:rPr lang="en-US" altLang="ko-KR" sz="1600" kern="1200" dirty="0"/>
            <a:t> AI &amp; </a:t>
          </a:r>
          <a:r>
            <a:rPr lang="ko-KR" altLang="en-US" sz="1600" kern="1200" dirty="0"/>
            <a:t>로봇고용</a:t>
          </a:r>
          <a:r>
            <a:rPr lang="en-US" altLang="ko-KR" sz="1600" kern="1200" dirty="0"/>
            <a:t>&gt;  </a:t>
          </a:r>
        </a:p>
        <a:p>
          <a:pPr lvl="0" algn="ctr" defTabSz="711200" latinLnBrk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altLang="ko-KR" sz="1600" kern="1200" dirty="0"/>
            <a:t>Self</a:t>
          </a:r>
          <a:r>
            <a:rPr lang="ko-KR" altLang="en-US" sz="1600" kern="1200" dirty="0"/>
            <a:t> </a:t>
          </a:r>
          <a:r>
            <a:rPr lang="en-US" altLang="ko-KR" sz="1600" kern="1200" dirty="0"/>
            <a:t>Operating</a:t>
          </a:r>
        </a:p>
      </dsp:txBody>
      <dsp:txXfrm>
        <a:off x="1933080" y="1618763"/>
        <a:ext cx="1435109" cy="1899564"/>
      </dsp:txXfrm>
    </dsp:sp>
    <dsp:sp modelId="{FB9E7A44-0662-41D2-ADF2-04D407E645FF}">
      <dsp:nvSpPr>
        <dsp:cNvPr id="0" name=""/>
        <dsp:cNvSpPr/>
      </dsp:nvSpPr>
      <dsp:spPr>
        <a:xfrm>
          <a:off x="3531247" y="1541127"/>
          <a:ext cx="1590381" cy="2054836"/>
        </a:xfrm>
        <a:prstGeom prst="roundRect">
          <a:avLst/>
        </a:prstGeom>
        <a:solidFill>
          <a:srgbClr val="00206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ctr" defTabSz="711200" latinLnBrk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ko-KR" altLang="en-US" sz="1600" kern="1200" dirty="0"/>
            <a:t>일상화된 </a:t>
          </a:r>
          <a:endParaRPr lang="en-US" altLang="ko-KR" sz="1600" kern="1200" dirty="0"/>
        </a:p>
        <a:p>
          <a:pPr lvl="0" algn="ctr" defTabSz="711200" latinLnBrk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ko-KR" altLang="en-US" sz="1600" kern="1200" dirty="0"/>
            <a:t>디지털 </a:t>
          </a:r>
          <a:endParaRPr lang="en-US" altLang="ko-KR" sz="1600" kern="1200" dirty="0"/>
        </a:p>
        <a:p>
          <a:pPr lvl="0" algn="ctr" defTabSz="711200" latinLnBrk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ko-KR" altLang="en-US" sz="1600" kern="1200" dirty="0"/>
            <a:t>자동화  </a:t>
          </a:r>
        </a:p>
      </dsp:txBody>
      <dsp:txXfrm>
        <a:off x="3608883" y="1618763"/>
        <a:ext cx="1435109" cy="1899564"/>
      </dsp:txXfrm>
    </dsp:sp>
  </dsp:spTree>
</dsp:drawing>
</file>

<file path=ppt/diagrams/drawing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896788A-D90C-4878-8A20-AD46C37FF285}">
      <dsp:nvSpPr>
        <dsp:cNvPr id="0" name=""/>
        <dsp:cNvSpPr/>
      </dsp:nvSpPr>
      <dsp:spPr>
        <a:xfrm>
          <a:off x="-2683567" y="-1810998"/>
          <a:ext cx="4935451" cy="4935451"/>
        </a:xfrm>
        <a:prstGeom prst="blockArc">
          <a:avLst>
            <a:gd name="adj1" fmla="val 344217"/>
            <a:gd name="adj2" fmla="val 2192782"/>
            <a:gd name="adj3" fmla="val 2308"/>
          </a:avLst>
        </a:prstGeom>
        <a:solidFill>
          <a:schemeClr val="accent2">
            <a:hueOff val="4681519"/>
            <a:satOff val="-5839"/>
            <a:lumOff val="1373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A6983F70-7AEB-4B53-A6F9-200A7F65301A}">
      <dsp:nvSpPr>
        <dsp:cNvPr id="0" name=""/>
        <dsp:cNvSpPr/>
      </dsp:nvSpPr>
      <dsp:spPr>
        <a:xfrm>
          <a:off x="1053007" y="630649"/>
          <a:ext cx="5717572" cy="4037150"/>
        </a:xfrm>
        <a:prstGeom prst="blockArc">
          <a:avLst>
            <a:gd name="adj1" fmla="val 8912104"/>
            <a:gd name="adj2" fmla="val 13547895"/>
            <a:gd name="adj3" fmla="val 2308"/>
          </a:avLst>
        </a:prstGeom>
        <a:solidFill>
          <a:schemeClr val="accent2">
            <a:hueOff val="4255926"/>
            <a:satOff val="-5308"/>
            <a:lumOff val="1248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46F3E911-DA76-49CA-A1A2-3ED56D39480F}">
      <dsp:nvSpPr>
        <dsp:cNvPr id="0" name=""/>
        <dsp:cNvSpPr/>
      </dsp:nvSpPr>
      <dsp:spPr>
        <a:xfrm>
          <a:off x="1553254" y="380089"/>
          <a:ext cx="4935451" cy="4935451"/>
        </a:xfrm>
        <a:prstGeom prst="blockArc">
          <a:avLst>
            <a:gd name="adj1" fmla="val 5059487"/>
            <a:gd name="adj2" fmla="val 9231617"/>
            <a:gd name="adj3" fmla="val 2308"/>
          </a:avLst>
        </a:prstGeom>
        <a:solidFill>
          <a:schemeClr val="accent2">
            <a:hueOff val="3830334"/>
            <a:satOff val="-4777"/>
            <a:lumOff val="1123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1B4B6EE9-379C-4303-A438-99ED248A6270}">
      <dsp:nvSpPr>
        <dsp:cNvPr id="0" name=""/>
        <dsp:cNvSpPr/>
      </dsp:nvSpPr>
      <dsp:spPr>
        <a:xfrm>
          <a:off x="494629" y="4871432"/>
          <a:ext cx="4935451" cy="4935451"/>
        </a:xfrm>
        <a:prstGeom prst="blockArc">
          <a:avLst>
            <a:gd name="adj1" fmla="val 16273045"/>
            <a:gd name="adj2" fmla="val 18132042"/>
            <a:gd name="adj3" fmla="val 2308"/>
          </a:avLst>
        </a:prstGeom>
        <a:solidFill>
          <a:schemeClr val="accent2">
            <a:hueOff val="3404741"/>
            <a:satOff val="-4247"/>
            <a:lumOff val="999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6B58AD6F-2588-41C2-BABF-16810B03A2DF}">
      <dsp:nvSpPr>
        <dsp:cNvPr id="0" name=""/>
        <dsp:cNvSpPr/>
      </dsp:nvSpPr>
      <dsp:spPr>
        <a:xfrm>
          <a:off x="2979866" y="2601312"/>
          <a:ext cx="4935451" cy="4935451"/>
        </a:xfrm>
        <a:prstGeom prst="blockArc">
          <a:avLst>
            <a:gd name="adj1" fmla="val 10720488"/>
            <a:gd name="adj2" fmla="val 11037767"/>
            <a:gd name="adj3" fmla="val 2308"/>
          </a:avLst>
        </a:prstGeom>
        <a:solidFill>
          <a:schemeClr val="accent2">
            <a:hueOff val="2979148"/>
            <a:satOff val="-3716"/>
            <a:lumOff val="874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51E02BCE-0CCE-4ED5-8826-84C8625F79E0}">
      <dsp:nvSpPr>
        <dsp:cNvPr id="0" name=""/>
        <dsp:cNvSpPr/>
      </dsp:nvSpPr>
      <dsp:spPr>
        <a:xfrm>
          <a:off x="2274253" y="941130"/>
          <a:ext cx="4935451" cy="4935451"/>
        </a:xfrm>
        <a:prstGeom prst="blockArc">
          <a:avLst>
            <a:gd name="adj1" fmla="val 607794"/>
            <a:gd name="adj2" fmla="val 8116328"/>
            <a:gd name="adj3" fmla="val 2308"/>
          </a:avLst>
        </a:prstGeom>
        <a:solidFill>
          <a:schemeClr val="accent2">
            <a:hueOff val="2553556"/>
            <a:satOff val="-3185"/>
            <a:lumOff val="749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7B2A3EE2-D95D-4049-BF57-3E0011EA166A}">
      <dsp:nvSpPr>
        <dsp:cNvPr id="0" name=""/>
        <dsp:cNvSpPr/>
      </dsp:nvSpPr>
      <dsp:spPr>
        <a:xfrm>
          <a:off x="5155659" y="3761657"/>
          <a:ext cx="4935451" cy="4935451"/>
        </a:xfrm>
        <a:prstGeom prst="blockArc">
          <a:avLst>
            <a:gd name="adj1" fmla="val 12414529"/>
            <a:gd name="adj2" fmla="val 15518799"/>
            <a:gd name="adj3" fmla="val 2308"/>
          </a:avLst>
        </a:prstGeom>
        <a:solidFill>
          <a:schemeClr val="accent2">
            <a:hueOff val="2127963"/>
            <a:satOff val="-2654"/>
            <a:lumOff val="624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DB2482E8-8F63-47B3-BE3F-0F5509243A41}">
      <dsp:nvSpPr>
        <dsp:cNvPr id="0" name=""/>
        <dsp:cNvSpPr/>
      </dsp:nvSpPr>
      <dsp:spPr>
        <a:xfrm>
          <a:off x="951733" y="4011954"/>
          <a:ext cx="4935451" cy="4935451"/>
        </a:xfrm>
        <a:prstGeom prst="blockArc">
          <a:avLst>
            <a:gd name="adj1" fmla="val 17242035"/>
            <a:gd name="adj2" fmla="val 19576596"/>
            <a:gd name="adj3" fmla="val 2308"/>
          </a:avLst>
        </a:prstGeom>
        <a:solidFill>
          <a:schemeClr val="accent2">
            <a:hueOff val="1702371"/>
            <a:satOff val="-2123"/>
            <a:lumOff val="499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555CCB8E-D167-41F9-A234-D257D8962690}">
      <dsp:nvSpPr>
        <dsp:cNvPr id="0" name=""/>
        <dsp:cNvSpPr/>
      </dsp:nvSpPr>
      <dsp:spPr>
        <a:xfrm>
          <a:off x="-489749" y="569101"/>
          <a:ext cx="4935451" cy="4935451"/>
        </a:xfrm>
        <a:prstGeom prst="blockArc">
          <a:avLst>
            <a:gd name="adj1" fmla="val 18511698"/>
            <a:gd name="adj2" fmla="val 1631745"/>
            <a:gd name="adj3" fmla="val 2308"/>
          </a:avLst>
        </a:prstGeom>
        <a:solidFill>
          <a:schemeClr val="accent2">
            <a:hueOff val="1276778"/>
            <a:satOff val="-1592"/>
            <a:lumOff val="374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B9F1E656-E6E6-40A8-9070-F78B6A735065}">
      <dsp:nvSpPr>
        <dsp:cNvPr id="0" name=""/>
        <dsp:cNvSpPr/>
      </dsp:nvSpPr>
      <dsp:spPr>
        <a:xfrm>
          <a:off x="3468787" y="-667070"/>
          <a:ext cx="4935451" cy="3544246"/>
        </a:xfrm>
        <a:prstGeom prst="blockArc">
          <a:avLst>
            <a:gd name="adj1" fmla="val 5715521"/>
            <a:gd name="adj2" fmla="val 10766806"/>
            <a:gd name="adj3" fmla="val 2308"/>
          </a:avLst>
        </a:prstGeom>
        <a:solidFill>
          <a:schemeClr val="accent2">
            <a:hueOff val="851185"/>
            <a:satOff val="-1062"/>
            <a:lumOff val="25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B00517F5-9677-4D9A-A656-6616518E9C7F}">
      <dsp:nvSpPr>
        <dsp:cNvPr id="0" name=""/>
        <dsp:cNvSpPr/>
      </dsp:nvSpPr>
      <dsp:spPr>
        <a:xfrm>
          <a:off x="1022134" y="62420"/>
          <a:ext cx="4935451" cy="4935451"/>
        </a:xfrm>
        <a:prstGeom prst="blockArc">
          <a:avLst>
            <a:gd name="adj1" fmla="val 19903323"/>
            <a:gd name="adj2" fmla="val 1458154"/>
            <a:gd name="adj3" fmla="val 2308"/>
          </a:avLst>
        </a:prstGeom>
        <a:solidFill>
          <a:schemeClr val="accent2">
            <a:hueOff val="425593"/>
            <a:satOff val="-531"/>
            <a:lumOff val="125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EEA9FFA8-2CC1-4DD7-9CBC-1F2F63E3FE67}">
      <dsp:nvSpPr>
        <dsp:cNvPr id="0" name=""/>
        <dsp:cNvSpPr/>
      </dsp:nvSpPr>
      <dsp:spPr>
        <a:xfrm>
          <a:off x="1524062" y="710685"/>
          <a:ext cx="4935451" cy="4935451"/>
        </a:xfrm>
        <a:prstGeom prst="blockArc">
          <a:avLst>
            <a:gd name="adj1" fmla="val 12299558"/>
            <a:gd name="adj2" fmla="val 18818395"/>
            <a:gd name="adj3" fmla="val 2308"/>
          </a:avLst>
        </a:prstGeom>
        <a:solidFill>
          <a:schemeClr val="accent2"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D2637A7B-39E8-4AF9-AD5D-BD1B9FE0707F}">
      <dsp:nvSpPr>
        <dsp:cNvPr id="0" name=""/>
        <dsp:cNvSpPr/>
      </dsp:nvSpPr>
      <dsp:spPr>
        <a:xfrm>
          <a:off x="2128202" y="1750856"/>
          <a:ext cx="3947160" cy="1922972"/>
        </a:xfrm>
        <a:prstGeom prst="ellipse">
          <a:avLst/>
        </a:prstGeom>
        <a:blipFill rotWithShape="0">
          <a:blip xmlns:r="http://schemas.openxmlformats.org/officeDocument/2006/relationships" r:embed="rId1"/>
          <a:srcRect/>
          <a:stretch>
            <a:fillRect l="-1000" r="-1000"/>
          </a:stretch>
        </a:blip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lvl="0" algn="ctr" defTabSz="622300" latinLnBrk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altLang="ko-KR" sz="1400" kern="1200" dirty="0">
              <a:latin typeface="휴먼모음T" panose="02030504000101010101" pitchFamily="18" charset="-127"/>
              <a:ea typeface="휴먼모음T" panose="02030504000101010101" pitchFamily="18" charset="-127"/>
            </a:rPr>
            <a:t> </a:t>
          </a:r>
          <a:r>
            <a:rPr lang="ko-KR" altLang="en-US" sz="2800" kern="1200" dirty="0">
              <a:solidFill>
                <a:schemeClr val="tx1"/>
              </a:solidFill>
              <a:latin typeface="휴먼모음T" panose="02030504000101010101" pitchFamily="18" charset="-127"/>
              <a:ea typeface="휴먼모음T" panose="02030504000101010101" pitchFamily="18" charset="-127"/>
            </a:rPr>
            <a:t>기술 </a:t>
          </a:r>
          <a:r>
            <a:rPr lang="en-US" altLang="ko-KR" sz="2800" kern="1200" dirty="0">
              <a:solidFill>
                <a:schemeClr val="tx1"/>
              </a:solidFill>
              <a:latin typeface="휴먼모음T" panose="02030504000101010101" pitchFamily="18" charset="-127"/>
              <a:ea typeface="휴먼모음T" panose="02030504000101010101" pitchFamily="18" charset="-127"/>
            </a:rPr>
            <a:t>&amp; </a:t>
          </a:r>
          <a:r>
            <a:rPr lang="ko-KR" altLang="en-US" sz="2800" kern="1200" dirty="0">
              <a:solidFill>
                <a:schemeClr val="tx1"/>
              </a:solidFill>
              <a:latin typeface="휴먼모음T" panose="02030504000101010101" pitchFamily="18" charset="-127"/>
              <a:ea typeface="휴먼모음T" panose="02030504000101010101" pitchFamily="18" charset="-127"/>
            </a:rPr>
            <a:t>인간 </a:t>
          </a:r>
          <a:endParaRPr lang="en-US" altLang="ko-KR" sz="2800" kern="1200" dirty="0">
            <a:solidFill>
              <a:schemeClr val="tx1"/>
            </a:solidFill>
            <a:latin typeface="휴먼모음T" panose="02030504000101010101" pitchFamily="18" charset="-127"/>
            <a:ea typeface="휴먼모음T" panose="02030504000101010101" pitchFamily="18" charset="-127"/>
          </a:endParaRPr>
        </a:p>
        <a:p>
          <a:pPr lvl="0" algn="ctr" defTabSz="622300" latinLnBrk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ko-KR" altLang="en-US" sz="2800" kern="1200" dirty="0">
              <a:solidFill>
                <a:schemeClr val="tx1"/>
              </a:solidFill>
              <a:latin typeface="휴먼모음T" panose="02030504000101010101" pitchFamily="18" charset="-127"/>
              <a:ea typeface="휴먼모음T" panose="02030504000101010101" pitchFamily="18" charset="-127"/>
            </a:rPr>
            <a:t>   융합</a:t>
          </a:r>
          <a:r>
            <a:rPr lang="en-US" altLang="ko-KR" sz="2800" kern="1200" dirty="0">
              <a:solidFill>
                <a:schemeClr val="tx1"/>
              </a:solidFill>
              <a:latin typeface="휴먼모음T" panose="02030504000101010101" pitchFamily="18" charset="-127"/>
              <a:ea typeface="휴먼모음T" panose="02030504000101010101" pitchFamily="18" charset="-127"/>
            </a:rPr>
            <a:t>/</a:t>
          </a:r>
          <a:r>
            <a:rPr lang="ko-KR" altLang="en-US" sz="2800" kern="1200" dirty="0">
              <a:solidFill>
                <a:schemeClr val="tx1"/>
              </a:solidFill>
              <a:latin typeface="휴먼모음T" panose="02030504000101010101" pitchFamily="18" charset="-127"/>
              <a:ea typeface="휴먼모음T" panose="02030504000101010101" pitchFamily="18" charset="-127"/>
            </a:rPr>
            <a:t>연결 과제 </a:t>
          </a:r>
          <a:r>
            <a:rPr lang="en-US" altLang="ko-KR" sz="2800" kern="1200" dirty="0">
              <a:solidFill>
                <a:schemeClr val="tx1"/>
              </a:solidFill>
              <a:latin typeface="휴먼모음T" panose="02030504000101010101" pitchFamily="18" charset="-127"/>
              <a:ea typeface="휴먼모음T" panose="02030504000101010101" pitchFamily="18" charset="-127"/>
            </a:rPr>
            <a:t>	</a:t>
          </a:r>
          <a:r>
            <a:rPr lang="ko-KR" altLang="en-US" sz="1400" kern="1200" dirty="0">
              <a:solidFill>
                <a:schemeClr val="tx1"/>
              </a:solidFill>
              <a:latin typeface="휴먼모음T" panose="02030504000101010101" pitchFamily="18" charset="-127"/>
              <a:ea typeface="휴먼모음T" panose="02030504000101010101" pitchFamily="18" charset="-127"/>
            </a:rPr>
            <a:t> </a:t>
          </a:r>
        </a:p>
      </dsp:txBody>
      <dsp:txXfrm>
        <a:off x="2706250" y="2032469"/>
        <a:ext cx="2791064" cy="1359746"/>
      </dsp:txXfrm>
    </dsp:sp>
    <dsp:sp modelId="{79BD79E0-828B-4BFE-BA64-4233F581F14E}">
      <dsp:nvSpPr>
        <dsp:cNvPr id="0" name=""/>
        <dsp:cNvSpPr/>
      </dsp:nvSpPr>
      <dsp:spPr>
        <a:xfrm>
          <a:off x="792154" y="1062514"/>
          <a:ext cx="1903264" cy="2093433"/>
        </a:xfrm>
        <a:prstGeom prst="ellipse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0320" tIns="20320" rIns="20320" bIns="20320" numCol="1" spcCol="1270" anchor="ctr" anchorCtr="0">
          <a:noAutofit/>
        </a:bodyPr>
        <a:lstStyle/>
        <a:p>
          <a:pPr lvl="0" algn="ctr" defTabSz="711200" latinLnBrk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altLang="ko-KR" sz="1600" kern="1200" dirty="0" err="1">
              <a:solidFill>
                <a:schemeClr val="tx1"/>
              </a:solidFill>
              <a:latin typeface="휴먼모음T" panose="02030504000101010101" pitchFamily="18" charset="-127"/>
              <a:ea typeface="휴먼모음T" panose="02030504000101010101" pitchFamily="18" charset="-127"/>
            </a:rPr>
            <a:t>IoT</a:t>
          </a:r>
          <a:r>
            <a:rPr lang="en-US" altLang="ko-KR" sz="1600" kern="1200" dirty="0">
              <a:solidFill>
                <a:schemeClr val="tx1"/>
              </a:solidFill>
              <a:latin typeface="휴먼모음T" panose="02030504000101010101" pitchFamily="18" charset="-127"/>
              <a:ea typeface="휴먼모음T" panose="02030504000101010101" pitchFamily="18" charset="-127"/>
            </a:rPr>
            <a:t>/</a:t>
          </a:r>
          <a:r>
            <a:rPr lang="en-US" altLang="ko-KR" sz="1600" kern="1200" dirty="0" err="1">
              <a:solidFill>
                <a:schemeClr val="tx1"/>
              </a:solidFill>
              <a:latin typeface="휴먼모음T" panose="02030504000101010101" pitchFamily="18" charset="-127"/>
              <a:ea typeface="휴먼모음T" panose="02030504000101010101" pitchFamily="18" charset="-127"/>
            </a:rPr>
            <a:t>IoS</a:t>
          </a:r>
          <a:endParaRPr lang="en-US" altLang="ko-KR" sz="1600" kern="1200" dirty="0">
            <a:solidFill>
              <a:schemeClr val="tx1"/>
            </a:solidFill>
            <a:latin typeface="휴먼모음T" panose="02030504000101010101" pitchFamily="18" charset="-127"/>
            <a:ea typeface="휴먼모음T" panose="02030504000101010101" pitchFamily="18" charset="-127"/>
          </a:endParaRPr>
        </a:p>
        <a:p>
          <a:pPr lvl="0" algn="ctr" defTabSz="711200" latinLnBrk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900" kern="1200" dirty="0">
              <a:solidFill>
                <a:schemeClr val="tx1"/>
              </a:solidFill>
              <a:latin typeface="휴먼모음T" panose="02030504000101010101" pitchFamily="18" charset="-127"/>
              <a:ea typeface="휴먼모음T" panose="02030504000101010101" pitchFamily="18" charset="-127"/>
              <a:hlinkClick xmlns:r="http://schemas.openxmlformats.org/officeDocument/2006/relationships" r:id="rId2"/>
            </a:rPr>
            <a:t>[</a:t>
          </a:r>
          <a:r>
            <a:rPr lang="en-US" sz="900" kern="1200" dirty="0">
              <a:hlinkClick xmlns:r="http://schemas.openxmlformats.org/officeDocument/2006/relationships" r:id="rId2"/>
            </a:rPr>
            <a:t>Internet of Things]</a:t>
          </a:r>
          <a:endParaRPr lang="en-US" sz="900" kern="1200" dirty="0"/>
        </a:p>
        <a:p>
          <a:pPr lvl="0" algn="ctr" defTabSz="711200" latinLnBrk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900" kern="1200" dirty="0" err="1"/>
            <a:t>sns</a:t>
          </a:r>
          <a:r>
            <a:rPr lang="en-US" sz="900" kern="1200" dirty="0"/>
            <a:t> (</a:t>
          </a:r>
          <a:endParaRPr lang="ko-KR" altLang="en-US" sz="900" kern="1200" dirty="0">
            <a:solidFill>
              <a:schemeClr val="tx1"/>
            </a:solidFill>
            <a:latin typeface="휴먼모음T" panose="02030504000101010101" pitchFamily="18" charset="-127"/>
            <a:ea typeface="휴먼모음T" panose="02030504000101010101" pitchFamily="18" charset="-127"/>
          </a:endParaRPr>
        </a:p>
      </dsp:txBody>
      <dsp:txXfrm>
        <a:off x="1070881" y="1369090"/>
        <a:ext cx="1345810" cy="1480281"/>
      </dsp:txXfrm>
    </dsp:sp>
    <dsp:sp modelId="{218E5A7B-7F5C-40FC-9469-399C14213786}">
      <dsp:nvSpPr>
        <dsp:cNvPr id="0" name=""/>
        <dsp:cNvSpPr/>
      </dsp:nvSpPr>
      <dsp:spPr>
        <a:xfrm>
          <a:off x="4344018" y="978964"/>
          <a:ext cx="2587970" cy="791183"/>
        </a:xfrm>
        <a:prstGeom prst="ellipse">
          <a:avLst/>
        </a:prstGeom>
        <a:solidFill>
          <a:schemeClr val="accent2">
            <a:hueOff val="425593"/>
            <a:satOff val="-531"/>
            <a:lumOff val="125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0800" tIns="50800" rIns="50800" bIns="50800" numCol="1" spcCol="1270" anchor="ctr" anchorCtr="0">
          <a:noAutofit/>
        </a:bodyPr>
        <a:lstStyle/>
        <a:p>
          <a:pPr lvl="0" algn="ctr" defTabSz="1778000" latinLnBrk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ko-KR" altLang="en-US" sz="4000" kern="1200" dirty="0">
              <a:solidFill>
                <a:srgbClr val="002060"/>
              </a:solidFill>
              <a:latin typeface="휴먼모음T" panose="02030504000101010101" pitchFamily="18" charset="-127"/>
              <a:ea typeface="휴먼모음T" panose="02030504000101010101" pitchFamily="18" charset="-127"/>
            </a:rPr>
            <a:t>뇌신경</a:t>
          </a:r>
          <a:r>
            <a:rPr lang="ko-KR" altLang="en-US" sz="1600" kern="1200" dirty="0">
              <a:solidFill>
                <a:srgbClr val="002060"/>
              </a:solidFill>
              <a:latin typeface="휴먼모음T" panose="02030504000101010101" pitchFamily="18" charset="-127"/>
              <a:ea typeface="휴먼모음T" panose="02030504000101010101" pitchFamily="18" charset="-127"/>
            </a:rPr>
            <a:t>과학</a:t>
          </a:r>
          <a:r>
            <a:rPr lang="ko-KR" altLang="en-US" sz="4000" kern="1200" dirty="0">
              <a:solidFill>
                <a:srgbClr val="002060"/>
              </a:solidFill>
              <a:latin typeface="휴먼모음T" panose="02030504000101010101" pitchFamily="18" charset="-127"/>
              <a:ea typeface="휴먼모음T" panose="02030504000101010101" pitchFamily="18" charset="-127"/>
            </a:rPr>
            <a:t> </a:t>
          </a:r>
        </a:p>
      </dsp:txBody>
      <dsp:txXfrm>
        <a:off x="4723017" y="1094830"/>
        <a:ext cx="1829972" cy="559451"/>
      </dsp:txXfrm>
    </dsp:sp>
    <dsp:sp modelId="{9799FF70-BFA3-4257-AD76-15D841764B12}">
      <dsp:nvSpPr>
        <dsp:cNvPr id="0" name=""/>
        <dsp:cNvSpPr/>
      </dsp:nvSpPr>
      <dsp:spPr>
        <a:xfrm>
          <a:off x="4612638" y="2678407"/>
          <a:ext cx="2200622" cy="1711243"/>
        </a:xfrm>
        <a:prstGeom prst="ellipse">
          <a:avLst/>
        </a:prstGeom>
        <a:solidFill>
          <a:srgbClr val="92D05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5400" tIns="25400" rIns="25400" bIns="25400" numCol="1" spcCol="1270" anchor="ctr" anchorCtr="0">
          <a:noAutofit/>
        </a:bodyPr>
        <a:lstStyle/>
        <a:p>
          <a:pPr marL="0" marR="0" lvl="0" indent="0" algn="ctr" defTabSz="914400" eaLnBrk="1" fontAlgn="auto" latinLnBrk="1" hangingPunct="1">
            <a:lnSpc>
              <a:spcPct val="100000"/>
            </a:lnSpc>
            <a:spcBef>
              <a:spcPct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en-US" altLang="ko-KR" sz="2000" kern="1200" dirty="0">
              <a:solidFill>
                <a:schemeClr val="tx1"/>
              </a:solidFill>
              <a:latin typeface="휴먼모음T" panose="02030504000101010101" pitchFamily="18" charset="-127"/>
              <a:ea typeface="휴먼모음T" panose="02030504000101010101" pitchFamily="18" charset="-127"/>
            </a:rPr>
            <a:t>Big</a:t>
          </a:r>
          <a:r>
            <a:rPr lang="ko-KR" altLang="en-US" sz="2000" kern="1200" dirty="0">
              <a:solidFill>
                <a:schemeClr val="tx1"/>
              </a:solidFill>
              <a:latin typeface="휴먼모음T" panose="02030504000101010101" pitchFamily="18" charset="-127"/>
              <a:ea typeface="휴먼모음T" panose="02030504000101010101" pitchFamily="18" charset="-127"/>
            </a:rPr>
            <a:t> </a:t>
          </a:r>
          <a:r>
            <a:rPr lang="en-US" altLang="ko-KR" sz="2000" kern="1200" dirty="0">
              <a:solidFill>
                <a:schemeClr val="tx1"/>
              </a:solidFill>
              <a:latin typeface="휴먼모음T" panose="02030504000101010101" pitchFamily="18" charset="-127"/>
              <a:ea typeface="휴먼모음T" panose="02030504000101010101" pitchFamily="18" charset="-127"/>
            </a:rPr>
            <a:t>Date </a:t>
          </a:r>
          <a:endParaRPr lang="ko-KR" altLang="en-US" sz="2000" kern="1200" dirty="0">
            <a:solidFill>
              <a:schemeClr val="tx1"/>
            </a:solidFill>
            <a:latin typeface="휴먼모음T" panose="02030504000101010101" pitchFamily="18" charset="-127"/>
            <a:ea typeface="휴먼모음T" panose="02030504000101010101" pitchFamily="18" charset="-127"/>
          </a:endParaRPr>
        </a:p>
        <a:p>
          <a:pPr algn="ctr" latinLnBrk="1">
            <a:spcBef>
              <a:spcPct val="0"/>
            </a:spcBef>
          </a:pPr>
          <a:endParaRPr lang="ko-KR" altLang="en-US" sz="2000" kern="1200" dirty="0">
            <a:solidFill>
              <a:schemeClr val="tx1"/>
            </a:solidFill>
            <a:latin typeface="휴먼모음T" panose="02030504000101010101" pitchFamily="18" charset="-127"/>
            <a:ea typeface="휴먼모음T" panose="02030504000101010101" pitchFamily="18" charset="-127"/>
          </a:endParaRPr>
        </a:p>
      </dsp:txBody>
      <dsp:txXfrm>
        <a:off x="4934912" y="2929013"/>
        <a:ext cx="1556074" cy="1210031"/>
      </dsp:txXfrm>
    </dsp:sp>
    <dsp:sp modelId="{737849E5-490D-4598-B011-24E340A54279}">
      <dsp:nvSpPr>
        <dsp:cNvPr id="0" name=""/>
        <dsp:cNvSpPr/>
      </dsp:nvSpPr>
      <dsp:spPr>
        <a:xfrm>
          <a:off x="2394061" y="253208"/>
          <a:ext cx="2206643" cy="1750795"/>
        </a:xfrm>
        <a:prstGeom prst="ellipse">
          <a:avLst/>
        </a:prstGeom>
        <a:gradFill rotWithShape="1">
          <a:gsLst>
            <a:gs pos="0">
              <a:schemeClr val="accent1">
                <a:lumMod val="110000"/>
                <a:satMod val="105000"/>
                <a:tint val="67000"/>
              </a:schemeClr>
            </a:gs>
            <a:gs pos="50000">
              <a:schemeClr val="accent1">
                <a:lumMod val="105000"/>
                <a:satMod val="103000"/>
                <a:tint val="73000"/>
              </a:schemeClr>
            </a:gs>
            <a:gs pos="100000">
              <a:schemeClr val="accent1">
                <a:lumMod val="105000"/>
                <a:satMod val="109000"/>
                <a:tint val="81000"/>
              </a:schemeClr>
            </a:gs>
          </a:gsLst>
          <a:lin ang="5400000" scaled="0"/>
        </a:gradFill>
        <a:ln w="6350" cap="flat" cmpd="sng" algn="ctr">
          <a:solidFill>
            <a:schemeClr val="accent1"/>
          </a:solidFill>
          <a:prstDash val="solid"/>
          <a:miter/>
        </a:ln>
        <a:effectLst/>
      </dsp:spPr>
      <dsp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lvl="0" algn="ctr" defTabSz="800100" latinLnBrk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ko-KR" altLang="en-US" sz="1800" kern="1200" dirty="0">
              <a:solidFill>
                <a:schemeClr val="tx1"/>
              </a:solidFill>
              <a:latin typeface="휴먼모음T" panose="02030504000101010101" pitchFamily="18" charset="-127"/>
              <a:ea typeface="휴먼모음T" panose="02030504000101010101" pitchFamily="18" charset="-127"/>
            </a:rPr>
            <a:t>자율주행</a:t>
          </a:r>
          <a:endParaRPr lang="en-US" altLang="ko-KR" sz="1800" kern="1200" dirty="0">
            <a:solidFill>
              <a:schemeClr val="tx1"/>
            </a:solidFill>
            <a:latin typeface="휴먼모음T" panose="02030504000101010101" pitchFamily="18" charset="-127"/>
            <a:ea typeface="휴먼모음T" panose="02030504000101010101" pitchFamily="18" charset="-127"/>
          </a:endParaRPr>
        </a:p>
        <a:p>
          <a:pPr lvl="0" algn="ctr" defTabSz="800100" latinLnBrk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altLang="ko-KR" sz="1800" kern="1200" dirty="0">
              <a:solidFill>
                <a:schemeClr val="tx1"/>
              </a:solidFill>
              <a:latin typeface="휴먼모음T" panose="02030504000101010101" pitchFamily="18" charset="-127"/>
              <a:ea typeface="휴먼모음T" panose="02030504000101010101" pitchFamily="18" charset="-127"/>
            </a:rPr>
            <a:t>G90 &gt; Level 4</a:t>
          </a:r>
          <a:r>
            <a:rPr lang="ko-KR" altLang="en-US" sz="1800" kern="1200" dirty="0">
              <a:solidFill>
                <a:schemeClr val="tx1"/>
              </a:solidFill>
              <a:latin typeface="휴먼모음T" panose="02030504000101010101" pitchFamily="18" charset="-127"/>
              <a:ea typeface="휴먼모음T" panose="02030504000101010101" pitchFamily="18" charset="-127"/>
            </a:rPr>
            <a:t> </a:t>
          </a:r>
        </a:p>
      </dsp:txBody>
      <dsp:txXfrm>
        <a:off x="2717216" y="509606"/>
        <a:ext cx="1560333" cy="1237999"/>
      </dsp:txXfrm>
    </dsp:sp>
    <dsp:sp modelId="{AA6FF6AB-1DE1-4F7B-BFD0-B6218621BFEC}">
      <dsp:nvSpPr>
        <dsp:cNvPr id="0" name=""/>
        <dsp:cNvSpPr/>
      </dsp:nvSpPr>
      <dsp:spPr>
        <a:xfrm>
          <a:off x="3751969" y="3756047"/>
          <a:ext cx="791183" cy="791183"/>
        </a:xfrm>
        <a:prstGeom prst="ellipse">
          <a:avLst/>
        </a:prstGeom>
        <a:solidFill>
          <a:srgbClr val="FFC00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0480" tIns="30480" rIns="30480" bIns="30480" numCol="1" spcCol="1270" anchor="ctr" anchorCtr="0">
          <a:noAutofit/>
        </a:bodyPr>
        <a:lstStyle/>
        <a:p>
          <a:pPr lvl="0" algn="ctr" defTabSz="1066800" latinLnBrk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altLang="ko-KR" sz="2400" kern="1200" dirty="0">
              <a:solidFill>
                <a:schemeClr val="tx1"/>
              </a:solidFill>
              <a:latin typeface="휴먼모음T" panose="02030504000101010101" pitchFamily="18" charset="-127"/>
              <a:ea typeface="휴먼모음T" panose="02030504000101010101" pitchFamily="18" charset="-127"/>
            </a:rPr>
            <a:t>5G</a:t>
          </a:r>
          <a:endParaRPr lang="ko-KR" altLang="en-US" sz="2400" kern="1200" dirty="0">
            <a:solidFill>
              <a:schemeClr val="tx1"/>
            </a:solidFill>
            <a:latin typeface="휴먼모음T" panose="02030504000101010101" pitchFamily="18" charset="-127"/>
            <a:ea typeface="휴먼모음T" panose="02030504000101010101" pitchFamily="18" charset="-127"/>
          </a:endParaRPr>
        </a:p>
      </dsp:txBody>
      <dsp:txXfrm>
        <a:off x="3867835" y="3871913"/>
        <a:ext cx="559451" cy="559451"/>
      </dsp:txXfrm>
    </dsp:sp>
    <dsp:sp modelId="{B9B501BB-5BB7-4436-8E23-40E2C07C85BF}">
      <dsp:nvSpPr>
        <dsp:cNvPr id="0" name=""/>
        <dsp:cNvSpPr/>
      </dsp:nvSpPr>
      <dsp:spPr>
        <a:xfrm>
          <a:off x="5052652" y="4729858"/>
          <a:ext cx="791183" cy="791183"/>
        </a:xfrm>
        <a:prstGeom prst="ellipse">
          <a:avLst/>
        </a:prstGeom>
        <a:solidFill>
          <a:schemeClr val="accent2">
            <a:hueOff val="2127963"/>
            <a:satOff val="-2654"/>
            <a:lumOff val="624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0480" tIns="30480" rIns="30480" bIns="30480" numCol="1" spcCol="1270" anchor="ctr" anchorCtr="0">
          <a:noAutofit/>
        </a:bodyPr>
        <a:lstStyle/>
        <a:p>
          <a:pPr lvl="0" algn="ctr" defTabSz="1066800" latinLnBrk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altLang="ko-KR" sz="2400" kern="1200" dirty="0"/>
            <a:t>Bio</a:t>
          </a:r>
          <a:endParaRPr lang="ko-KR" altLang="en-US" sz="2400" kern="1200" dirty="0"/>
        </a:p>
      </dsp:txBody>
      <dsp:txXfrm>
        <a:off x="5168518" y="4845724"/>
        <a:ext cx="559451" cy="559451"/>
      </dsp:txXfrm>
    </dsp:sp>
    <dsp:sp modelId="{83E7461D-87B7-4A1D-A3EE-D6D0D62DB5A4}">
      <dsp:nvSpPr>
        <dsp:cNvPr id="0" name=""/>
        <dsp:cNvSpPr/>
      </dsp:nvSpPr>
      <dsp:spPr>
        <a:xfrm>
          <a:off x="6133449" y="3146468"/>
          <a:ext cx="2019497" cy="1382807"/>
        </a:xfrm>
        <a:prstGeom prst="ellipse">
          <a:avLst/>
        </a:prstGeom>
        <a:blipFill rotWithShape="0">
          <a:blip xmlns:r="http://schemas.openxmlformats.org/officeDocument/2006/relationships" r:embed="rId3"/>
          <a:srcRect/>
          <a:stretch>
            <a:fillRect l="-23000" r="-23000"/>
          </a:stretch>
        </a:blip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0800" tIns="50800" rIns="50800" bIns="50800" numCol="1" spcCol="1270" anchor="ctr" anchorCtr="0">
          <a:noAutofit/>
        </a:bodyPr>
        <a:lstStyle/>
        <a:p>
          <a:pPr lvl="0" algn="ctr" defTabSz="1778000" latinLnBrk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altLang="ko-KR" sz="4000" kern="1200" dirty="0">
              <a:solidFill>
                <a:schemeClr val="bg1"/>
              </a:solidFill>
              <a:latin typeface="휴먼모음T" panose="02030504000101010101" pitchFamily="18" charset="-127"/>
              <a:ea typeface="휴먼모음T" panose="02030504000101010101" pitchFamily="18" charset="-127"/>
            </a:rPr>
            <a:t> AI</a:t>
          </a:r>
          <a:endParaRPr lang="ko-KR" altLang="en-US" sz="4000" kern="1200" dirty="0">
            <a:solidFill>
              <a:schemeClr val="bg1"/>
            </a:solidFill>
            <a:latin typeface="휴먼모음T" panose="02030504000101010101" pitchFamily="18" charset="-127"/>
            <a:ea typeface="휴먼모음T" panose="02030504000101010101" pitchFamily="18" charset="-127"/>
          </a:endParaRPr>
        </a:p>
      </dsp:txBody>
      <dsp:txXfrm>
        <a:off x="6429197" y="3348975"/>
        <a:ext cx="1428001" cy="977793"/>
      </dsp:txXfrm>
    </dsp:sp>
    <dsp:sp modelId="{B694E499-9186-42FC-9AFF-A0D4CD06938F}">
      <dsp:nvSpPr>
        <dsp:cNvPr id="0" name=""/>
        <dsp:cNvSpPr/>
      </dsp:nvSpPr>
      <dsp:spPr>
        <a:xfrm>
          <a:off x="2613409" y="4729858"/>
          <a:ext cx="791183" cy="791183"/>
        </a:xfrm>
        <a:prstGeom prst="ellipse">
          <a:avLst/>
        </a:prstGeom>
        <a:solidFill>
          <a:schemeClr val="accent2">
            <a:hueOff val="2979148"/>
            <a:satOff val="-3716"/>
            <a:lumOff val="874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0480" tIns="30480" rIns="30480" bIns="30480" numCol="1" spcCol="1270" anchor="ctr" anchorCtr="0">
          <a:noAutofit/>
        </a:bodyPr>
        <a:lstStyle/>
        <a:p>
          <a:pPr lvl="0" algn="ctr" defTabSz="1066800" latinLnBrk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ko-KR" altLang="en-US" sz="2400" kern="1200"/>
        </a:p>
      </dsp:txBody>
      <dsp:txXfrm>
        <a:off x="2729275" y="4845724"/>
        <a:ext cx="559451" cy="559451"/>
      </dsp:txXfrm>
    </dsp:sp>
    <dsp:sp modelId="{22822D03-ADC2-4710-8120-EDC1540A0ABE}">
      <dsp:nvSpPr>
        <dsp:cNvPr id="0" name=""/>
        <dsp:cNvSpPr/>
      </dsp:nvSpPr>
      <dsp:spPr>
        <a:xfrm>
          <a:off x="2186784" y="4130236"/>
          <a:ext cx="1654792" cy="1540458"/>
        </a:xfrm>
        <a:prstGeom prst="ellipse">
          <a:avLst/>
        </a:prstGeom>
        <a:solidFill>
          <a:srgbClr val="FFC00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700" tIns="12700" rIns="12700" bIns="12700" numCol="1" spcCol="1270" anchor="ctr" anchorCtr="0">
          <a:noAutofit/>
        </a:bodyPr>
        <a:lstStyle/>
        <a:p>
          <a:pPr lvl="0" algn="ctr" defTabSz="444500" latinLnBrk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altLang="ko-KR" sz="1000" kern="1200" dirty="0">
            <a:solidFill>
              <a:schemeClr val="tx1"/>
            </a:solidFill>
            <a:latin typeface="휴먼모음T" panose="02030504000101010101" pitchFamily="18" charset="-127"/>
            <a:ea typeface="휴먼모음T" panose="02030504000101010101" pitchFamily="18" charset="-127"/>
          </a:endParaRPr>
        </a:p>
        <a:p>
          <a:pPr lvl="0" algn="ctr" defTabSz="444500" latinLnBrk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altLang="ko-KR" sz="1800" kern="1200" dirty="0">
              <a:solidFill>
                <a:schemeClr val="tx1"/>
              </a:solidFill>
              <a:latin typeface="휴먼모음T" panose="02030504000101010101" pitchFamily="18" charset="-127"/>
              <a:ea typeface="휴먼모음T" panose="02030504000101010101" pitchFamily="18" charset="-127"/>
            </a:rPr>
            <a:t>AR</a:t>
          </a:r>
        </a:p>
        <a:p>
          <a:pPr lvl="0" algn="ctr" defTabSz="444500" latinLnBrk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altLang="ko-KR" sz="1800" kern="1200" dirty="0">
              <a:solidFill>
                <a:schemeClr val="tx1"/>
              </a:solidFill>
              <a:latin typeface="휴먼모음T" panose="02030504000101010101" pitchFamily="18" charset="-127"/>
              <a:ea typeface="휴먼모음T" panose="02030504000101010101" pitchFamily="18" charset="-127"/>
            </a:rPr>
            <a:t>/VR/</a:t>
          </a:r>
        </a:p>
        <a:p>
          <a:pPr lvl="0" algn="ctr" defTabSz="444500" latinLnBrk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ko-KR" altLang="en-US" sz="1800" kern="1200" dirty="0">
              <a:solidFill>
                <a:schemeClr val="tx1"/>
              </a:solidFill>
              <a:latin typeface="휴먼모음T" panose="02030504000101010101" pitchFamily="18" charset="-127"/>
              <a:ea typeface="휴먼모음T" panose="02030504000101010101" pitchFamily="18" charset="-127"/>
            </a:rPr>
            <a:t>메타버스</a:t>
          </a:r>
          <a:endParaRPr lang="en-US" altLang="ko-KR" sz="1800" kern="1200" dirty="0">
            <a:solidFill>
              <a:schemeClr val="tx1"/>
            </a:solidFill>
            <a:latin typeface="휴먼모음T" panose="02030504000101010101" pitchFamily="18" charset="-127"/>
            <a:ea typeface="휴먼모음T" panose="02030504000101010101" pitchFamily="18" charset="-127"/>
          </a:endParaRPr>
        </a:p>
        <a:p>
          <a:pPr lvl="0" algn="ctr" defTabSz="444500" latinLnBrk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ko-KR" altLang="en-US" sz="1400" kern="1200" dirty="0">
            <a:solidFill>
              <a:schemeClr val="tx1"/>
            </a:solidFill>
            <a:latin typeface="휴먼모음T" panose="02030504000101010101" pitchFamily="18" charset="-127"/>
            <a:ea typeface="휴먼모음T" panose="02030504000101010101" pitchFamily="18" charset="-127"/>
          </a:endParaRPr>
        </a:p>
      </dsp:txBody>
      <dsp:txXfrm>
        <a:off x="2429123" y="4355831"/>
        <a:ext cx="1170114" cy="1089268"/>
      </dsp:txXfrm>
    </dsp:sp>
    <dsp:sp modelId="{B11D4C3C-FEFC-400E-80C1-F74D07CDE39D}">
      <dsp:nvSpPr>
        <dsp:cNvPr id="0" name=""/>
        <dsp:cNvSpPr/>
      </dsp:nvSpPr>
      <dsp:spPr>
        <a:xfrm>
          <a:off x="3338860" y="4879511"/>
          <a:ext cx="1846670" cy="791183"/>
        </a:xfrm>
        <a:prstGeom prst="ellipse">
          <a:avLst/>
        </a:prstGeom>
        <a:solidFill>
          <a:srgbClr val="00B0F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marL="0" marR="0" lvl="0" indent="0" algn="ctr" defTabSz="914400" eaLnBrk="1" fontAlgn="auto" latinLnBrk="1" hangingPunct="1">
            <a:lnSpc>
              <a:spcPct val="100000"/>
            </a:lnSpc>
            <a:spcBef>
              <a:spcPct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ko-KR" altLang="en-US" sz="1800" kern="1200" dirty="0">
              <a:solidFill>
                <a:schemeClr val="tx1"/>
              </a:solidFill>
              <a:latin typeface="휴먼모음T" panose="02030504000101010101" pitchFamily="18" charset="-127"/>
              <a:ea typeface="휴먼모음T" panose="02030504000101010101" pitchFamily="18" charset="-127"/>
            </a:rPr>
            <a:t>센스 </a:t>
          </a:r>
          <a:r>
            <a:rPr lang="en-US" altLang="ko-KR" sz="1800" kern="1200" dirty="0">
              <a:solidFill>
                <a:schemeClr val="tx1"/>
              </a:solidFill>
              <a:latin typeface="휴먼모음T" panose="02030504000101010101" pitchFamily="18" charset="-127"/>
              <a:ea typeface="휴먼모음T" panose="02030504000101010101" pitchFamily="18" charset="-127"/>
            </a:rPr>
            <a:t>&amp; </a:t>
          </a:r>
          <a:r>
            <a:rPr lang="ko-KR" altLang="en-US" sz="1800" kern="1200" dirty="0">
              <a:solidFill>
                <a:schemeClr val="tx1"/>
              </a:solidFill>
              <a:latin typeface="휴먼모음T" panose="02030504000101010101" pitchFamily="18" charset="-127"/>
              <a:ea typeface="휴먼모음T" panose="02030504000101010101" pitchFamily="18" charset="-127"/>
            </a:rPr>
            <a:t>카메라 </a:t>
          </a:r>
          <a:r>
            <a:rPr lang="en-US" altLang="ko-KR" sz="1800" kern="1200" dirty="0">
              <a:solidFill>
                <a:schemeClr val="tx1"/>
              </a:solidFill>
              <a:latin typeface="휴먼모음T" panose="02030504000101010101" pitchFamily="18" charset="-127"/>
              <a:ea typeface="휴먼모음T" panose="02030504000101010101" pitchFamily="18" charset="-127"/>
            </a:rPr>
            <a:t>4D</a:t>
          </a:r>
          <a:endParaRPr lang="ko-KR" altLang="en-US" sz="1800" kern="1200" dirty="0">
            <a:solidFill>
              <a:schemeClr val="tx1"/>
            </a:solidFill>
            <a:latin typeface="휴먼모음T" panose="02030504000101010101" pitchFamily="18" charset="-127"/>
            <a:ea typeface="휴먼모음T" panose="02030504000101010101" pitchFamily="18" charset="-127"/>
          </a:endParaRPr>
        </a:p>
      </dsp:txBody>
      <dsp:txXfrm>
        <a:off x="3609299" y="4995377"/>
        <a:ext cx="1305792" cy="559451"/>
      </dsp:txXfrm>
    </dsp:sp>
    <dsp:sp modelId="{71A80638-50D0-4195-8CA3-3A6723604DCC}">
      <dsp:nvSpPr>
        <dsp:cNvPr id="0" name=""/>
        <dsp:cNvSpPr/>
      </dsp:nvSpPr>
      <dsp:spPr>
        <a:xfrm rot="2102137">
          <a:off x="1171836" y="3208524"/>
          <a:ext cx="1318761" cy="1427857"/>
        </a:xfrm>
        <a:prstGeom prst="ellipse">
          <a:avLst/>
        </a:prstGeom>
        <a:solidFill>
          <a:schemeClr val="bg2">
            <a:lumMod val="75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0480" tIns="30480" rIns="30480" bIns="30480" numCol="1" spcCol="1270" anchor="ctr" anchorCtr="0">
          <a:noAutofit/>
        </a:bodyPr>
        <a:lstStyle/>
        <a:p>
          <a:pPr lvl="0" algn="ctr" defTabSz="1066800" latinLnBrk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ko-KR" altLang="en-US" sz="2400" kern="1200" dirty="0">
              <a:solidFill>
                <a:schemeClr val="bg1"/>
              </a:solidFill>
              <a:latin typeface="휴먼모음T" panose="02030504000101010101" pitchFamily="18" charset="-127"/>
              <a:ea typeface="휴먼모음T" panose="02030504000101010101" pitchFamily="18" charset="-127"/>
            </a:rPr>
            <a:t>로봇</a:t>
          </a:r>
          <a:endParaRPr lang="en-US" altLang="ko-KR" sz="2400" kern="1200" dirty="0">
            <a:solidFill>
              <a:schemeClr val="bg1"/>
            </a:solidFill>
            <a:latin typeface="휴먼모음T" panose="02030504000101010101" pitchFamily="18" charset="-127"/>
            <a:ea typeface="휴먼모음T" panose="02030504000101010101" pitchFamily="18" charset="-127"/>
          </a:endParaRPr>
        </a:p>
        <a:p>
          <a:pPr lvl="0" algn="ctr" defTabSz="1066800" latinLnBrk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ko-KR" altLang="en-US" sz="2400" kern="1200" dirty="0">
              <a:solidFill>
                <a:schemeClr val="tx1"/>
              </a:solidFill>
              <a:latin typeface="휴먼모음T" panose="02030504000101010101" pitchFamily="18" charset="-127"/>
              <a:ea typeface="휴먼모음T" panose="02030504000101010101" pitchFamily="18" charset="-127"/>
            </a:rPr>
            <a:t>공학</a:t>
          </a:r>
        </a:p>
      </dsp:txBody>
      <dsp:txXfrm>
        <a:off x="1364964" y="3417629"/>
        <a:ext cx="932505" cy="1009647"/>
      </dsp:txXfrm>
    </dsp:sp>
    <dsp:sp modelId="{12DFF4E7-CA9A-4464-ABA7-B2ADDC8431A5}">
      <dsp:nvSpPr>
        <dsp:cNvPr id="0" name=""/>
        <dsp:cNvSpPr/>
      </dsp:nvSpPr>
      <dsp:spPr>
        <a:xfrm>
          <a:off x="1815592" y="-22983"/>
          <a:ext cx="791183" cy="1847082"/>
        </a:xfrm>
        <a:prstGeom prst="ellipse">
          <a:avLst/>
        </a:prstGeom>
        <a:solidFill>
          <a:schemeClr val="accent1">
            <a:lumMod val="20000"/>
            <a:lumOff val="8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5560" tIns="35560" rIns="35560" bIns="35560" numCol="1" spcCol="1270" anchor="ctr" anchorCtr="0">
          <a:noAutofit/>
        </a:bodyPr>
        <a:lstStyle/>
        <a:p>
          <a:pPr lvl="0" algn="ctr" defTabSz="1244600" latinLnBrk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ko-KR" altLang="en-US" sz="2800" kern="1200" dirty="0" err="1">
              <a:solidFill>
                <a:schemeClr val="tx1"/>
              </a:solidFill>
              <a:latin typeface="휴먼모음T" panose="02030504000101010101" pitchFamily="18" charset="-127"/>
              <a:ea typeface="휴먼모음T" panose="02030504000101010101" pitchFamily="18" charset="-127"/>
            </a:rPr>
            <a:t>드론</a:t>
          </a:r>
          <a:endParaRPr lang="ko-KR" altLang="en-US" sz="2800" kern="1200" dirty="0">
            <a:solidFill>
              <a:schemeClr val="tx1"/>
            </a:solidFill>
            <a:latin typeface="휴먼모음T" panose="02030504000101010101" pitchFamily="18" charset="-127"/>
            <a:ea typeface="휴먼모음T" panose="02030504000101010101" pitchFamily="18" charset="-127"/>
          </a:endParaRPr>
        </a:p>
      </dsp:txBody>
      <dsp:txXfrm>
        <a:off x="1931458" y="247516"/>
        <a:ext cx="559451" cy="1306084"/>
      </dsp:txXfrm>
    </dsp:sp>
  </dsp:spTree>
</dsp:drawing>
</file>

<file path=ppt/diagrams/drawing7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48A8792-7F41-4111-A4A5-FE069AB28F5A}">
      <dsp:nvSpPr>
        <dsp:cNvPr id="0" name=""/>
        <dsp:cNvSpPr/>
      </dsp:nvSpPr>
      <dsp:spPr>
        <a:xfrm rot="21300000">
          <a:off x="27806" y="1866871"/>
          <a:ext cx="1957913" cy="723572"/>
        </a:xfrm>
        <a:prstGeom prst="mathMinus">
          <a:avLst/>
        </a:prstGeom>
        <a:solidFill>
          <a:schemeClr val="accent2"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B643C1AF-D86B-4AB1-B4AD-269CD11E10FF}">
      <dsp:nvSpPr>
        <dsp:cNvPr id="0" name=""/>
        <dsp:cNvSpPr/>
      </dsp:nvSpPr>
      <dsp:spPr>
        <a:xfrm>
          <a:off x="241623" y="222865"/>
          <a:ext cx="604058" cy="1782926"/>
        </a:xfrm>
        <a:prstGeom prst="downArrow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8AE2974E-2CB1-41B4-8462-20DCCC719A29}">
      <dsp:nvSpPr>
        <dsp:cNvPr id="0" name=""/>
        <dsp:cNvSpPr/>
      </dsp:nvSpPr>
      <dsp:spPr>
        <a:xfrm>
          <a:off x="778597" y="722807"/>
          <a:ext cx="1221473" cy="187207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35128" tIns="135128" rIns="135128" bIns="135128" numCol="1" spcCol="1270" anchor="ctr" anchorCtr="0">
          <a:noAutofit/>
        </a:bodyPr>
        <a:lstStyle/>
        <a:p>
          <a:pPr lvl="0" algn="ctr" defTabSz="844550" latinLnBrk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ko-KR" altLang="en-US" sz="1900" kern="1200" dirty="0"/>
            <a:t>인간</a:t>
          </a:r>
          <a:r>
            <a:rPr lang="en-US" altLang="ko-KR" sz="1900" kern="1200" dirty="0"/>
            <a:t>/</a:t>
          </a:r>
          <a:r>
            <a:rPr lang="ko-KR" altLang="en-US" sz="1900" kern="1200" dirty="0"/>
            <a:t>창의성 </a:t>
          </a:r>
          <a:r>
            <a:rPr lang="en-US" altLang="ko-KR" sz="1900" kern="1200" dirty="0"/>
            <a:t>(</a:t>
          </a:r>
          <a:r>
            <a:rPr lang="ko-KR" altLang="en-US" sz="1900" kern="1200" dirty="0"/>
            <a:t>알고리즘</a:t>
          </a:r>
          <a:r>
            <a:rPr lang="en-US" altLang="ko-KR" sz="1900" kern="1200" dirty="0"/>
            <a:t>)</a:t>
          </a:r>
          <a:r>
            <a:rPr lang="ko-KR" altLang="en-US" sz="1900" kern="1200" dirty="0"/>
            <a:t>명령 </a:t>
          </a:r>
        </a:p>
      </dsp:txBody>
      <dsp:txXfrm>
        <a:off x="778597" y="722807"/>
        <a:ext cx="1221473" cy="1872072"/>
      </dsp:txXfrm>
    </dsp:sp>
    <dsp:sp modelId="{AF3773A6-2C6F-49B4-B4B2-2E32647CDFC6}">
      <dsp:nvSpPr>
        <dsp:cNvPr id="0" name=""/>
        <dsp:cNvSpPr/>
      </dsp:nvSpPr>
      <dsp:spPr>
        <a:xfrm>
          <a:off x="1167845" y="2451523"/>
          <a:ext cx="604058" cy="1782926"/>
        </a:xfrm>
        <a:prstGeom prst="upArrow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A1EB5F23-4130-4E81-AD99-A15DC274B7F3}">
      <dsp:nvSpPr>
        <dsp:cNvPr id="0" name=""/>
        <dsp:cNvSpPr/>
      </dsp:nvSpPr>
      <dsp:spPr>
        <a:xfrm>
          <a:off x="302029" y="2585242"/>
          <a:ext cx="644328" cy="187207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35128" tIns="135128" rIns="135128" bIns="135128" numCol="1" spcCol="1270" anchor="ctr" anchorCtr="0">
          <a:noAutofit/>
        </a:bodyPr>
        <a:lstStyle/>
        <a:p>
          <a:pPr lvl="0" algn="ctr" defTabSz="844550" latinLnBrk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altLang="ko-KR" sz="1900" kern="1200" dirty="0"/>
            <a:t>AI  </a:t>
          </a:r>
          <a:endParaRPr lang="ko-KR" altLang="en-US" sz="1900" kern="1200" dirty="0"/>
        </a:p>
      </dsp:txBody>
      <dsp:txXfrm>
        <a:off x="302029" y="2585242"/>
        <a:ext cx="644328" cy="1872072"/>
      </dsp:txXfrm>
    </dsp:sp>
  </dsp:spTree>
</dsp:drawing>
</file>

<file path=ppt/diagrams/drawing8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D33CF39-8F60-4CBC-9571-F2543036AE06}">
      <dsp:nvSpPr>
        <dsp:cNvPr id="0" name=""/>
        <dsp:cNvSpPr/>
      </dsp:nvSpPr>
      <dsp:spPr>
        <a:xfrm>
          <a:off x="0" y="0"/>
          <a:ext cx="9884398" cy="2093515"/>
        </a:xfrm>
        <a:prstGeom prst="rightArrow">
          <a:avLst>
            <a:gd name="adj1" fmla="val 50000"/>
            <a:gd name="adj2" fmla="val 50000"/>
          </a:avLst>
        </a:prstGeom>
        <a:solidFill>
          <a:schemeClr val="accent1">
            <a:shade val="5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254000" bIns="228528" numCol="1" spcCol="1270" anchor="ctr" anchorCtr="0">
          <a:noAutofit/>
        </a:bodyPr>
        <a:lstStyle/>
        <a:p>
          <a:pPr lvl="0" algn="l" defTabSz="800100" latinLnBrk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ko-KR" altLang="en-US" sz="1800" kern="1200" dirty="0"/>
            <a:t> </a:t>
          </a:r>
          <a:r>
            <a:rPr lang="en-US" altLang="ko-KR" sz="1800" kern="1200" dirty="0"/>
            <a:t>Value Chain </a:t>
          </a:r>
          <a:r>
            <a:rPr lang="ko-KR" altLang="en-US" sz="1800" kern="1200" dirty="0"/>
            <a:t> </a:t>
          </a:r>
          <a:r>
            <a:rPr lang="en-US" altLang="ko-KR" sz="1800" kern="1200" dirty="0"/>
            <a:t>Management (Planning/Strategy &gt; Organization</a:t>
          </a:r>
          <a:r>
            <a:rPr lang="ko-KR" altLang="en-US" sz="1800" kern="1200" dirty="0"/>
            <a:t> </a:t>
          </a:r>
          <a:r>
            <a:rPr lang="en-US" altLang="ko-KR" sz="1800" kern="1200" dirty="0"/>
            <a:t>&gt; doing / Motivation&gt;Controlling) </a:t>
          </a:r>
          <a:endParaRPr lang="ko-KR" altLang="en-US" sz="1800" kern="1200" dirty="0"/>
        </a:p>
      </dsp:txBody>
      <dsp:txXfrm>
        <a:off x="0" y="523379"/>
        <a:ext cx="9361019" cy="1046757"/>
      </dsp:txXfrm>
    </dsp:sp>
    <dsp:sp modelId="{20DBC7FA-A653-404B-9391-8067B5D92F87}">
      <dsp:nvSpPr>
        <dsp:cNvPr id="0" name=""/>
        <dsp:cNvSpPr/>
      </dsp:nvSpPr>
      <dsp:spPr>
        <a:xfrm>
          <a:off x="0" y="1475114"/>
          <a:ext cx="3044394" cy="2773093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1910" tIns="41910" rIns="41910" bIns="41910" numCol="1" spcCol="1270" anchor="t" anchorCtr="0">
          <a:noAutofit/>
        </a:bodyPr>
        <a:lstStyle/>
        <a:p>
          <a:pPr lvl="0" algn="l" defTabSz="488950" latinLnBrk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ko-KR" altLang="en-US" sz="1100" kern="1200" dirty="0"/>
        </a:p>
      </dsp:txBody>
      <dsp:txXfrm>
        <a:off x="0" y="1475114"/>
        <a:ext cx="3044394" cy="2773093"/>
      </dsp:txXfrm>
    </dsp:sp>
    <dsp:sp modelId="{10959D63-0C53-4397-9587-90885A74497A}">
      <dsp:nvSpPr>
        <dsp:cNvPr id="0" name=""/>
        <dsp:cNvSpPr/>
      </dsp:nvSpPr>
      <dsp:spPr>
        <a:xfrm>
          <a:off x="3044394" y="1047246"/>
          <a:ext cx="6840003" cy="1439544"/>
        </a:xfrm>
        <a:prstGeom prst="rightArrow">
          <a:avLst>
            <a:gd name="adj1" fmla="val 50000"/>
            <a:gd name="adj2" fmla="val 50000"/>
          </a:avLst>
        </a:prstGeom>
        <a:solidFill>
          <a:schemeClr val="accent1">
            <a:shade val="50000"/>
            <a:hueOff val="240958"/>
            <a:satOff val="-5040"/>
            <a:lumOff val="28042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254000" bIns="228528" numCol="1" spcCol="1270" anchor="ctr" anchorCtr="0">
          <a:noAutofit/>
        </a:bodyPr>
        <a:lstStyle/>
        <a:p>
          <a:pPr marL="0" marR="0" lvl="0" indent="0" algn="l" defTabSz="914400" eaLnBrk="1" fontAlgn="auto" latinLnBrk="1" hangingPunct="1">
            <a:lnSpc>
              <a:spcPct val="100000"/>
            </a:lnSpc>
            <a:spcBef>
              <a:spcPct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ko-KR" altLang="en-US" sz="1800" kern="1200" dirty="0"/>
            <a:t>제품 개발</a:t>
          </a:r>
          <a:r>
            <a:rPr lang="en-US" altLang="ko-KR" sz="1800" kern="1200" dirty="0"/>
            <a:t>&amp; </a:t>
          </a:r>
          <a:r>
            <a:rPr lang="ko-KR" altLang="en-US" sz="1800" kern="1200" dirty="0"/>
            <a:t>제조 </a:t>
          </a:r>
          <a:r>
            <a:rPr lang="en-US" altLang="ko-KR" sz="1800" kern="1200" dirty="0"/>
            <a:t>/ </a:t>
          </a:r>
          <a:r>
            <a:rPr lang="ko-KR" altLang="en-US" sz="1800" kern="1200" dirty="0"/>
            <a:t>제품 소싱</a:t>
          </a:r>
          <a:r>
            <a:rPr lang="en-US" altLang="ko-KR" sz="1800" kern="1200" dirty="0"/>
            <a:t>/</a:t>
          </a:r>
          <a:r>
            <a:rPr lang="ko-KR" altLang="en-US" sz="1800" kern="1200" dirty="0"/>
            <a:t>구매  </a:t>
          </a:r>
          <a:r>
            <a:rPr lang="en-US" altLang="ko-KR" sz="1800" kern="1200" dirty="0"/>
            <a:t>&amp; </a:t>
          </a:r>
          <a:r>
            <a:rPr lang="ko-KR" altLang="en-US" sz="1800" kern="1200" dirty="0"/>
            <a:t>고객 서비스  </a:t>
          </a:r>
          <a:r>
            <a:rPr lang="en-US" altLang="ko-KR" sz="1800" kern="1200" dirty="0"/>
            <a:t>R&amp;D </a:t>
          </a:r>
          <a:r>
            <a:rPr lang="ko-KR" altLang="en-US" sz="1800" kern="1200" dirty="0"/>
            <a:t>  </a:t>
          </a:r>
        </a:p>
      </dsp:txBody>
      <dsp:txXfrm>
        <a:off x="3044394" y="1407132"/>
        <a:ext cx="6480117" cy="719772"/>
      </dsp:txXfrm>
    </dsp:sp>
    <dsp:sp modelId="{79C2C8FA-C7FB-4648-A877-8979E4DBCC1A}">
      <dsp:nvSpPr>
        <dsp:cNvPr id="0" name=""/>
        <dsp:cNvSpPr/>
      </dsp:nvSpPr>
      <dsp:spPr>
        <a:xfrm>
          <a:off x="3044394" y="2157342"/>
          <a:ext cx="3044394" cy="2773093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1910" tIns="41910" rIns="41910" bIns="41910" numCol="1" spcCol="1270" anchor="t" anchorCtr="0">
          <a:noAutofit/>
        </a:bodyPr>
        <a:lstStyle/>
        <a:p>
          <a:pPr lvl="0" algn="l" defTabSz="488950" latinLnBrk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altLang="ko-KR" sz="1100" kern="1200" dirty="0"/>
            <a:t>-  </a:t>
          </a:r>
          <a:r>
            <a:rPr lang="ko-KR" altLang="en-US" sz="1100" kern="1200" dirty="0"/>
            <a:t>제품</a:t>
          </a:r>
          <a:r>
            <a:rPr lang="en-US" altLang="ko-KR" sz="1100" kern="1200" dirty="0"/>
            <a:t>/</a:t>
          </a:r>
          <a:r>
            <a:rPr lang="ko-KR" altLang="en-US" sz="1100" kern="1200" dirty="0"/>
            <a:t>서비스 </a:t>
          </a:r>
          <a:r>
            <a:rPr lang="en-US" altLang="ko-KR" sz="1100" kern="1200" dirty="0"/>
            <a:t>R&amp;D </a:t>
          </a:r>
        </a:p>
        <a:p>
          <a:pPr lvl="0" algn="l" defTabSz="488950" latinLnBrk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altLang="ko-KR" sz="1100" kern="1200" dirty="0"/>
            <a:t>- </a:t>
          </a:r>
          <a:r>
            <a:rPr lang="ko-KR" altLang="en-US" sz="1100" kern="1200" dirty="0"/>
            <a:t>신제품  개발과 개선 </a:t>
          </a:r>
          <a:r>
            <a:rPr lang="en-US" altLang="ko-KR" sz="1100" kern="1200" dirty="0"/>
            <a:t>&amp; </a:t>
          </a:r>
          <a:r>
            <a:rPr lang="ko-KR" altLang="en-US" sz="1100" kern="1200" dirty="0"/>
            <a:t>제조</a:t>
          </a:r>
          <a:endParaRPr lang="en-US" altLang="ko-KR" sz="1100" kern="1200" dirty="0"/>
        </a:p>
        <a:p>
          <a:pPr lvl="0" algn="l" defTabSz="488950" latinLnBrk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altLang="ko-KR" sz="1100" kern="1200" dirty="0"/>
            <a:t>- </a:t>
          </a:r>
          <a:r>
            <a:rPr lang="ko-KR" altLang="en-US" sz="1100" kern="1200" dirty="0"/>
            <a:t>가격 결정  </a:t>
          </a:r>
          <a:endParaRPr lang="en-US" altLang="ko-KR" sz="1100" kern="1200" dirty="0"/>
        </a:p>
        <a:p>
          <a:pPr lvl="0" algn="l" defTabSz="488950" latinLnBrk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altLang="ko-KR" sz="1100" kern="1200" dirty="0"/>
            <a:t>-  </a:t>
          </a:r>
          <a:r>
            <a:rPr lang="ko-KR" altLang="en-US" sz="1100" kern="1200" dirty="0"/>
            <a:t>최적 </a:t>
          </a:r>
          <a:r>
            <a:rPr lang="ko-KR" altLang="en-US" sz="1100" kern="1200" dirty="0" err="1"/>
            <a:t>소싱원</a:t>
          </a:r>
          <a:r>
            <a:rPr lang="ko-KR" altLang="en-US" sz="1100" kern="1200" dirty="0"/>
            <a:t> 개발  </a:t>
          </a:r>
          <a:endParaRPr lang="en-US" altLang="ko-KR" sz="1100" kern="1200" dirty="0"/>
        </a:p>
        <a:p>
          <a:pPr lvl="0" algn="l" defTabSz="488950" latinLnBrk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altLang="ko-KR" sz="1100" kern="1200" dirty="0"/>
            <a:t>- </a:t>
          </a:r>
          <a:r>
            <a:rPr lang="ko-KR" altLang="en-US" sz="1100" kern="1200" dirty="0"/>
            <a:t>상권 분석과 점포 오픈</a:t>
          </a:r>
        </a:p>
        <a:p>
          <a:pPr lvl="0" algn="l" defTabSz="488950" latinLnBrk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altLang="ko-KR" sz="1100" kern="1200" dirty="0"/>
            <a:t>-  </a:t>
          </a:r>
          <a:r>
            <a:rPr lang="ko-KR" altLang="en-US" sz="1100" kern="1200" dirty="0"/>
            <a:t>고객 분석 </a:t>
          </a:r>
          <a:r>
            <a:rPr lang="en-US" altLang="ko-KR" sz="1100" kern="1200" dirty="0"/>
            <a:t>&gt; </a:t>
          </a:r>
          <a:r>
            <a:rPr lang="ko-KR" altLang="en-US" sz="1100" kern="1200" dirty="0" err="1"/>
            <a:t>타켓</a:t>
          </a:r>
          <a:r>
            <a:rPr lang="ko-KR" altLang="en-US" sz="1100" kern="1200" dirty="0"/>
            <a:t> 설정</a:t>
          </a:r>
          <a:endParaRPr lang="en-US" altLang="ko-KR" sz="1100" kern="1200" dirty="0"/>
        </a:p>
        <a:p>
          <a:pPr lvl="0" algn="l" defTabSz="488950" latinLnBrk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altLang="ko-KR" sz="1100" kern="1200" dirty="0"/>
            <a:t>- </a:t>
          </a:r>
          <a:r>
            <a:rPr lang="ko-KR" altLang="en-US" sz="1100" kern="1200" dirty="0"/>
            <a:t>고객 개인별  특성을  통합 </a:t>
          </a:r>
          <a:r>
            <a:rPr lang="ko-KR" altLang="en-US" sz="1100" kern="1200" dirty="0" err="1"/>
            <a:t>그룹핑</a:t>
          </a:r>
          <a:r>
            <a:rPr lang="ko-KR" altLang="en-US" sz="1100" kern="1200" dirty="0"/>
            <a:t> </a:t>
          </a:r>
          <a:endParaRPr lang="en-US" altLang="ko-KR" sz="1100" kern="1200" dirty="0"/>
        </a:p>
        <a:p>
          <a:pPr lvl="0" algn="l" defTabSz="488950" latinLnBrk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ko-KR" altLang="en-US" sz="1100" kern="1200" dirty="0"/>
        </a:p>
        <a:p>
          <a:pPr lvl="0" algn="l" defTabSz="488950" latinLnBrk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ko-KR" altLang="en-US" sz="1100" kern="1200" dirty="0"/>
        </a:p>
      </dsp:txBody>
      <dsp:txXfrm>
        <a:off x="3044394" y="2157342"/>
        <a:ext cx="3044394" cy="2773093"/>
      </dsp:txXfrm>
    </dsp:sp>
    <dsp:sp modelId="{19AC4878-9E01-4A12-A697-66F699602512}">
      <dsp:nvSpPr>
        <dsp:cNvPr id="0" name=""/>
        <dsp:cNvSpPr/>
      </dsp:nvSpPr>
      <dsp:spPr>
        <a:xfrm>
          <a:off x="6076073" y="1763525"/>
          <a:ext cx="3795608" cy="1439544"/>
        </a:xfrm>
        <a:prstGeom prst="rightArrow">
          <a:avLst>
            <a:gd name="adj1" fmla="val 50000"/>
            <a:gd name="adj2" fmla="val 50000"/>
          </a:avLst>
        </a:prstGeom>
        <a:solidFill>
          <a:srgbClr val="0070C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254000" bIns="228528" numCol="1" spcCol="1270" anchor="ctr" anchorCtr="0">
          <a:noAutofit/>
        </a:bodyPr>
        <a:lstStyle/>
        <a:p>
          <a:pPr lvl="0" algn="l" defTabSz="800100" latinLnBrk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ko-KR" altLang="en-US" sz="1800" kern="1200" dirty="0"/>
            <a:t>  마케팅</a:t>
          </a:r>
          <a:r>
            <a:rPr lang="en-US" altLang="ko-KR" sz="1800" kern="1200" dirty="0"/>
            <a:t>/</a:t>
          </a:r>
          <a:r>
            <a:rPr lang="ko-KR" altLang="en-US" sz="1800" kern="1200" dirty="0"/>
            <a:t>유통</a:t>
          </a:r>
          <a:r>
            <a:rPr lang="en-US" altLang="ko-KR" sz="1800" kern="1200" dirty="0"/>
            <a:t>/</a:t>
          </a:r>
          <a:r>
            <a:rPr lang="ko-KR" altLang="en-US" sz="1800" kern="1200" dirty="0"/>
            <a:t>배송  최적화</a:t>
          </a:r>
          <a:r>
            <a:rPr lang="en-US" altLang="ko-KR" sz="1800" kern="1200" dirty="0"/>
            <a:t> </a:t>
          </a:r>
          <a:r>
            <a:rPr lang="ko-KR" altLang="en-US" sz="1800" kern="1200" dirty="0"/>
            <a:t> </a:t>
          </a:r>
        </a:p>
      </dsp:txBody>
      <dsp:txXfrm>
        <a:off x="6076073" y="2123411"/>
        <a:ext cx="3435722" cy="719772"/>
      </dsp:txXfrm>
    </dsp:sp>
    <dsp:sp modelId="{43880779-EC05-41E7-A7E6-2175B7A9202A}">
      <dsp:nvSpPr>
        <dsp:cNvPr id="0" name=""/>
        <dsp:cNvSpPr/>
      </dsp:nvSpPr>
      <dsp:spPr>
        <a:xfrm>
          <a:off x="6112078" y="2643148"/>
          <a:ext cx="3044394" cy="2732509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1910" tIns="41910" rIns="41910" bIns="41910" numCol="1" spcCol="1270" anchor="t" anchorCtr="0">
          <a:noAutofit/>
        </a:bodyPr>
        <a:lstStyle/>
        <a:p>
          <a:pPr lvl="0" algn="l" defTabSz="488950" latinLnBrk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altLang="ko-KR" sz="1100" b="1" kern="1200" dirty="0"/>
            <a:t>-  </a:t>
          </a:r>
          <a:r>
            <a:rPr lang="en-US" altLang="ko-KR" sz="1100" b="1" kern="1200" dirty="0">
              <a:solidFill>
                <a:schemeClr val="tx1"/>
              </a:solidFill>
              <a:latin typeface="Nanum Gothic"/>
            </a:rPr>
            <a:t>Micro Marketing</a:t>
          </a:r>
        </a:p>
        <a:p>
          <a:pPr lvl="0" algn="l" defTabSz="488950" latinLnBrk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altLang="ko-KR" sz="1100" kern="1200" dirty="0">
              <a:solidFill>
                <a:schemeClr val="tx1"/>
              </a:solidFill>
              <a:latin typeface="Nanum Gothic"/>
            </a:rPr>
            <a:t>- </a:t>
          </a:r>
          <a:r>
            <a:rPr lang="ko-KR" altLang="en-US" sz="1100" kern="1200" dirty="0">
              <a:solidFill>
                <a:schemeClr val="tx1"/>
              </a:solidFill>
              <a:latin typeface="Nanum Gothic"/>
            </a:rPr>
            <a:t>제품 배치와 이동 </a:t>
          </a:r>
          <a:endParaRPr lang="en-US" altLang="ko-KR" sz="1100" kern="1200" dirty="0">
            <a:solidFill>
              <a:schemeClr val="tx1"/>
            </a:solidFill>
            <a:latin typeface="Nanum Gothic"/>
          </a:endParaRPr>
        </a:p>
        <a:p>
          <a:pPr lvl="0" algn="l" defTabSz="488950" latinLnBrk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altLang="ko-KR" sz="1100" kern="1200" dirty="0">
              <a:solidFill>
                <a:schemeClr val="tx1"/>
              </a:solidFill>
              <a:latin typeface="Nanum Gothic"/>
            </a:rPr>
            <a:t>-  </a:t>
          </a:r>
          <a:r>
            <a:rPr lang="ko-KR" altLang="en-US" sz="1100" kern="1200" dirty="0">
              <a:solidFill>
                <a:schemeClr val="tx1"/>
              </a:solidFill>
              <a:latin typeface="Nanum Gothic"/>
            </a:rPr>
            <a:t>배송</a:t>
          </a:r>
          <a:r>
            <a:rPr lang="en-US" altLang="ko-KR" sz="1100" kern="1200" dirty="0">
              <a:solidFill>
                <a:schemeClr val="tx1"/>
              </a:solidFill>
              <a:latin typeface="Nanum Gothic"/>
            </a:rPr>
            <a:t>&amp;</a:t>
          </a:r>
          <a:r>
            <a:rPr lang="ko-KR" altLang="en-US" sz="1100" kern="1200" dirty="0">
              <a:solidFill>
                <a:schemeClr val="tx1"/>
              </a:solidFill>
              <a:latin typeface="Nanum Gothic"/>
            </a:rPr>
            <a:t>물류시스템 </a:t>
          </a:r>
          <a:endParaRPr lang="en-US" altLang="ko-KR" sz="1100" kern="1200" dirty="0">
            <a:solidFill>
              <a:schemeClr val="tx1"/>
            </a:solidFill>
            <a:latin typeface="Nanum Gothic"/>
          </a:endParaRPr>
        </a:p>
        <a:p>
          <a:pPr lvl="0" algn="l" defTabSz="488950" latinLnBrk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altLang="ko-KR" sz="1100" kern="1200" dirty="0">
              <a:solidFill>
                <a:schemeClr val="tx1"/>
              </a:solidFill>
              <a:latin typeface="Nanum Gothic"/>
            </a:rPr>
            <a:t>    &gt; </a:t>
          </a:r>
          <a:r>
            <a:rPr lang="ko-KR" altLang="en-US" sz="1100" kern="1200" dirty="0" err="1">
              <a:solidFill>
                <a:schemeClr val="tx1"/>
              </a:solidFill>
              <a:latin typeface="Nanum Gothic"/>
            </a:rPr>
            <a:t>풀필먼트</a:t>
          </a:r>
          <a:r>
            <a:rPr lang="ko-KR" altLang="en-US" sz="1100" kern="1200" dirty="0">
              <a:solidFill>
                <a:schemeClr val="tx1"/>
              </a:solidFill>
              <a:latin typeface="Nanum Gothic"/>
            </a:rPr>
            <a:t> 시스템</a:t>
          </a:r>
          <a:endParaRPr lang="en-US" altLang="ko-KR" sz="1100" kern="1200" dirty="0">
            <a:solidFill>
              <a:schemeClr val="tx1"/>
            </a:solidFill>
            <a:latin typeface="Nanum Gothic"/>
          </a:endParaRPr>
        </a:p>
        <a:p>
          <a:pPr lvl="0" algn="l" defTabSz="488950" latinLnBrk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altLang="ko-KR" sz="1100" kern="1200" dirty="0">
              <a:solidFill>
                <a:schemeClr val="tx1"/>
              </a:solidFill>
              <a:latin typeface="Nanum Gothic"/>
            </a:rPr>
            <a:t>-  </a:t>
          </a:r>
          <a:r>
            <a:rPr lang="ko-KR" altLang="en-US" sz="1100" kern="1200" dirty="0">
              <a:solidFill>
                <a:schemeClr val="tx1"/>
              </a:solidFill>
              <a:latin typeface="Nanum Gothic"/>
            </a:rPr>
            <a:t>최적 재고시스템 </a:t>
          </a:r>
          <a:endParaRPr lang="en-US" altLang="ko-KR" sz="1100" kern="1200" dirty="0">
            <a:solidFill>
              <a:schemeClr val="tx1"/>
            </a:solidFill>
            <a:latin typeface="Nanum Gothic"/>
          </a:endParaRPr>
        </a:p>
        <a:p>
          <a:pPr lvl="0" algn="l" defTabSz="488950" latinLnBrk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altLang="ko-KR" sz="1100" kern="1200" dirty="0">
              <a:solidFill>
                <a:schemeClr val="tx1"/>
              </a:solidFill>
              <a:latin typeface="Nanum Gothic"/>
            </a:rPr>
            <a:t>- </a:t>
          </a:r>
          <a:r>
            <a:rPr lang="ko-KR" altLang="en-US" sz="1100" kern="1200" dirty="0">
              <a:solidFill>
                <a:schemeClr val="tx1"/>
              </a:solidFill>
              <a:latin typeface="Nanum Gothic"/>
            </a:rPr>
            <a:t>맞춤형 홍보 </a:t>
          </a:r>
          <a:r>
            <a:rPr lang="en-US" altLang="ko-KR" sz="1100" kern="1200" dirty="0">
              <a:solidFill>
                <a:schemeClr val="tx1"/>
              </a:solidFill>
              <a:latin typeface="Nanum Gothic"/>
            </a:rPr>
            <a:t>&gt; </a:t>
          </a:r>
          <a:r>
            <a:rPr lang="ko-KR" altLang="en-US" sz="1100" kern="1200" dirty="0">
              <a:solidFill>
                <a:schemeClr val="tx1"/>
              </a:solidFill>
              <a:latin typeface="Nanum Gothic"/>
            </a:rPr>
            <a:t>사회적 가치 창조    </a:t>
          </a:r>
          <a:endParaRPr lang="ko-KR" altLang="en-US" sz="1100" kern="1200" dirty="0"/>
        </a:p>
      </dsp:txBody>
      <dsp:txXfrm>
        <a:off x="6112078" y="2643148"/>
        <a:ext cx="3044394" cy="2732509"/>
      </dsp:txXfrm>
    </dsp:sp>
  </dsp:spTree>
</dsp:drawing>
</file>

<file path=ppt/diagrams/drawing9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AD8E466-9EE8-460C-9AFD-59F567988F61}">
      <dsp:nvSpPr>
        <dsp:cNvPr id="0" name=""/>
        <dsp:cNvSpPr/>
      </dsp:nvSpPr>
      <dsp:spPr>
        <a:xfrm>
          <a:off x="64396" y="0"/>
          <a:ext cx="2058929" cy="2058929"/>
        </a:xfrm>
        <a:prstGeom prst="quadArrow">
          <a:avLst>
            <a:gd name="adj1" fmla="val 2000"/>
            <a:gd name="adj2" fmla="val 4000"/>
            <a:gd name="adj3" fmla="val 5000"/>
          </a:avLst>
        </a:prstGeom>
        <a:solidFill>
          <a:schemeClr val="accent3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B89368E3-2545-438F-B225-E2EB9429264F}">
      <dsp:nvSpPr>
        <dsp:cNvPr id="0" name=""/>
        <dsp:cNvSpPr/>
      </dsp:nvSpPr>
      <dsp:spPr>
        <a:xfrm>
          <a:off x="198227" y="133830"/>
          <a:ext cx="823571" cy="823571"/>
        </a:xfrm>
        <a:prstGeom prst="roundRect">
          <a:avLst/>
        </a:prstGeom>
        <a:solidFill>
          <a:srgbClr val="00B0F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9530" tIns="49530" rIns="49530" bIns="49530" numCol="1" spcCol="1270" anchor="ctr" anchorCtr="0">
          <a:noAutofit/>
        </a:bodyPr>
        <a:lstStyle/>
        <a:p>
          <a:pPr lvl="0" algn="ctr" defTabSz="577850" latinLnBrk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ko-KR" altLang="en-US" sz="1300" b="1" kern="1200" dirty="0"/>
            <a:t>비용</a:t>
          </a:r>
          <a:endParaRPr lang="en-US" altLang="ko-KR" sz="1300" b="1" kern="1200" dirty="0"/>
        </a:p>
        <a:p>
          <a:pPr lvl="0" algn="ctr" defTabSz="577850" latinLnBrk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altLang="ko-KR" sz="1300" b="1" kern="1200" dirty="0"/>
            <a:t>/</a:t>
          </a:r>
          <a:r>
            <a:rPr lang="ko-KR" altLang="en-US" sz="1300" b="1" kern="1200" dirty="0"/>
            <a:t>타이밍 </a:t>
          </a:r>
        </a:p>
      </dsp:txBody>
      <dsp:txXfrm>
        <a:off x="238430" y="174033"/>
        <a:ext cx="743165" cy="743165"/>
      </dsp:txXfrm>
    </dsp:sp>
    <dsp:sp modelId="{01D72B2A-986E-4BB0-9CDA-BE1156C664CE}">
      <dsp:nvSpPr>
        <dsp:cNvPr id="0" name=""/>
        <dsp:cNvSpPr/>
      </dsp:nvSpPr>
      <dsp:spPr>
        <a:xfrm>
          <a:off x="1165924" y="133830"/>
          <a:ext cx="823571" cy="823571"/>
        </a:xfrm>
        <a:prstGeom prst="roundRect">
          <a:avLst/>
        </a:prstGeom>
        <a:solidFill>
          <a:schemeClr val="accent3">
            <a:hueOff val="3750088"/>
            <a:satOff val="-5627"/>
            <a:lumOff val="-915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9530" tIns="49530" rIns="49530" bIns="49530" numCol="1" spcCol="1270" anchor="ctr" anchorCtr="0">
          <a:noAutofit/>
        </a:bodyPr>
        <a:lstStyle/>
        <a:p>
          <a:pPr lvl="0" algn="ctr" defTabSz="577850" latinLnBrk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ko-KR" altLang="en-US" sz="1300" b="1" kern="1200" dirty="0"/>
            <a:t>경쟁력 우위</a:t>
          </a:r>
          <a:r>
            <a:rPr lang="ko-KR" altLang="en-US" sz="1300" kern="1200" dirty="0"/>
            <a:t>  </a:t>
          </a:r>
        </a:p>
      </dsp:txBody>
      <dsp:txXfrm>
        <a:off x="1206127" y="174033"/>
        <a:ext cx="743165" cy="743165"/>
      </dsp:txXfrm>
    </dsp:sp>
    <dsp:sp modelId="{9EBB8B26-00AD-4704-9FC4-D28C8C62582D}">
      <dsp:nvSpPr>
        <dsp:cNvPr id="0" name=""/>
        <dsp:cNvSpPr/>
      </dsp:nvSpPr>
      <dsp:spPr>
        <a:xfrm>
          <a:off x="198227" y="1101527"/>
          <a:ext cx="823571" cy="823571"/>
        </a:xfrm>
        <a:prstGeom prst="roundRect">
          <a:avLst/>
        </a:prstGeom>
        <a:solidFill>
          <a:srgbClr val="FF000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9530" tIns="49530" rIns="49530" bIns="49530" numCol="1" spcCol="1270" anchor="ctr" anchorCtr="0">
          <a:noAutofit/>
        </a:bodyPr>
        <a:lstStyle/>
        <a:p>
          <a:pPr lvl="0" algn="ctr" defTabSz="577850" latinLnBrk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ko-KR" altLang="en-US" sz="1300" b="1" kern="1200" dirty="0"/>
            <a:t>사회적 가치 </a:t>
          </a:r>
        </a:p>
      </dsp:txBody>
      <dsp:txXfrm>
        <a:off x="238430" y="1141730"/>
        <a:ext cx="743165" cy="743165"/>
      </dsp:txXfrm>
    </dsp:sp>
    <dsp:sp modelId="{2ECAD35C-96E3-41C0-A190-180291D0B334}">
      <dsp:nvSpPr>
        <dsp:cNvPr id="0" name=""/>
        <dsp:cNvSpPr/>
      </dsp:nvSpPr>
      <dsp:spPr>
        <a:xfrm>
          <a:off x="1165924" y="1101527"/>
          <a:ext cx="823571" cy="823571"/>
        </a:xfrm>
        <a:prstGeom prst="roundRect">
          <a:avLst/>
        </a:prstGeom>
        <a:solidFill>
          <a:srgbClr val="7030A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9530" tIns="49530" rIns="49530" bIns="49530" numCol="1" spcCol="1270" anchor="ctr" anchorCtr="0">
          <a:noAutofit/>
        </a:bodyPr>
        <a:lstStyle/>
        <a:p>
          <a:pPr lvl="0" algn="ctr" defTabSz="577850" latinLnBrk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ko-KR" altLang="en-US" sz="1300" b="1" kern="1200" dirty="0"/>
            <a:t>수익</a:t>
          </a:r>
          <a:r>
            <a:rPr lang="ko-KR" altLang="en-US" sz="1300" kern="1200" dirty="0"/>
            <a:t> </a:t>
          </a:r>
        </a:p>
      </dsp:txBody>
      <dsp:txXfrm>
        <a:off x="1206127" y="1141730"/>
        <a:ext cx="743165" cy="743165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horzAlign" val="l"/>
          <dgm:param type="nodeHorzAlign" val="l"/>
        </dgm:alg>
      </dgm:if>
      <dgm:else name="Name2">
        <dgm:alg type="lin">
          <dgm:param type="linDir" val="fromT"/>
          <dgm:param type="vertAlign" val="mid"/>
          <dgm:param type="horzAlign" val="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horzAlign" val="l"/>
              <dgm:param type="nodeHorzAlign" val="l"/>
            </dgm:alg>
          </dgm:if>
          <dgm:else name="Name6">
            <dgm:alg type="lin">
              <dgm:param type="linDir" val="fromR"/>
              <dgm:param type="horzAlign" val="r"/>
              <dgm:param type="node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10.xml><?xml version="1.0" encoding="utf-8"?>
<dgm:layoutDef xmlns:dgm="http://schemas.openxmlformats.org/drawingml/2006/diagram" xmlns:a="http://schemas.openxmlformats.org/drawingml/2006/main" uniqueId="urn:microsoft.com/office/officeart/2005/8/layout/hList1">
  <dgm:title val=""/>
  <dgm:desc val=""/>
  <dgm:catLst>
    <dgm:cat type="list" pri="5000"/>
    <dgm:cat type="convert" pri="5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w" for="des" forName="parTx"/>
      <dgm:constr type="h" for="des" forName="parTx" op="equ"/>
      <dgm:constr type="w" for="des" forName="desTx"/>
      <dgm:constr type="h" for="des" forName="desTx" op="equ"/>
      <dgm:constr type="primFontSz" for="des" forName="parTx" val="65"/>
      <dgm:constr type="secFontSz" for="des" forName="desTx" refType="primFontSz" refFor="des" refForName="parTx" op="equ"/>
      <dgm:constr type="h" for="des" forName="parTx" refType="primFontSz" refFor="des" refForName="parTx" fact="0.8"/>
      <dgm:constr type="h" for="des" forName="desTx" refType="primFontSz" refFor="des" refForName="parTx" fact="1.22"/>
      <dgm:constr type="w" for="ch" forName="space" refType="w" refFor="ch" refForName="composite" op="equ" fact="0.14"/>
    </dgm:constrLst>
    <dgm:ruleLst>
      <dgm:rule type="w" for="ch" forName="composite" val="0" fact="NaN" max="NaN"/>
      <dgm:rule type="primFontSz" for="des" forName="parTx" val="5" fact="NaN" max="NaN"/>
    </dgm:ruleLst>
    <dgm:forEach name="Name4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onstrLst>
          <dgm:constr type="l" for="ch" forName="parTx"/>
          <dgm:constr type="w" for="ch" forName="parTx" refType="w"/>
          <dgm:constr type="t" for="ch" forName="parTx"/>
          <dgm:constr type="l" for="ch" forName="desTx"/>
          <dgm:constr type="w" for="ch" forName="desTx" refType="w" refFor="ch" refForName="parTx"/>
          <dgm:constr type="t" for="ch" forName="desTx" refType="h" refFor="ch" refForName="parTx"/>
        </dgm:constrLst>
        <dgm:ruleLst>
          <dgm:rule type="h" val="INF" fact="NaN" max="NaN"/>
        </dgm:ruleLst>
        <dgm:layoutNode name="parTx" styleLbl="alignNode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>
            <dgm:adjLst/>
          </dgm:shape>
          <dgm:presOf axis="self" ptType="node"/>
          <dgm:constrLst>
            <dgm:constr type="h" refType="w" op="lte" fact="0.4"/>
            <dgm:constr type="h"/>
            <dgm:constr type="tMarg" refType="primFontSz" fact="0.32"/>
            <dgm:constr type="bMarg" refType="primFontSz" fact="0.32"/>
          </dgm:constrLst>
          <dgm:ruleLst>
            <dgm:rule type="h" val="INF" fact="NaN" max="NaN"/>
          </dgm:ruleLst>
        </dgm:layoutNode>
        <dgm:layoutNode name="desTx" styleLbl="alignAccFollowNode1">
          <dgm:varLst>
            <dgm:bulletEnabled val="1"/>
          </dgm:varLst>
          <dgm:alg type="tx">
            <dgm:param type="stBulletLvl" val="1"/>
          </dgm:alg>
          <dgm:shape xmlns:r="http://schemas.openxmlformats.org/officeDocument/2006/relationships" type="rect" r:blip="">
            <dgm:adjLst/>
          </dgm:shape>
          <dgm:presOf axis="des" ptType="node"/>
          <dgm:constrLst>
            <dgm:constr type="secFontSz" val="65"/>
            <dgm:constr type="primFontSz" refType="secFontSz"/>
            <dgm:constr type="h"/>
            <dgm:constr type="lMarg" refType="primFontSz" fact="0.42"/>
            <dgm:constr type="tMarg" refType="primFontSz" fact="0.42"/>
            <dgm:constr type="bMarg" refType="primFontSz" fact="0.63"/>
          </dgm:constrLst>
          <dgm:ruleLst>
            <dgm:rule type="h" val="INF" fact="NaN" max="NaN"/>
          </dgm:ruleLst>
        </dgm:layoutNode>
      </dgm:layoutNode>
      <dgm:forEach name="Name5" axis="followSib" ptType="sibTrans" cnt="1">
        <dgm:layoutNode name="space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11.xml><?xml version="1.0" encoding="utf-8"?>
<dgm:layoutDef xmlns:dgm="http://schemas.openxmlformats.org/drawingml/2006/diagram" xmlns:a="http://schemas.openxmlformats.org/drawingml/2006/main" uniqueId="urn:microsoft.com/office/officeart/2005/8/layout/cycle3">
  <dgm:title val=""/>
  <dgm:desc val=""/>
  <dgm:catLst>
    <dgm:cat type="cycle" pri="5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  <dgm:pt modelId="3"/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axis="ch" ptType="node" func="cnt" op="equ" val="2">
        <dgm:alg type="composite">
          <dgm:param type="ar" val="0.9"/>
        </dgm:alg>
        <dgm:shape xmlns:r="http://schemas.openxmlformats.org/officeDocument/2006/relationships" r:blip="">
          <dgm:adjLst/>
        </dgm:shape>
        <dgm:presOf/>
        <dgm:constrLst>
          <dgm:constr type="primFontSz" for="ch" ptType="node" op="equ" val="65"/>
          <dgm:constr type="ctrX" for="ch" forName="node1" refType="w" fact="0.5"/>
          <dgm:constr type="t" for="ch" forName="node1"/>
          <dgm:constr type="w" for="ch" forName="node1" refType="w" fact="0.8"/>
          <dgm:constr type="h" for="ch" forName="node1" refType="w" refFor="ch" refForName="node1" fact="0.5"/>
          <dgm:constr type="ctrX" for="ch" forName="sibTrans" refType="w" fact="0.5"/>
          <dgm:constr type="t" for="ch" forName="sibTrans"/>
          <dgm:constr type="w" for="ch" forName="sibTrans" refType="w" fact="0.8"/>
          <dgm:constr type="h" for="ch" forName="sibTrans" refType="w" refFor="ch" refForName="node1" fact="0.5"/>
          <dgm:constr type="userA" for="ch" forName="sibTrans" refType="w" fact="1.07"/>
          <dgm:constr type="ctrX" for="ch" forName="node2" refType="w" fact="0.5"/>
          <dgm:constr type="b" for="ch" forName="node2" refType="h"/>
          <dgm:constr type="w" for="ch" forName="node2" refType="w" fact="0.8"/>
          <dgm:constr type="h" for="ch" forName="node2" refType="w" refFor="ch" refForName="node1" fact="0.5"/>
          <dgm:constr type="l" for="ch" forName="sp1"/>
          <dgm:constr type="t" for="ch" forName="sp1" refType="h" fact="0.5"/>
          <dgm:constr type="w" for="ch" forName="sp1" val="1"/>
          <dgm:constr type="h" for="ch" forName="sp1" val="1"/>
          <dgm:constr type="r" for="ch" forName="sp2" refType="w"/>
          <dgm:constr type="t" for="ch" forName="sp2" refType="h" fact="0.5"/>
          <dgm:constr type="w" for="ch" forName="sp2" val="1"/>
          <dgm:constr type="h" for="ch" forName="sp2" val="1"/>
        </dgm:constrLst>
        <dgm:ruleLst/>
      </dgm:if>
      <dgm:else name="Name3">
        <dgm:alg type="composite"/>
        <dgm:shape xmlns:r="http://schemas.openxmlformats.org/officeDocument/2006/relationships" r:blip="">
          <dgm:adjLst/>
        </dgm:shape>
        <dgm:presOf/>
        <dgm:constrLst>
          <dgm:constr type="primFontSz" for="ch" ptType="node" op="equ" val="65"/>
        </dgm:constrLst>
        <dgm:ruleLst/>
      </dgm:else>
    </dgm:choose>
    <dgm:choose name="Name4">
      <dgm:if name="Name5" axis="ch" ptType="node" func="cnt" op="equ" val="2">
        <dgm:layoutNode name="node1">
          <dgm:varLst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ch desOrSelf" ptType="node node" st="1 1" cnt="1 0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sibTrans" styleLbl="bgShp">
          <dgm:choose name="Name6">
            <dgm:if name="Name7" func="var" arg="dir" op="equ" val="norm">
              <dgm:alg type="conn">
                <dgm:param type="connRout" val="longCurve"/>
                <dgm:param type="begPts" val="midR"/>
                <dgm:param type="endPts" val="midL"/>
                <dgm:param type="dstNode" val="node1"/>
              </dgm:alg>
              <dgm:shape xmlns:r="http://schemas.openxmlformats.org/officeDocument/2006/relationships" type="conn" r:blip="" zOrderOff="-2">
                <dgm:adjLst/>
              </dgm:shape>
              <dgm:presOf axis="ch" ptType="sibTrans"/>
              <dgm:constrLst>
                <dgm:constr type="userA"/>
                <dgm:constr type="diam" refType="userA" fact="-1"/>
                <dgm:constr type="wArH" refType="userA" fact="0.05"/>
                <dgm:constr type="hArH" refType="userA" fact="0.1"/>
                <dgm:constr type="stemThick" refType="userA" fact="0.06"/>
                <dgm:constr type="begPad" refType="connDist" fact="-0.2"/>
                <dgm:constr type="endPad" refType="connDist" fact="0.05"/>
              </dgm:constrLst>
            </dgm:if>
            <dgm:else name="Name8">
              <dgm:alg type="conn">
                <dgm:param type="connRout" val="longCurve"/>
                <dgm:param type="begPts" val="midL"/>
                <dgm:param type="endPts" val="midR"/>
                <dgm:param type="dstNode" val="node1"/>
              </dgm:alg>
              <dgm:shape xmlns:r="http://schemas.openxmlformats.org/officeDocument/2006/relationships" type="conn" r:blip="" zOrderOff="-2">
                <dgm:adjLst/>
              </dgm:shape>
              <dgm:presOf axis="ch" ptType="sibTrans"/>
              <dgm:constrLst>
                <dgm:constr type="userA"/>
                <dgm:constr type="diam" refType="userA"/>
                <dgm:constr type="wArH" refType="userA" fact="0.05"/>
                <dgm:constr type="hArH" refType="userA" fact="0.1"/>
                <dgm:constr type="stemThick" refType="userA" fact="0.06"/>
                <dgm:constr type="begPad" refType="connDist" fact="-0.2"/>
                <dgm:constr type="endPad" refType="connDist" fact="0.05"/>
              </dgm:constrLst>
            </dgm:else>
          </dgm:choose>
          <dgm:ruleLst/>
        </dgm:layoutNode>
        <dgm:layoutNode name="node2">
          <dgm:varLst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ch desOrSelf" ptType="node node" st="2 1" cnt="1 0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sp1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  <dgm:layoutNode name="sp2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if>
      <dgm:else name="Name9">
        <dgm:layoutNode name="cycle">
          <dgm:choose name="Name10">
            <dgm:if name="Name11" func="var" arg="dir" op="equ" val="norm">
              <dgm:alg type="cycle">
                <dgm:param type="stAng" val="0"/>
                <dgm:param type="spanAng" val="360"/>
              </dgm:alg>
              <dgm:shape xmlns:r="http://schemas.openxmlformats.org/officeDocument/2006/relationships" r:blip="">
                <dgm:adjLst/>
              </dgm:shape>
              <dgm:presOf/>
              <dgm:constrLst>
                <dgm:constr type="diam" refType="w"/>
                <dgm:constr type="w" for="ch" ptType="node" refType="w"/>
                <dgm:constr type="sibSp" val="15"/>
                <dgm:constr type="userA" for="ch" ptType="sibTrans" refType="diam" op="equ" fact="-1"/>
                <dgm:constr type="wArH" for="ch" ptType="sibTrans" refType="diam" op="equ" fact="0.05"/>
                <dgm:constr type="hArH" for="ch" ptType="sibTrans" refType="diam" op="equ" fact="0.1"/>
                <dgm:constr type="stemThick" for="ch" ptType="sibTrans" refType="diam" op="equ" fact="0.065"/>
                <dgm:constr type="primFontSz" for="ch" ptType="node" op="equ"/>
              </dgm:constrLst>
            </dgm:if>
            <dgm:else name="Name12">
              <dgm:alg type="cycle">
                <dgm:param type="stAng" val="0"/>
                <dgm:param type="spanAng" val="-360"/>
              </dgm:alg>
              <dgm:shape xmlns:r="http://schemas.openxmlformats.org/officeDocument/2006/relationships" r:blip="">
                <dgm:adjLst/>
              </dgm:shape>
              <dgm:presOf/>
              <dgm:constrLst>
                <dgm:constr type="diam" refType="w"/>
                <dgm:constr type="w" for="ch" ptType="node" refType="w"/>
                <dgm:constr type="sibSp" val="15"/>
                <dgm:constr type="userA" for="ch" ptType="sibTrans" refType="diam" op="equ"/>
                <dgm:constr type="wArH" for="ch" ptType="sibTrans" refType="diam" op="equ" fact="0.05"/>
                <dgm:constr type="hArH" for="ch" ptType="sibTrans" refType="diam" op="equ" fact="0.1"/>
                <dgm:constr type="stemThick" for="ch" ptType="sibTrans" refType="diam" op="equ" fact="0.065"/>
                <dgm:constr type="primFontSz" for="ch" ptType="node" op="equ"/>
              </dgm:constrLst>
            </dgm:else>
          </dgm:choose>
          <dgm:ruleLst/>
          <dgm:forEach name="nodesFirstNodeForEach" axis="ch" ptType="node" cnt="1">
            <dgm:layoutNode name="nodeFirstNode">
              <dgm:varLst>
                <dgm:bulletEnabled val="1"/>
              </dgm:varLst>
              <dgm:alg type="tx"/>
              <dgm:shape xmlns:r="http://schemas.openxmlformats.org/officeDocument/2006/relationships" type="roundRect" r:blip="">
                <dgm:adjLst/>
              </dgm:shape>
              <dgm:presOf axis="desOrSelf" ptType="node"/>
              <dgm:constrLst>
                <dgm:constr type="h" refType="w" fact="0.5"/>
                <dgm:constr type="primFontSz" val="65"/>
                <dgm:constr type="tMarg" refType="primFontSz" fact="0.3"/>
                <dgm:constr type="bMarg" refType="primFontSz" fact="0.3"/>
                <dgm:constr type="lMarg" refType="primFontSz" fact="0.3"/>
                <dgm:constr type="rMarg" refType="primFontSz" fact="0.3"/>
              </dgm:constrLst>
              <dgm:ruleLst>
                <dgm:rule type="primFontSz" val="5" fact="NaN" max="NaN"/>
              </dgm:ruleLst>
            </dgm:layoutNode>
            <dgm:forEach name="sibTransForEach" axis="followSib" ptType="sibTrans" cnt="1">
              <dgm:layoutNode name="sibTransFirstNode" styleLbl="bgShp">
                <dgm:choose name="Name13">
                  <dgm:if name="Name14" func="var" arg="dir" op="equ" val="norm">
                    <dgm:alg type="conn">
                      <dgm:param type="connRout" val="longCurve"/>
                      <dgm:param type="begPts" val="midR"/>
                      <dgm:param type="endPts" val="midL"/>
                      <dgm:param type="dstNode" val="nodeFirstNode"/>
                    </dgm:alg>
                  </dgm:if>
                  <dgm:else name="Name15">
                    <dgm:alg type="conn">
                      <dgm:param type="connRout" val="longCurve"/>
                      <dgm:param type="begPts" val="midL"/>
                      <dgm:param type="endPts" val="midR"/>
                      <dgm:param type="dstNode" val="nodeFirstNode"/>
                    </dgm:alg>
                  </dgm:else>
                </dgm:choose>
                <dgm:shape xmlns:r="http://schemas.openxmlformats.org/officeDocument/2006/relationships" type="conn" r:blip="" zOrderOff="-2">
                  <dgm:adjLst/>
                </dgm:shape>
                <dgm:presOf axis="self"/>
                <dgm:choose name="Name16">
                  <dgm:if name="Name17" axis="par ch" ptType="doc node" func="cnt" op="equ" val="3">
                    <dgm:constrLst>
                      <dgm:constr type="userA"/>
                      <dgm:constr type="diam" refType="userA" fact="1.01"/>
                      <dgm:constr type="begPad" refType="connDist" fact="-0.2"/>
                      <dgm:constr type="endPad" refType="connDist" fact="0.05"/>
                    </dgm:constrLst>
                  </dgm:if>
                  <dgm:if name="Name18" axis="par ch" ptType="doc node" func="cnt" op="equ" val="4">
                    <dgm:constrLst>
                      <dgm:constr type="userA"/>
                      <dgm:constr type="diam" refType="userA" fact="1.26"/>
                      <dgm:constr type="begPad" refType="connDist" fact="-0.2"/>
                      <dgm:constr type="endPad" refType="connDist" fact="0.05"/>
                    </dgm:constrLst>
                  </dgm:if>
                  <dgm:if name="Name19" axis="par ch" ptType="doc node" func="cnt" op="equ" val="5">
                    <dgm:constrLst>
                      <dgm:constr type="userA"/>
                      <dgm:constr type="diam" refType="userA" fact="1.04"/>
                      <dgm:constr type="begPad" refType="connDist" fact="-0.2"/>
                      <dgm:constr type="endPad" refType="connDist" fact="0.05"/>
                    </dgm:constrLst>
                  </dgm:if>
                  <dgm:if name="Name20" axis="par ch" ptType="doc node" func="cnt" op="equ" val="6">
                    <dgm:constrLst>
                      <dgm:constr type="userA"/>
                      <dgm:constr type="diam" refType="userA" fact="1.1"/>
                      <dgm:constr type="begPad" refType="connDist" fact="-0.2"/>
                      <dgm:constr type="endPad" refType="connDist" fact="0.05"/>
                    </dgm:constrLst>
                  </dgm:if>
                  <dgm:else name="Name21">
                    <dgm:constrLst>
                      <dgm:constr type="userA"/>
                      <dgm:constr type="diam" refType="userA" fact="1.04"/>
                      <dgm:constr type="begPad" refType="connDist" fact="-0.2"/>
                      <dgm:constr type="endPad" refType="connDist" fact="0.05"/>
                    </dgm:constrLst>
                  </dgm:else>
                </dgm:choose>
                <dgm:ruleLst/>
              </dgm:layoutNode>
            </dgm:forEach>
          </dgm:forEach>
          <dgm:forEach name="followingNodesForEach" axis="ch" ptType="node" st="2">
            <dgm:layoutNode name="nodeFollowingNodes">
              <dgm:varLst>
                <dgm:bulletEnabled val="1"/>
              </dgm:varLst>
              <dgm:alg type="tx"/>
              <dgm:shape xmlns:r="http://schemas.openxmlformats.org/officeDocument/2006/relationships" type="roundRect" r:blip="">
                <dgm:adjLst/>
              </dgm:shape>
              <dgm:presOf axis="desOrSelf" ptType="node"/>
              <dgm:constrLst>
                <dgm:constr type="h" refType="w" fact="0.5"/>
                <dgm:constr type="primFontSz" val="65"/>
                <dgm:constr type="tMarg" refType="primFontSz" fact="0.3"/>
                <dgm:constr type="bMarg" refType="primFontSz" fact="0.3"/>
                <dgm:constr type="lMarg" refType="primFontSz" fact="0.3"/>
                <dgm:constr type="rMarg" refType="primFontSz" fact="0.3"/>
              </dgm:constrLst>
              <dgm:ruleLst>
                <dgm:rule type="primFontSz" val="5" fact="NaN" max="NaN"/>
              </dgm:ruleLst>
            </dgm:layoutNode>
          </dgm:forEach>
        </dgm:layoutNode>
      </dgm:else>
    </dgm:choose>
  </dgm:layoutNode>
</dgm:layoutDef>
</file>

<file path=ppt/diagrams/layout12.xml><?xml version="1.0" encoding="utf-8"?>
<dgm:layoutDef xmlns:dgm="http://schemas.openxmlformats.org/drawingml/2006/diagram" xmlns:a="http://schemas.openxmlformats.org/drawingml/2006/main" uniqueId="urn:microsoft.com/office/officeart/2005/8/layout/matrix3">
  <dgm:title val=""/>
  <dgm:desc val=""/>
  <dgm:catLst>
    <dgm:cat type="matrix" pri="1000"/>
    <dgm:cat type="convert" pri="18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0" destOrd="0"/>
        <dgm:cxn modelId="8" srcId="0" destId="4" srcOrd="1" destOrd="0"/>
      </dgm:cxnLst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matrix">
    <dgm:varLst>
      <dgm:chMax val="1"/>
      <dgm:dir/>
      <dgm:resizeHandles val="exact"/>
    </dgm:varLst>
    <dgm:alg type="composite">
      <dgm:param type="ar" val="1"/>
    </dgm:alg>
    <dgm:shape xmlns:r="http://schemas.openxmlformats.org/officeDocument/2006/relationships" r:blip="">
      <dgm:adjLst/>
    </dgm:shape>
    <dgm:presOf/>
    <dgm:choose name="Name0">
      <dgm:if name="Name1" func="var" arg="dir" op="equ" val="norm">
        <dgm:constrLst>
          <dgm:constr type="w" for="ch" forName="diamond" refType="w"/>
          <dgm:constr type="h" for="ch" forName="diamond" refType="h"/>
          <dgm:constr type="w" for="ch" forName="quad1" refType="w" fact="0.39"/>
          <dgm:constr type="h" for="ch" forName="quad1" refType="h" fact="0.39"/>
          <dgm:constr type="ctrX" for="ch" forName="quad1" refType="w" fact="0.29"/>
          <dgm:constr type="ctrY" for="ch" forName="quad1" refType="h" fact="0.29"/>
          <dgm:constr type="w" for="ch" forName="quad2" refType="w" fact="0.39"/>
          <dgm:constr type="h" for="ch" forName="quad2" refType="h" fact="0.39"/>
          <dgm:constr type="ctrX" for="ch" forName="quad2" refType="w" fact="0.71"/>
          <dgm:constr type="ctrY" for="ch" forName="quad2" refType="h" fact="0.29"/>
          <dgm:constr type="w" for="ch" forName="quad3" refType="w" fact="0.39"/>
          <dgm:constr type="h" for="ch" forName="quad3" refType="h" fact="0.39"/>
          <dgm:constr type="ctrX" for="ch" forName="quad3" refType="w" fact="0.29"/>
          <dgm:constr type="ctrY" for="ch" forName="quad3" refType="h" fact="0.71"/>
          <dgm:constr type="w" for="ch" forName="quad4" refType="w" fact="0.39"/>
          <dgm:constr type="h" for="ch" forName="quad4" refType="h" fact="0.39"/>
          <dgm:constr type="ctrX" for="ch" forName="quad4" refType="w" fact="0.71"/>
          <dgm:constr type="ctrY" for="ch" forName="quad4" refType="h" fact="0.71"/>
          <dgm:constr type="primFontSz" for="des" ptType="node" op="equ" val="65"/>
        </dgm:constrLst>
      </dgm:if>
      <dgm:else name="Name2">
        <dgm:constrLst>
          <dgm:constr type="w" for="ch" forName="diamond" refType="w"/>
          <dgm:constr type="h" for="ch" forName="diamond" refType="h"/>
          <dgm:constr type="w" for="ch" forName="quad1" refType="w" fact="0.39"/>
          <dgm:constr type="h" for="ch" forName="quad1" refType="h" fact="0.39"/>
          <dgm:constr type="ctrX" for="ch" forName="quad1" refType="w" fact="0.71"/>
          <dgm:constr type="ctrY" for="ch" forName="quad1" refType="h" fact="0.29"/>
          <dgm:constr type="w" for="ch" forName="quad2" refType="w" fact="0.39"/>
          <dgm:constr type="h" for="ch" forName="quad2" refType="h" fact="0.39"/>
          <dgm:constr type="ctrX" for="ch" forName="quad2" refType="w" fact="0.29"/>
          <dgm:constr type="ctrY" for="ch" forName="quad2" refType="h" fact="0.29"/>
          <dgm:constr type="w" for="ch" forName="quad3" refType="w" fact="0.39"/>
          <dgm:constr type="h" for="ch" forName="quad3" refType="h" fact="0.39"/>
          <dgm:constr type="ctrX" for="ch" forName="quad3" refType="w" fact="0.71"/>
          <dgm:constr type="ctrY" for="ch" forName="quad3" refType="h" fact="0.71"/>
          <dgm:constr type="w" for="ch" forName="quad4" refType="w" fact="0.39"/>
          <dgm:constr type="h" for="ch" forName="quad4" refType="h" fact="0.39"/>
          <dgm:constr type="ctrX" for="ch" forName="quad4" refType="w" fact="0.29"/>
          <dgm:constr type="ctrY" for="ch" forName="quad4" refType="h" fact="0.71"/>
          <dgm:constr type="primFontSz" for="des" ptType="node" op="equ" val="65"/>
        </dgm:constrLst>
      </dgm:else>
    </dgm:choose>
    <dgm:ruleLst/>
    <dgm:choose name="Name3">
      <dgm:if name="Name4" axis="ch" ptType="node" func="cnt" op="gte" val="1">
        <dgm:layoutNode name="diamond" styleLbl="bgShp">
          <dgm:alg type="sp"/>
          <dgm:shape xmlns:r="http://schemas.openxmlformats.org/officeDocument/2006/relationships" type="diamond" r:blip="">
            <dgm:adjLst/>
          </dgm:shape>
          <dgm:presOf/>
          <dgm:constrLst>
            <dgm:constr type="w" refType="h" op="equ"/>
          </dgm:constrLst>
          <dgm:ruleLst/>
        </dgm:layoutNode>
        <dgm:layoutNode name="quad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ch desOrSelf" ptType="node node" st="1 1" cnt="1 0"/>
          <dgm:constrLst>
            <dgm:constr type="w" refType="h" op="equ"/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quad2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ch desOrSelf" ptType="node node" st="2 1" cnt="1 0"/>
          <dgm:constrLst>
            <dgm:constr type="w" refType="h" op="equ"/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quad3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ch desOrSelf" ptType="node node" st="3 1" cnt="1 0"/>
          <dgm:constrLst>
            <dgm:constr type="w" refType="h" op="equ"/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quad4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ch desOrSelf" ptType="node node" st="4 1" cnt="1 0"/>
          <dgm:constrLst>
            <dgm:constr type="w" refType="h" op="equ"/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</dgm:if>
      <dgm:else name="Name5"/>
    </dgm:choose>
  </dgm:layoutNode>
</dgm:layoutDef>
</file>

<file path=ppt/diagrams/layout13.xml><?xml version="1.0" encoding="utf-8"?>
<dgm:layoutDef xmlns:dgm="http://schemas.openxmlformats.org/drawingml/2006/diagram" xmlns:a="http://schemas.openxmlformats.org/drawingml/2006/main" uniqueId="urn:microsoft.com/office/officeart/2005/8/layout/default">
  <dgm:title val=""/>
  <dgm:desc val=""/>
  <dgm:catLst>
    <dgm:cat type="list" pri="4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diagram">
    <dgm:varLst>
      <dgm:dir/>
      <dgm:resizeHandles val="exact"/>
    </dgm:varLst>
    <dgm:choose name="Name0">
      <dgm:if name="Name1" func="var" arg="dir" op="equ" val="norm">
        <dgm:alg type="snake">
          <dgm:param type="grDir" val="tL"/>
          <dgm:param type="flowDir" val="row"/>
          <dgm:param type="contDir" val="sameDir"/>
          <dgm:param type="off" val="ctr"/>
        </dgm:alg>
      </dgm:if>
      <dgm:else name="Name2">
        <dgm:alg type="snake">
          <dgm:param type="grDir" val="tR"/>
          <dgm:param type="flowDir" val="row"/>
          <dgm:param type="contDir" val="sameDir"/>
          <dgm:param type="off" val="ct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node" refType="w"/>
      <dgm:constr type="h" for="ch" forName="node" refType="w" refFor="ch" refForName="node" fact="0.6"/>
      <dgm:constr type="w" for="ch" forName="sibTrans" refType="w" refFor="ch" refForName="node" fact="0.1"/>
      <dgm:constr type="sp" refType="w" refFor="ch" refForName="sibTrans"/>
      <dgm:constr type="primFontSz" for="ch" forName="node" op="equ" val="65"/>
    </dgm:constrLst>
    <dgm:ruleLst/>
    <dgm:forEach name="Name3" axis="ch" ptType="node">
      <dgm:layoutNode name="node">
        <dgm:varLst>
          <dgm:bulletEnabled val="1"/>
        </dgm:varLst>
        <dgm:alg type="tx"/>
        <dgm:shape xmlns:r="http://schemas.openxmlformats.org/officeDocument/2006/relationships" type="rect" r:blip="">
          <dgm:adjLst/>
        </dgm:shape>
        <dgm:presOf axis="desOrSelf" ptType="node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forEach name="Name4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14.xml><?xml version="1.0" encoding="utf-8"?>
<dgm:layoutDef xmlns:dgm="http://schemas.openxmlformats.org/drawingml/2006/diagram" xmlns:a="http://schemas.openxmlformats.org/drawingml/2006/main" uniqueId="urn:microsoft.com/office/officeart/2005/8/layout/matrix3">
  <dgm:title val=""/>
  <dgm:desc val=""/>
  <dgm:catLst>
    <dgm:cat type="matrix" pri="1000"/>
    <dgm:cat type="convert" pri="18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0" destOrd="0"/>
        <dgm:cxn modelId="8" srcId="0" destId="4" srcOrd="1" destOrd="0"/>
      </dgm:cxnLst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matrix">
    <dgm:varLst>
      <dgm:chMax val="1"/>
      <dgm:dir/>
      <dgm:resizeHandles val="exact"/>
    </dgm:varLst>
    <dgm:alg type="composite">
      <dgm:param type="ar" val="1"/>
    </dgm:alg>
    <dgm:shape xmlns:r="http://schemas.openxmlformats.org/officeDocument/2006/relationships" r:blip="">
      <dgm:adjLst/>
    </dgm:shape>
    <dgm:presOf/>
    <dgm:choose name="Name0">
      <dgm:if name="Name1" func="var" arg="dir" op="equ" val="norm">
        <dgm:constrLst>
          <dgm:constr type="w" for="ch" forName="diamond" refType="w"/>
          <dgm:constr type="h" for="ch" forName="diamond" refType="h"/>
          <dgm:constr type="w" for="ch" forName="quad1" refType="w" fact="0.39"/>
          <dgm:constr type="h" for="ch" forName="quad1" refType="h" fact="0.39"/>
          <dgm:constr type="ctrX" for="ch" forName="quad1" refType="w" fact="0.29"/>
          <dgm:constr type="ctrY" for="ch" forName="quad1" refType="h" fact="0.29"/>
          <dgm:constr type="w" for="ch" forName="quad2" refType="w" fact="0.39"/>
          <dgm:constr type="h" for="ch" forName="quad2" refType="h" fact="0.39"/>
          <dgm:constr type="ctrX" for="ch" forName="quad2" refType="w" fact="0.71"/>
          <dgm:constr type="ctrY" for="ch" forName="quad2" refType="h" fact="0.29"/>
          <dgm:constr type="w" for="ch" forName="quad3" refType="w" fact="0.39"/>
          <dgm:constr type="h" for="ch" forName="quad3" refType="h" fact="0.39"/>
          <dgm:constr type="ctrX" for="ch" forName="quad3" refType="w" fact="0.29"/>
          <dgm:constr type="ctrY" for="ch" forName="quad3" refType="h" fact="0.71"/>
          <dgm:constr type="w" for="ch" forName="quad4" refType="w" fact="0.39"/>
          <dgm:constr type="h" for="ch" forName="quad4" refType="h" fact="0.39"/>
          <dgm:constr type="ctrX" for="ch" forName="quad4" refType="w" fact="0.71"/>
          <dgm:constr type="ctrY" for="ch" forName="quad4" refType="h" fact="0.71"/>
          <dgm:constr type="primFontSz" for="des" ptType="node" op="equ" val="65"/>
        </dgm:constrLst>
      </dgm:if>
      <dgm:else name="Name2">
        <dgm:constrLst>
          <dgm:constr type="w" for="ch" forName="diamond" refType="w"/>
          <dgm:constr type="h" for="ch" forName="diamond" refType="h"/>
          <dgm:constr type="w" for="ch" forName="quad1" refType="w" fact="0.39"/>
          <dgm:constr type="h" for="ch" forName="quad1" refType="h" fact="0.39"/>
          <dgm:constr type="ctrX" for="ch" forName="quad1" refType="w" fact="0.71"/>
          <dgm:constr type="ctrY" for="ch" forName="quad1" refType="h" fact="0.29"/>
          <dgm:constr type="w" for="ch" forName="quad2" refType="w" fact="0.39"/>
          <dgm:constr type="h" for="ch" forName="quad2" refType="h" fact="0.39"/>
          <dgm:constr type="ctrX" for="ch" forName="quad2" refType="w" fact="0.29"/>
          <dgm:constr type="ctrY" for="ch" forName="quad2" refType="h" fact="0.29"/>
          <dgm:constr type="w" for="ch" forName="quad3" refType="w" fact="0.39"/>
          <dgm:constr type="h" for="ch" forName="quad3" refType="h" fact="0.39"/>
          <dgm:constr type="ctrX" for="ch" forName="quad3" refType="w" fact="0.71"/>
          <dgm:constr type="ctrY" for="ch" forName="quad3" refType="h" fact="0.71"/>
          <dgm:constr type="w" for="ch" forName="quad4" refType="w" fact="0.39"/>
          <dgm:constr type="h" for="ch" forName="quad4" refType="h" fact="0.39"/>
          <dgm:constr type="ctrX" for="ch" forName="quad4" refType="w" fact="0.29"/>
          <dgm:constr type="ctrY" for="ch" forName="quad4" refType="h" fact="0.71"/>
          <dgm:constr type="primFontSz" for="des" ptType="node" op="equ" val="65"/>
        </dgm:constrLst>
      </dgm:else>
    </dgm:choose>
    <dgm:ruleLst/>
    <dgm:choose name="Name3">
      <dgm:if name="Name4" axis="ch" ptType="node" func="cnt" op="gte" val="1">
        <dgm:layoutNode name="diamond" styleLbl="bgShp">
          <dgm:alg type="sp"/>
          <dgm:shape xmlns:r="http://schemas.openxmlformats.org/officeDocument/2006/relationships" type="diamond" r:blip="">
            <dgm:adjLst/>
          </dgm:shape>
          <dgm:presOf/>
          <dgm:constrLst>
            <dgm:constr type="w" refType="h" op="equ"/>
          </dgm:constrLst>
          <dgm:ruleLst/>
        </dgm:layoutNode>
        <dgm:layoutNode name="quad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ch desOrSelf" ptType="node node" st="1 1" cnt="1 0"/>
          <dgm:constrLst>
            <dgm:constr type="w" refType="h" op="equ"/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quad2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ch desOrSelf" ptType="node node" st="2 1" cnt="1 0"/>
          <dgm:constrLst>
            <dgm:constr type="w" refType="h" op="equ"/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quad3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ch desOrSelf" ptType="node node" st="3 1" cnt="1 0"/>
          <dgm:constrLst>
            <dgm:constr type="w" refType="h" op="equ"/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quad4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ch desOrSelf" ptType="node node" st="4 1" cnt="1 0"/>
          <dgm:constrLst>
            <dgm:constr type="w" refType="h" op="equ"/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</dgm:if>
      <dgm:else name="Name5"/>
    </dgm:choose>
  </dgm:layoutNode>
</dgm:layoutDef>
</file>

<file path=ppt/diagrams/layout15.xml><?xml version="1.0" encoding="utf-8"?>
<dgm:layoutDef xmlns:dgm="http://schemas.openxmlformats.org/drawingml/2006/diagram" xmlns:a="http://schemas.openxmlformats.org/drawingml/2006/main" uniqueId="urn:microsoft.com/office/officeart/2005/8/layout/radial6">
  <dgm:title val=""/>
  <dgm:desc val=""/>
  <dgm:catLst>
    <dgm:cat type="cycle" pri="9000"/>
    <dgm:cat type="relationship" pri="2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  <dgm:cxn modelId="6" srcId="1" destId="14" srcOrd="3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13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  <dgm:pt modelId="15"/>
        <dgm:pt modelId="16"/>
      </dgm:ptLst>
      <dgm:cxnLst>
        <dgm:cxn modelId="2" srcId="0" destId="1" srcOrd="0" destOrd="0"/>
        <dgm:cxn modelId="16" srcId="1" destId="11" srcOrd="0" destOrd="0"/>
        <dgm:cxn modelId="17" srcId="1" destId="12" srcOrd="1" destOrd="0"/>
        <dgm:cxn modelId="18" srcId="1" destId="13" srcOrd="2" destOrd="0"/>
        <dgm:cxn modelId="19" srcId="1" destId="14" srcOrd="3" destOrd="0"/>
        <dgm:cxn modelId="20" srcId="1" destId="15" srcOrd="4" destOrd="0"/>
        <dgm:cxn modelId="21" srcId="1" destId="16" srcOrd="5" destOrd="0"/>
      </dgm:cxnLst>
      <dgm:bg/>
      <dgm:whole/>
    </dgm:dataModel>
  </dgm:clrData>
  <dgm:layoutNode name="Name0">
    <dgm:varLst>
      <dgm:chMax val="1"/>
      <dgm:dir/>
      <dgm:animLvl val="ctr"/>
      <dgm:resizeHandles val="exact"/>
    </dgm:varLst>
    <dgm:choose name="Name1">
      <dgm:if name="Name2" func="var" arg="dir" op="equ" val="norm">
        <dgm:choose name="Name3">
          <dgm:if name="Name4" axis="ch ch" ptType="node node" st="1 1" cnt="1 0" func="cnt" op="lte" val="1">
            <dgm:alg type="cycle">
              <dgm:param type="stAng" val="90"/>
              <dgm:param type="spanAng" val="360"/>
              <dgm:param type="ctrShpMap" val="fNode"/>
            </dgm:alg>
          </dgm:if>
          <dgm:else name="Name5">
            <dgm:alg type="cycle">
              <dgm:param type="stAng" val="0"/>
              <dgm:param type="spanAng" val="360"/>
              <dgm:param type="ctrShpMap" val="fNode"/>
            </dgm:alg>
          </dgm:else>
        </dgm:choose>
      </dgm:if>
      <dgm:else name="Name6">
        <dgm:choose name="Name7">
          <dgm:if name="Name8" axis="ch ch" ptType="node node" st="1 1" cnt="1 0" func="cnt" op="lte" val="1">
            <dgm:alg type="cycle">
              <dgm:param type="stAng" val="-90"/>
              <dgm:param type="spanAng" val="360"/>
              <dgm:param type="ctrShpMap" val="fNode"/>
            </dgm:alg>
          </dgm:if>
          <dgm:else name="Name9">
            <dgm:alg type="cycle">
              <dgm:param type="stAng" val="0"/>
              <dgm:param type="spanAng" val="-360"/>
              <dgm:param type="ctrShpMap" val="fNode"/>
            </dgm:alg>
          </dgm:else>
        </dgm:choose>
      </dgm:else>
    </dgm:choose>
    <dgm:shape xmlns:r="http://schemas.openxmlformats.org/officeDocument/2006/relationships" r:blip="">
      <dgm:adjLst/>
    </dgm:shape>
    <dgm:presOf/>
    <dgm:choose name="Name10">
      <dgm:if name="Name11" func="var" arg="dir" op="equ" val="norm">
        <dgm:choose name="Name12">
          <dgm:if name="Name13" axis="ch ch" ptType="node node" st="1 1" cnt="1 0" func="cnt" op="equ" val="1">
            <dgm:constrLst>
              <dgm:constr type="diam" val="170"/>
              <dgm:constr type="w" for="ch" forName="centerShape" refType="w"/>
              <dgm:constr type="w" for="ch" forName="oneComp" refType="w" refFor="ch" refForName="centerShape" op="equ" fact="0.7"/>
              <dgm:constr type="sp" refType="w" refFor="ch" refForName="oneComp" fact="0.3"/>
              <dgm:constr type="sibSp" refType="w" refFor="ch" refForName="oneComp" fact="0.3"/>
              <dgm:constr type="primFontSz" for="ch" forName="centerShape" val="65"/>
              <dgm:constr type="primFontSz" for="des" forName="oneNode" refType="primFontSz" refFor="ch" refForName="centerShape" fact="0.95"/>
              <dgm:constr type="primFontSz" for="des" forName="oneNode" refType="primFontSz" refFor="ch" refForName="centerShape" op="lte" fact="0.95"/>
              <dgm:constr type="diam" for="ch" forName="singleconn" refType="diam" op="equ" fact="-1"/>
              <dgm:constr type="h" for="ch" forName="singleconn" refType="w" refFor="ch" refForName="oneComp" fact="0.24"/>
              <dgm:constr type="w" for="ch" forName="dummya" refType="w" refFor="ch" refForName="oneComp" op="equ"/>
              <dgm:constr type="w" for="ch" forName="dummyb" refType="w" refFor="ch" refForName="oneComp" op="equ"/>
              <dgm:constr type="w" for="ch" forName="dummyc" refType="w" refFor="ch" refForName="oneComp" op="equ"/>
            </dgm:constrLst>
          </dgm:if>
          <dgm:else name="Name14">
            <dgm:constrLst>
              <dgm:constr type="diam" val="170"/>
              <dgm:constr type="w" for="ch" forName="centerShape" refType="w"/>
              <dgm:constr type="w" for="ch" forName="node" refType="w" refFor="ch" refForName="centerShape" op="equ" fact="0.7"/>
              <dgm:constr type="sp" refType="w" refFor="ch" refForName="node" fact="0.3"/>
              <dgm:constr type="sibSp" refType="w" refFor="ch" refForName="node" fact="0.3"/>
              <dgm:constr type="primFontSz" for="ch" forName="centerShape" val="65"/>
              <dgm:constr type="primFontSz" for="des" forName="node" refType="primFontSz" refFor="ch" refForName="centerShape" fact="0.78"/>
              <dgm:constr type="primFontSz" for="ch" forName="node" refType="primFontSz" refFor="ch" refForName="centerShape" op="lte" fact="0.95"/>
              <dgm:constr type="diam" for="ch" forName="sibTrans" refType="diam" op="equ"/>
              <dgm:constr type="h" for="ch" forName="sibTrans" refType="w" refFor="ch" refForName="node" fact="0.24"/>
              <dgm:constr type="w" for="ch" forName="dummy" val="1"/>
            </dgm:constrLst>
          </dgm:else>
        </dgm:choose>
      </dgm:if>
      <dgm:else name="Name15">
        <dgm:choose name="Name16">
          <dgm:if name="Name17" axis="ch ch" ptType="node node" st="1 1" cnt="1 0" func="cnt" op="equ" val="1">
            <dgm:constrLst>
              <dgm:constr type="diam" val="170"/>
              <dgm:constr type="w" for="ch" forName="centerShape" refType="w"/>
              <dgm:constr type="w" for="ch" forName="oneComp" refType="w" refFor="ch" refForName="centerShape" op="equ" fact="0.7"/>
              <dgm:constr type="sp" refType="w" refFor="ch" refForName="oneComp" fact="0.3"/>
              <dgm:constr type="sibSp" refType="w" refFor="ch" refForName="oneComp" fact="0.3"/>
              <dgm:constr type="primFontSz" for="ch" forName="centerShape" val="65"/>
              <dgm:constr type="primFontSz" for="des" forName="oneNode" refType="primFontSz" refFor="ch" refForName="centerShape" fact="0.95"/>
              <dgm:constr type="primFontSz" for="ch" forName="oneNode" refType="primFontSz" refFor="ch" refForName="centerShape" op="lte" fact="0.95"/>
              <dgm:constr type="diam" for="ch" forName="singleconn" refType="diam"/>
              <dgm:constr type="h" for="ch" forName="singleconn" refType="w" refFor="ch" refForName="oneComp" fact="0.24"/>
              <dgm:constr type="diam" for="ch" refType="diam" op="equ"/>
              <dgm:constr type="w" for="ch" forName="dummya" refType="w" refFor="ch" refForName="oneComp" op="equ"/>
              <dgm:constr type="w" for="ch" forName="dummyb" refType="w" refFor="ch" refForName="oneComp" op="equ"/>
              <dgm:constr type="w" for="ch" forName="dummyc" refType="w" refFor="ch" refForName="oneComp" op="equ"/>
            </dgm:constrLst>
          </dgm:if>
          <dgm:else name="Name18">
            <dgm:constrLst>
              <dgm:constr type="diam" val="170"/>
              <dgm:constr type="w" for="ch" forName="centerShape" refType="w"/>
              <dgm:constr type="w" for="ch" forName="node" refType="w" refFor="ch" refForName="centerShape" op="equ" fact="0.7"/>
              <dgm:constr type="sp" refType="w" refFor="ch" refForName="node" fact="0.3"/>
              <dgm:constr type="sibSp" refType="w" refFor="ch" refForName="node" fact="0.3"/>
              <dgm:constr type="primFontSz" for="ch" forName="centerShape" val="65"/>
              <dgm:constr type="primFontSz" for="des" forName="node" refType="primFontSz" refFor="ch" refForName="centerShape" fact="0.78"/>
              <dgm:constr type="primFontSz" for="ch" forName="node" refType="primFontSz" refFor="ch" refForName="centerShape" op="lte" fact="0.95"/>
              <dgm:constr type="diam" for="ch" ptType="sibTrans" refType="diam" fact="-1"/>
              <dgm:constr type="h" for="ch" forName="sibTrans" refType="w" refFor="ch" refForName="node" fact="0.24"/>
              <dgm:constr type="diam" for="ch" refType="diam" op="equ" fact="-1"/>
              <dgm:constr type="w" for="ch" forName="dummy" val="1"/>
            </dgm:constrLst>
          </dgm:else>
        </dgm:choose>
      </dgm:else>
    </dgm:choose>
    <dgm:ruleLst>
      <dgm:rule type="diam" val="INF" fact="NaN" max="NaN"/>
    </dgm:ruleLst>
    <dgm:forEach name="Name19" axis="ch" ptType="node" cnt="1">
      <dgm:layoutNode name="centerShape" styleLbl="node0">
        <dgm:alg type="tx"/>
        <dgm:shape xmlns:r="http://schemas.openxmlformats.org/officeDocument/2006/relationships" type="ellipse" r:blip="">
          <dgm:adjLst/>
        </dgm:shape>
        <dgm:presOf axis="self"/>
        <dgm:constrLst>
          <dgm:constr type="h" refType="w"/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forEach name="Name20" axis="ch">
        <dgm:forEach name="Name21" axis="self" ptType="node">
          <dgm:choose name="Name22">
            <dgm:if name="Name23" axis="par ch" ptType="node node" func="cnt" op="gt" val="1">
              <dgm:layoutNode name="node" styleLbl="node1">
                <dgm:varLst>
                  <dgm:bulletEnabled val="1"/>
                </dgm:varLst>
                <dgm:alg type="tx">
                  <dgm:param type="txAnchorVertCh" val="mid"/>
                </dgm:alg>
                <dgm:shape xmlns:r="http://schemas.openxmlformats.org/officeDocument/2006/relationships" type="ellipse" r:blip="">
                  <dgm:adjLst/>
                </dgm:shape>
                <dgm:presOf axis="desOrSelf" ptType="node"/>
                <dgm:constrLst>
                  <dgm:constr type="h" refType="w"/>
                  <dgm:constr type="tMarg" refType="primFontSz" fact="0.1"/>
                  <dgm:constr type="bMarg" refType="primFontSz" fact="0.1"/>
                  <dgm:constr type="lMarg" refType="primFontSz" fact="0.1"/>
                  <dgm:constr type="rMarg" refType="primFontSz" fact="0.1"/>
                </dgm:constrLst>
                <dgm:ruleLst>
                  <dgm:rule type="primFontSz" val="5" fact="NaN" max="NaN"/>
                </dgm:ruleLst>
              </dgm:layoutNode>
              <dgm:layoutNode name="dummy">
                <dgm:alg type="sp"/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</dgm:constrLst>
                <dgm:ruleLst/>
              </dgm:layoutNode>
              <dgm:forEach name="sibTransForEach" axis="followSib" ptType="sibTrans" hideLastTrans="0" cnt="1">
                <dgm:layoutNode name="sibTrans" styleLbl="sibTrans2D1">
                  <dgm:alg type="conn">
                    <dgm:param type="connRout" val="curve"/>
                    <dgm:param type="begPts" val="ctr"/>
                    <dgm:param type="endPts" val="ctr"/>
                    <dgm:param type="begSty" val="noArr"/>
                    <dgm:param type="endSty" val="noArr"/>
                    <dgm:param type="dstNode" val="node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</dgm:if>
            <dgm:if name="Name24" axis="par ch" ptType="node node" func="cnt" op="equ" val="1">
              <dgm:layoutNode name="oneComp">
                <dgm:alg type="composite">
                  <dgm:param type="ar" val="1"/>
                </dgm:alg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  <dgm:constr type="l" for="ch" forName="dummyConnPt" refType="w" fact="0.5"/>
                  <dgm:constr type="t" for="ch" forName="dummyConnPt" refType="w" fact="0.5"/>
                  <dgm:constr type="l" for="ch" forName="oneNode"/>
                  <dgm:constr type="t" for="ch" forName="oneNode"/>
                  <dgm:constr type="h" for="ch" forName="oneNode" refType="h"/>
                  <dgm:constr type="w" for="ch" forName="oneNode" refType="w"/>
                </dgm:constrLst>
                <dgm:ruleLst/>
                <dgm:layoutNode name="dummyConnPt" styleLbl="node1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w" val="1"/>
                    <dgm:constr type="h" val="1"/>
                  </dgm:constrLst>
                  <dgm:ruleLst/>
                </dgm:layoutNode>
                <dgm:layoutNode name="oneNode" styleLbl="node1">
                  <dgm:varLst>
                    <dgm:bulletEnabled val="1"/>
                  </dgm:varLst>
                  <dgm:alg type="tx">
                    <dgm:param type="txAnchorVertCh" val="mid"/>
                  </dgm:alg>
                  <dgm:shape xmlns:r="http://schemas.openxmlformats.org/officeDocument/2006/relationships" type="ellipse" r:blip="">
                    <dgm:adjLst/>
                  </dgm:shape>
                  <dgm:presOf axis="desOrSelf" ptType="node"/>
                  <dgm:constrLst>
                    <dgm:constr type="h" refType="w"/>
                    <dgm:constr type="tMarg" refType="primFontSz" fact="0.1"/>
                    <dgm:constr type="bMarg" refType="primFontSz" fact="0.1"/>
                    <dgm:constr type="lMarg" refType="primFontSz" fact="0.1"/>
                    <dgm:constr type="rMarg" refType="primFontSz" fact="0.1"/>
                  </dgm:constrLst>
                  <dgm:ruleLst>
                    <dgm:rule type="primFontSz" val="5" fact="NaN" max="NaN"/>
                  </dgm:ruleLst>
                </dgm:layoutNode>
              </dgm:layoutNode>
              <dgm:layoutNode name="dummya">
                <dgm:alg type="sp"/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</dgm:constrLst>
                <dgm:ruleLst/>
              </dgm:layoutNode>
              <dgm:layoutNode name="dummyb">
                <dgm:alg type="sp"/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</dgm:constrLst>
                <dgm:ruleLst/>
              </dgm:layoutNode>
              <dgm:layoutNode name="dummyc">
                <dgm:alg type="sp"/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</dgm:constrLst>
                <dgm:ruleLst/>
              </dgm:layoutNode>
              <dgm:forEach name="sibTransForEach1" axis="followSib" ptType="sibTrans" hideLastTrans="0" cnt="1">
                <dgm:layoutNode name="singleconn" styleLbl="sibTrans2D1">
                  <dgm:alg type="conn">
                    <dgm:param type="connRout" val="longCurve"/>
                    <dgm:param type="begPts" val="bCtr"/>
                    <dgm:param type="endPts" val="tCtr"/>
                    <dgm:param type="begSty" val="noArr"/>
                    <dgm:param type="endSty" val="noArr"/>
                    <dgm:param type="srcNode" val="dummyConnPt"/>
                    <dgm:param type="dstNode" val="dummyConnPt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</dgm:if>
            <dgm:else name="Name25"/>
          </dgm:choose>
        </dgm:forEach>
      </dgm:forEach>
    </dgm:forEach>
  </dgm:layoutNode>
</dgm:layoutDef>
</file>

<file path=ppt/diagrams/layout16.xml><?xml version="1.0" encoding="utf-8"?>
<dgm:layoutDef xmlns:dgm="http://schemas.openxmlformats.org/drawingml/2006/diagram" xmlns:a="http://schemas.openxmlformats.org/drawingml/2006/main" uniqueId="urn:microsoft.com/office/officeart/2005/8/layout/cycle2">
  <dgm:title val=""/>
  <dgm:desc val=""/>
  <dgm:catLst>
    <dgm:cat type="cycle" pri="1000"/>
    <dgm:cat type="convert" pri="1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  <dgm:pt modelId="3"/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cycle">
    <dgm:varLst>
      <dgm:dir/>
      <dgm:resizeHandles val="exact"/>
    </dgm:varLst>
    <dgm:choose name="Name0">
      <dgm:if name="Name1" func="var" arg="dir" op="equ" val="norm">
        <dgm:choose name="Name2">
          <dgm:if name="Name3" axis="ch" ptType="node" func="cnt" op="gt" val="2">
            <dgm:alg type="cycle">
              <dgm:param type="stAng" val="0"/>
              <dgm:param type="spanAng" val="360"/>
            </dgm:alg>
          </dgm:if>
          <dgm:else name="Name4">
            <dgm:alg type="cycle">
              <dgm:param type="stAng" val="-90"/>
              <dgm:param type="spanAng" val="360"/>
            </dgm:alg>
          </dgm:else>
        </dgm:choose>
      </dgm:if>
      <dgm:else name="Name5">
        <dgm:choose name="Name6">
          <dgm:if name="Name7" axis="ch" ptType="node" func="cnt" op="gt" val="2">
            <dgm:alg type="cycle">
              <dgm:param type="stAng" val="0"/>
              <dgm:param type="spanAng" val="-360"/>
            </dgm:alg>
          </dgm:if>
          <dgm:else name="Name8">
            <dgm:alg type="cycle">
              <dgm:param type="stAng" val="90"/>
              <dgm:param type="spanAng" val="-360"/>
            </dgm:alg>
          </dgm:else>
        </dgm:choose>
      </dgm:else>
    </dgm:choose>
    <dgm:shape xmlns:r="http://schemas.openxmlformats.org/officeDocument/2006/relationships" r:blip="">
      <dgm:adjLst/>
    </dgm:shape>
    <dgm:presOf/>
    <dgm:constrLst>
      <dgm:constr type="w" for="ch" ptType="node" refType="w"/>
      <dgm:constr type="w" for="ch" ptType="sibTrans" refType="w" refFor="ch" refPtType="node" op="equ" fact="0.25"/>
      <dgm:constr type="sibSp" refType="w" refFor="ch" refPtType="node" fact="0.5"/>
      <dgm:constr type="primFontSz" for="ch" ptType="node" op="equ" val="65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alg type="tx">
          <dgm:param type="txAnchorVertCh" val="mid"/>
        </dgm:alg>
        <dgm:shape xmlns:r="http://schemas.openxmlformats.org/officeDocument/2006/relationships" type="ellipse" r:blip="">
          <dgm:adjLst/>
        </dgm:shape>
        <dgm:presOf axis="desOrSelf" ptType="node"/>
        <dgm:constrLst>
          <dgm:constr type="h" refType="w"/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  <dgm:choose name="Name9">
        <dgm:if name="Name10" axis="par ch" ptType="doc node" func="cnt" op="gt" val="1">
          <dgm:forEach name="sibTransForEach" axis="followSib" ptType="sibTrans" hideLastTrans="0" cnt="1">
            <dgm:layoutNode name="sibTrans">
              <dgm:choose name="Name11">
                <dgm:if name="Name12" axis="par ch" ptType="doc node" func="cnt" op="lt" val="3">
                  <dgm:alg type="conn">
                    <dgm:param type="begPts" val="radial"/>
                    <dgm:param type="endPts" val="radial"/>
                  </dgm:alg>
                </dgm:if>
                <dgm:else name="Name13">
                  <dgm:alg type="conn">
                    <dgm:param type="begPts" val="auto"/>
                    <dgm:param type="endPts" val="auto"/>
                  </dgm:alg>
                </dgm:else>
              </dgm:choose>
              <dgm:shape xmlns:r="http://schemas.openxmlformats.org/officeDocument/2006/relationships" type="conn" r:blip="">
                <dgm:adjLst/>
              </dgm:shape>
              <dgm:presOf axis="self"/>
              <dgm:constrLst>
                <dgm:constr type="h" refType="w" fact="1.35"/>
                <dgm:constr type="connDist"/>
                <dgm:constr type="w" for="ch" refType="connDist" fact="0.45"/>
                <dgm:constr type="h" for="ch" refType="h"/>
              </dgm:constrLst>
              <dgm:ruleLst/>
              <dgm:layoutNode name="connectorText">
                <dgm:alg type="tx">
                  <dgm:param type="autoTxRot" val="grav"/>
                </dgm:alg>
                <dgm:shape xmlns:r="http://schemas.openxmlformats.org/officeDocument/2006/relationships" type="conn" r:blip="" hideGeom="1">
                  <dgm:adjLst/>
                </dgm:shape>
                <dgm:presOf axis="self"/>
                <dgm:constrLst>
                  <dgm:constr type="lMarg"/>
                  <dgm:constr type="rMarg"/>
                  <dgm:constr type="tMarg"/>
                  <dgm:constr type="bMarg"/>
                </dgm:constrLst>
                <dgm:ruleLst>
                  <dgm:rule type="primFontSz" val="5" fact="NaN" max="NaN"/>
                </dgm:ruleLst>
              </dgm:layoutNode>
            </dgm:layoutNode>
          </dgm:forEach>
        </dgm:if>
        <dgm:else name="Name14"/>
      </dgm:choose>
    </dgm:forEach>
  </dgm:layoutNode>
</dgm:layoutDef>
</file>

<file path=ppt/diagrams/layout17.xml><?xml version="1.0" encoding="utf-8"?>
<dgm:layoutDef xmlns:dgm="http://schemas.openxmlformats.org/drawingml/2006/diagram" xmlns:a="http://schemas.openxmlformats.org/drawingml/2006/main" uniqueId="urn:microsoft.com/office/officeart/2005/8/layout/matrix1">
  <dgm:title val=""/>
  <dgm:desc val=""/>
  <dgm:catLst>
    <dgm:cat type="matrix" pri="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  <dgm:cxn modelId="6" srcId="1" destId="14" srcOrd="3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3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3" destOrd="0"/>
      </dgm:cxnLst>
      <dgm:bg/>
      <dgm:whole/>
    </dgm:dataModel>
  </dgm:clrData>
  <dgm:layoutNode name="diagram">
    <dgm:varLst>
      <dgm:chMax val="1"/>
      <dgm:dir/>
      <dgm:animLvl val="ctr"/>
      <dgm:resizeHandles val="exact"/>
    </dgm:varLst>
    <dgm:alg type="composite"/>
    <dgm:shape xmlns:r="http://schemas.openxmlformats.org/officeDocument/2006/relationships" r:blip="">
      <dgm:adjLst/>
    </dgm:shape>
    <dgm:presOf/>
    <dgm:constrLst>
      <dgm:constr type="ctrX" for="ch" forName="matrix" refType="w" fact="0.5"/>
      <dgm:constr type="ctrY" for="ch" forName="matrix" refType="h" fact="0.5"/>
      <dgm:constr type="w" for="ch" forName="matrix" refType="w"/>
      <dgm:constr type="h" for="ch" forName="matrix" refType="h"/>
      <dgm:constr type="ctrX" for="ch" forName="centerTile" refType="w" fact="0.5"/>
      <dgm:constr type="ctrY" for="ch" forName="centerTile" refType="h" fact="0.5"/>
      <dgm:constr type="w" for="ch" forName="centerTile" refType="w" fact="0.3"/>
      <dgm:constr type="h" for="ch" forName="centerTile" refType="h" fact="0.25"/>
      <dgm:constr type="primFontSz" for="des" ptType="node" op="equ" val="65"/>
    </dgm:constrLst>
    <dgm:ruleLst/>
    <dgm:choose name="Name0">
      <dgm:if name="Name1" axis="ch" ptType="node" func="cnt" op="gte" val="1">
        <dgm:layoutNode name="matrix">
          <dgm:alg type="composite"/>
          <dgm:shape xmlns:r="http://schemas.openxmlformats.org/officeDocument/2006/relationships" r:blip="">
            <dgm:adjLst/>
          </dgm:shape>
          <dgm:presOf/>
          <dgm:constrLst>
            <dgm:constr type="l" for="ch" forName="tile1"/>
            <dgm:constr type="t" for="ch" forName="tile1"/>
            <dgm:constr type="r" for="ch" forName="tile1" refType="w" fact="0.5"/>
            <dgm:constr type="b" for="ch" forName="tile1" refType="h" fact="0.5"/>
            <dgm:constr type="l" for="ch" forName="tile1text" refType="l" refFor="ch" refForName="tile1"/>
            <dgm:constr type="t" for="ch" forName="tile1text" refType="t" refFor="ch" refForName="tile1"/>
            <dgm:constr type="w" for="ch" forName="tile1text" refType="w" refFor="ch" refForName="tile1"/>
            <dgm:constr type="h" for="ch" forName="tile1text" refType="h" refFor="ch" refForName="tile1" fact="0.75"/>
            <dgm:constr type="r" for="ch" forName="tile2" refType="w"/>
            <dgm:constr type="t" for="ch" forName="tile2"/>
            <dgm:constr type="l" for="ch" forName="tile2" refType="w" fact="0.5"/>
            <dgm:constr type="b" for="ch" forName="tile2" refType="h" fact="0.5"/>
            <dgm:constr type="r" for="ch" forName="tile2text" refType="r" refFor="ch" refForName="tile2"/>
            <dgm:constr type="t" for="ch" forName="tile2text" refType="t" refFor="ch" refForName="tile2"/>
            <dgm:constr type="w" for="ch" forName="tile2text" refType="w" refFor="ch" refForName="tile2"/>
            <dgm:constr type="h" for="ch" forName="tile2text" refType="h" refFor="ch" refForName="tile2" fact="0.75"/>
            <dgm:constr type="l" for="ch" forName="tile3"/>
            <dgm:constr type="b" for="ch" forName="tile3" refType="h"/>
            <dgm:constr type="r" for="ch" forName="tile3" refType="w" fact="0.5"/>
            <dgm:constr type="t" for="ch" forName="tile3" refType="h" fact="0.5"/>
            <dgm:constr type="l" for="ch" forName="tile3text" refType="l" refFor="ch" refForName="tile3"/>
            <dgm:constr type="b" for="ch" forName="tile3text" refType="b" refFor="ch" refForName="tile3"/>
            <dgm:constr type="w" for="ch" forName="tile3text" refType="w" refFor="ch" refForName="tile3"/>
            <dgm:constr type="h" for="ch" forName="tile3text" refType="h" refFor="ch" refForName="tile3" fact="0.75"/>
            <dgm:constr type="r" for="ch" forName="tile4" refType="w"/>
            <dgm:constr type="b" for="ch" forName="tile4" refType="h"/>
            <dgm:constr type="l" for="ch" forName="tile4" refType="w" fact="0.5"/>
            <dgm:constr type="t" for="ch" forName="tile4" refType="h" fact="0.5"/>
            <dgm:constr type="r" for="ch" forName="tile4text" refType="r" refFor="ch" refForName="tile4"/>
            <dgm:constr type="b" for="ch" forName="tile4text" refType="b" refFor="ch" refForName="tile4"/>
            <dgm:constr type="w" for="ch" forName="tile4text" refType="w" refFor="ch" refForName="tile4"/>
            <dgm:constr type="h" for="ch" forName="tile4text" refType="h" refFor="ch" refForName="tile4" fact="0.75"/>
          </dgm:constrLst>
          <dgm:ruleLst/>
          <dgm:layoutNode name="tile1" styleLbl="node1">
            <dgm:alg type="sp"/>
            <dgm:shape xmlns:r="http://schemas.openxmlformats.org/officeDocument/2006/relationships" rot="270" type="round1Rect" r:blip="">
              <dgm:adjLst/>
            </dgm:shape>
            <dgm:choose name="Name2">
              <dgm:if name="Name3" func="var" arg="dir" op="equ" val="norm">
                <dgm:presOf axis="ch ch desOrSelf" ptType="node node node" st="1 1 1" cnt="1 1 0"/>
              </dgm:if>
              <dgm:else name="Name4">
                <dgm:presOf axis="ch ch desOrSelf" ptType="node node node" st="1 2 1" cnt="1 1 0"/>
              </dgm:else>
            </dgm:choose>
            <dgm:constrLst/>
            <dgm:ruleLst/>
          </dgm:layoutNode>
          <dgm:layoutNode name="tile1text" styleLbl="node1">
            <dgm:varLst>
              <dgm:chMax val="0"/>
              <dgm:chPref val="0"/>
              <dgm:bulletEnabled val="1"/>
            </dgm:varLst>
            <dgm:choose name="Name5">
              <dgm:if name="Name6" axis="root des" func="maxDepth" op="gte" val="3">
                <dgm:alg type="tx">
                  <dgm:param type="txAnchorVert" val="t"/>
                  <dgm:param type="parTxLTRAlign" val="l"/>
                  <dgm:param type="parTxRTLAlign" val="r"/>
                </dgm:alg>
              </dgm:if>
              <dgm:else name="Name7">
                <dgm:alg type="tx"/>
              </dgm:else>
            </dgm:choose>
            <dgm:shape xmlns:r="http://schemas.openxmlformats.org/officeDocument/2006/relationships" rot="270" type="rect" r:blip="" hideGeom="1">
              <dgm:adjLst>
                <dgm:adj idx="1" val="0.2"/>
              </dgm:adjLst>
            </dgm:shape>
            <dgm:choose name="Name8">
              <dgm:if name="Name9" func="var" arg="dir" op="equ" val="norm">
                <dgm:presOf axis="ch ch desOrSelf" ptType="node node node" st="1 1 1" cnt="1 1 0"/>
              </dgm:if>
              <dgm:else name="Name10">
                <dgm:presOf axis="ch ch desOrSelf" ptType="node node node" st="1 2 1" cnt="1 1 0"/>
              </dgm:else>
            </dgm:choose>
            <dgm:constrLst/>
            <dgm:ruleLst>
              <dgm:rule type="primFontSz" val="5" fact="NaN" max="NaN"/>
            </dgm:ruleLst>
          </dgm:layoutNode>
          <dgm:layoutNode name="tile2" styleLbl="node1">
            <dgm:alg type="sp"/>
            <dgm:shape xmlns:r="http://schemas.openxmlformats.org/officeDocument/2006/relationships" type="round1Rect" r:blip="">
              <dgm:adjLst/>
            </dgm:shape>
            <dgm:choose name="Name11">
              <dgm:if name="Name12" func="var" arg="dir" op="equ" val="norm">
                <dgm:presOf axis="ch ch desOrSelf" ptType="node node node" st="1 2 1" cnt="1 1 0"/>
              </dgm:if>
              <dgm:else name="Name13">
                <dgm:presOf axis="ch ch desOrSelf" ptType="node node node" st="1 1 1" cnt="1 1 0"/>
              </dgm:else>
            </dgm:choose>
            <dgm:constrLst/>
            <dgm:ruleLst/>
          </dgm:layoutNode>
          <dgm:layoutNode name="tile2text" styleLbl="node1">
            <dgm:varLst>
              <dgm:chMax val="0"/>
              <dgm:chPref val="0"/>
              <dgm:bulletEnabled val="1"/>
            </dgm:varLst>
            <dgm:choose name="Name14">
              <dgm:if name="Name15" axis="root des" func="maxDepth" op="gte" val="3">
                <dgm:alg type="tx">
                  <dgm:param type="txAnchorVert" val="t"/>
                  <dgm:param type="parTxLTRAlign" val="l"/>
                  <dgm:param type="parTxRTLAlign" val="r"/>
                </dgm:alg>
              </dgm:if>
              <dgm:else name="Name16">
                <dgm:alg type="tx"/>
              </dgm:else>
            </dgm:choose>
            <dgm:shape xmlns:r="http://schemas.openxmlformats.org/officeDocument/2006/relationships" type="rect" r:blip="" hideGeom="1">
              <dgm:adjLst/>
            </dgm:shape>
            <dgm:choose name="Name17">
              <dgm:if name="Name18" func="var" arg="dir" op="equ" val="norm">
                <dgm:presOf axis="ch ch desOrSelf" ptType="node node node" st="1 2 1" cnt="1 1 0"/>
              </dgm:if>
              <dgm:else name="Name19">
                <dgm:presOf axis="ch ch desOrSelf" ptType="node node node" st="1 1 1" cnt="1 1 0"/>
              </dgm:else>
            </dgm:choose>
            <dgm:constrLst/>
            <dgm:ruleLst>
              <dgm:rule type="primFontSz" val="5" fact="NaN" max="NaN"/>
            </dgm:ruleLst>
          </dgm:layoutNode>
          <dgm:layoutNode name="tile3" styleLbl="node1">
            <dgm:alg type="sp"/>
            <dgm:shape xmlns:r="http://schemas.openxmlformats.org/officeDocument/2006/relationships" rot="180" type="round1Rect" r:blip="">
              <dgm:adjLst/>
            </dgm:shape>
            <dgm:choose name="Name20">
              <dgm:if name="Name21" func="var" arg="dir" op="equ" val="norm">
                <dgm:presOf axis="ch ch desOrSelf" ptType="node node node" st="1 3 1" cnt="1 1 0"/>
              </dgm:if>
              <dgm:else name="Name22">
                <dgm:presOf axis="ch ch desOrSelf" ptType="node node node" st="1 4 1" cnt="1 1 0"/>
              </dgm:else>
            </dgm:choose>
            <dgm:constrLst/>
            <dgm:ruleLst/>
          </dgm:layoutNode>
          <dgm:layoutNode name="tile3text" styleLbl="node1">
            <dgm:varLst>
              <dgm:chMax val="0"/>
              <dgm:chPref val="0"/>
              <dgm:bulletEnabled val="1"/>
            </dgm:varLst>
            <dgm:choose name="Name23">
              <dgm:if name="Name24" axis="root des" func="maxDepth" op="gte" val="3">
                <dgm:alg type="tx">
                  <dgm:param type="txAnchorVert" val="t"/>
                  <dgm:param type="parTxLTRAlign" val="l"/>
                  <dgm:param type="parTxRTLAlign" val="r"/>
                </dgm:alg>
              </dgm:if>
              <dgm:else name="Name25">
                <dgm:alg type="tx"/>
              </dgm:else>
            </dgm:choose>
            <dgm:shape xmlns:r="http://schemas.openxmlformats.org/officeDocument/2006/relationships" rot="180" type="rect" r:blip="" hideGeom="1">
              <dgm:adjLst/>
            </dgm:shape>
            <dgm:choose name="Name26">
              <dgm:if name="Name27" func="var" arg="dir" op="equ" val="norm">
                <dgm:presOf axis="ch ch desOrSelf" ptType="node node node" st="1 3 1" cnt="1 1 0"/>
              </dgm:if>
              <dgm:else name="Name28">
                <dgm:presOf axis="ch ch desOrSelf" ptType="node node node" st="1 4 1" cnt="1 1 0"/>
              </dgm:else>
            </dgm:choose>
            <dgm:constrLst/>
            <dgm:ruleLst>
              <dgm:rule type="primFontSz" val="5" fact="NaN" max="NaN"/>
            </dgm:ruleLst>
          </dgm:layoutNode>
          <dgm:layoutNode name="tile4" styleLbl="node1">
            <dgm:alg type="sp"/>
            <dgm:shape xmlns:r="http://schemas.openxmlformats.org/officeDocument/2006/relationships" rot="90" type="round1Rect" r:blip="">
              <dgm:adjLst/>
            </dgm:shape>
            <dgm:choose name="Name29">
              <dgm:if name="Name30" func="var" arg="dir" op="equ" val="norm">
                <dgm:presOf axis="ch ch desOrSelf" ptType="node node node" st="1 4 1" cnt="1 1 0"/>
              </dgm:if>
              <dgm:else name="Name31">
                <dgm:presOf axis="ch ch desOrSelf" ptType="node node node" st="1 3 1" cnt="1 1 0"/>
              </dgm:else>
            </dgm:choose>
            <dgm:constrLst/>
            <dgm:ruleLst/>
          </dgm:layoutNode>
          <dgm:layoutNode name="tile4text" styleLbl="node1">
            <dgm:varLst>
              <dgm:chMax val="0"/>
              <dgm:chPref val="0"/>
              <dgm:bulletEnabled val="1"/>
            </dgm:varLst>
            <dgm:choose name="Name32">
              <dgm:if name="Name33" axis="root des" func="maxDepth" op="gte" val="3">
                <dgm:alg type="tx">
                  <dgm:param type="txAnchorVert" val="t"/>
                  <dgm:param type="parTxLTRAlign" val="l"/>
                  <dgm:param type="parTxRTLAlign" val="r"/>
                </dgm:alg>
              </dgm:if>
              <dgm:else name="Name34">
                <dgm:alg type="tx"/>
              </dgm:else>
            </dgm:choose>
            <dgm:shape xmlns:r="http://schemas.openxmlformats.org/officeDocument/2006/relationships" rot="90" type="rect" r:blip="" hideGeom="1">
              <dgm:adjLst/>
            </dgm:shape>
            <dgm:choose name="Name35">
              <dgm:if name="Name36" func="var" arg="dir" op="equ" val="norm">
                <dgm:presOf axis="ch ch desOrSelf" ptType="node node node" st="1 4 1" cnt="1 1 0"/>
              </dgm:if>
              <dgm:else name="Name37">
                <dgm:presOf axis="ch ch desOrSelf" ptType="node node node" st="1 3 1" cnt="1 1 0"/>
              </dgm:else>
            </dgm:choose>
            <dgm:constrLst/>
            <dgm:ruleLst>
              <dgm:rule type="primFontSz" val="5" fact="NaN" max="NaN"/>
            </dgm:ruleLst>
          </dgm:layoutNode>
        </dgm:layoutNode>
        <dgm:layoutNode name="centerTile" styleLbl="fgShp">
          <dgm:varLst>
            <dgm:chMax val="0"/>
            <dgm:chPref val="0"/>
          </dgm:varLst>
          <dgm:alg type="tx"/>
          <dgm:shape xmlns:r="http://schemas.openxmlformats.org/officeDocument/2006/relationships" type="roundRect" r:blip="">
            <dgm:adjLst/>
          </dgm:shape>
          <dgm:presOf axis="ch" ptType="node" cnt="1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</dgm:if>
      <dgm:else name="Name38"/>
    </dgm:choose>
  </dgm:layoutNode>
</dgm:layoutDef>
</file>

<file path=ppt/diagrams/layout18.xml><?xml version="1.0" encoding="utf-8"?>
<dgm:layoutDef xmlns:dgm="http://schemas.openxmlformats.org/drawingml/2006/diagram" xmlns:a="http://schemas.openxmlformats.org/drawingml/2006/main" uniqueId="urn:microsoft.com/office/officeart/2008/layout/VerticalCurvedList">
  <dgm:title val=""/>
  <dgm:desc val=""/>
  <dgm:catLst>
    <dgm:cat type="list" pri="2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chPref val="7"/>
      <dgm:dir/>
    </dgm:varLst>
    <dgm:alg type="composite"/>
    <dgm:shape xmlns:r="http://schemas.openxmlformats.org/officeDocument/2006/relationships" r:blip="">
      <dgm:adjLst/>
    </dgm:shape>
    <dgm:constrLst>
      <dgm:constr type="w" for="ch" refType="h" refFor="ch" op="gte" fact="0.8"/>
    </dgm:constrLst>
    <dgm:layoutNode name="Name1">
      <dgm:alg type="composite"/>
      <dgm:shape xmlns:r="http://schemas.openxmlformats.org/officeDocument/2006/relationships" r:blip="">
        <dgm:adjLst/>
      </dgm:shape>
      <dgm:choose name="Name2">
        <dgm:if name="Name3" func="var" arg="dir" op="equ" val="norm">
          <dgm:choose name="Name4">
            <dgm:if name="Name5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h" fact="0.225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primFontSz" for="ch" ptType="node" op="equ" val="65"/>
              </dgm:constrLst>
            </dgm:if>
            <dgm:if name="Name6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h" fact="0.1891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h" fact="0.1891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primFontSz" for="ch" ptType="node" op="equ" val="65"/>
              </dgm:constrLst>
            </dgm:if>
            <dgm:if name="Name7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h" fact="0.1526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h" fact="0.2253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h" fact="0.1526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primFontSz" for="ch" ptType="node" op="equ" val="65"/>
              </dgm:constrLst>
            </dgm:if>
            <dgm:if name="Name8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h" fact="0.1268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h" fact="0.215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h" fact="0.21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h" fact="0.126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primFontSz" for="ch" ptType="node" op="equ" val="65"/>
              </dgm:constrLst>
            </dgm:if>
            <dgm:if name="Name9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h" fact="0.1082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h" fact="0.197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h" fact="0.2253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h" fact="0.197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h" fact="0.1082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primFontSz" for="ch" ptType="node" op="equ" val="65"/>
              </dgm:constrLst>
            </dgm:if>
            <dgm:if name="Name10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h" fact="0.094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h" fact="0.1809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h" fact="0.220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h" fact="0.2205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h" fact="0.18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h" fact="0.0943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primFontSz" for="ch" ptType="node" op="equ" val="65"/>
              </dgm:constrLst>
            </dgm:if>
            <dgm:else name="Name1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h" fact="0.0835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h" fact="0.165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h" fact="0.2109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h" fact="0.2253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h" fact="0.21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h" fact="0.1658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h" fact="0.0835"/>
                <dgm:constr type="l" for="ch" forName="text_7" refType="ctrX" refFor="ch" refForName="accent_7"/>
                <dgm:constr type="r" for="ch" forName="text_7" refType="w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lMarg" for="ch" forName="text_7" refType="w" refFor="ch" refForName="accent_7" fact="1.8"/>
                <dgm:constr type="primFontSz" for="ch" ptType="node" op="equ" val="65"/>
              </dgm:constrLst>
            </dgm:else>
          </dgm:choose>
        </dgm:if>
        <dgm:else name="Name12">
          <dgm:choose name="Name13">
            <dgm:if name="Name14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w"/>
                <dgm:constr type="ctrXOff" for="ch" forName="accent_1" refType="h" fact="-0.225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primFontSz" for="ch" ptType="node" op="equ" val="65"/>
              </dgm:constrLst>
            </dgm:if>
            <dgm:if name="Name15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w"/>
                <dgm:constr type="ctrXOff" for="ch" forName="accent_1" refType="h" fact="-0.1891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w"/>
                <dgm:constr type="ctrXOff" for="ch" forName="accent_2" refType="h" fact="-0.1891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primFontSz" for="ch" ptType="node" op="equ" val="65"/>
              </dgm:constrLst>
            </dgm:if>
            <dgm:if name="Name16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w"/>
                <dgm:constr type="ctrXOff" for="ch" forName="accent_1" refType="h" fact="-0.1526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w"/>
                <dgm:constr type="ctrXOff" for="ch" forName="accent_2" refType="h" fact="-0.2253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w"/>
                <dgm:constr type="ctrXOff" for="ch" forName="accent_3" refType="h" fact="-0.1526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primFontSz" for="ch" ptType="node" op="equ" val="65"/>
              </dgm:constrLst>
            </dgm:if>
            <dgm:if name="Name17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w"/>
                <dgm:constr type="ctrXOff" for="ch" forName="accent_1" refType="h" fact="-0.1268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w"/>
                <dgm:constr type="ctrXOff" for="ch" forName="accent_2" refType="h" fact="-0.215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w"/>
                <dgm:constr type="ctrXOff" for="ch" forName="accent_3" refType="h" fact="-0.21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w"/>
                <dgm:constr type="ctrXOff" for="ch" forName="accent_4" refType="h" fact="-0.126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primFontSz" for="ch" ptType="node" op="equ" val="65"/>
              </dgm:constrLst>
            </dgm:if>
            <dgm:if name="Name18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w"/>
                <dgm:constr type="ctrXOff" for="ch" forName="accent_1" refType="h" fact="-0.1082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w"/>
                <dgm:constr type="ctrXOff" for="ch" forName="accent_2" refType="h" fact="-0.197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w"/>
                <dgm:constr type="ctrXOff" for="ch" forName="accent_3" refType="h" fact="-0.2253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w"/>
                <dgm:constr type="ctrXOff" for="ch" forName="accent_4" refType="h" fact="-0.197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w"/>
                <dgm:constr type="ctrXOff" for="ch" forName="accent_5" refType="h" fact="-0.1082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primFontSz" for="ch" ptType="node" op="equ" val="65"/>
              </dgm:constrLst>
            </dgm:if>
            <dgm:if name="Name19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w"/>
                <dgm:constr type="ctrXOff" for="ch" forName="accent_1" refType="h" fact="-0.094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w"/>
                <dgm:constr type="ctrXOff" for="ch" forName="accent_2" refType="h" fact="-0.1809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w"/>
                <dgm:constr type="ctrXOff" for="ch" forName="accent_3" refType="h" fact="-0.220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w"/>
                <dgm:constr type="ctrXOff" for="ch" forName="accent_4" refType="h" fact="-0.2205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w"/>
                <dgm:constr type="ctrXOff" for="ch" forName="accent_5" refType="h" fact="-0.18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w"/>
                <dgm:constr type="ctrXOff" for="ch" forName="accent_6" refType="h" fact="-0.0943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primFontSz" for="ch" ptType="node" op="equ" val="65"/>
              </dgm:constrLst>
            </dgm:if>
            <dgm:else name="Name20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w"/>
                <dgm:constr type="ctrXOff" for="ch" forName="accent_1" refType="h" fact="-0.0835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w"/>
                <dgm:constr type="ctrXOff" for="ch" forName="accent_2" refType="h" fact="-0.165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w"/>
                <dgm:constr type="ctrXOff" for="ch" forName="accent_3" refType="h" fact="-0.2109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w"/>
                <dgm:constr type="ctrXOff" for="ch" forName="accent_4" refType="h" fact="-0.2253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w"/>
                <dgm:constr type="ctrXOff" for="ch" forName="accent_5" refType="h" fact="-0.21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w"/>
                <dgm:constr type="ctrXOff" for="ch" forName="accent_6" refType="h" fact="-0.1658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w"/>
                <dgm:constr type="ctrXOff" for="ch" forName="accent_7" refType="h" fact="-0.0835"/>
                <dgm:constr type="r" for="ch" forName="text_7" refType="ctrX" refFor="ch" refForName="accent_7"/>
                <dgm:constr type="rOff" for="ch" forName="text_7" refType="ctrXOff" refFor="ch" refForName="accent_7"/>
                <dgm:constr type="l" for="ch" forName="text_7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rMarg" for="ch" forName="text_7" refType="w" refFor="ch" refForName="accent_7" fact="1.8"/>
                <dgm:constr type="primFontSz" for="ch" ptType="node" op="equ" val="65"/>
              </dgm:constrLst>
            </dgm:else>
          </dgm:choose>
        </dgm:else>
      </dgm:choose>
      <dgm:layoutNode name="cycle">
        <dgm:choose name="Name21">
          <dgm:if name="Name22" func="var" arg="dir" op="equ" val="norm">
            <dgm:alg type="cycle">
              <dgm:param type="stAng" val="45"/>
              <dgm:param type="spanAng" val="90"/>
            </dgm:alg>
          </dgm:if>
          <dgm:else name="Name23">
            <dgm:alg type="cycle">
              <dgm:param type="stAng" val="225"/>
              <dgm:param type="spanAng" val="90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val="1"/>
          <dgm:constr type="h" for="ch" val="1"/>
          <dgm:constr type="diam" for="ch" forName="conn" refType="diam"/>
        </dgm:constrLst>
        <dgm:layoutNode name="src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conn" styleLbl="parChTrans1D2">
          <dgm:alg type="conn">
            <dgm:param type="connRout" val="curve"/>
            <dgm:param type="srcNode" val="srcNode"/>
            <dgm:param type="dstNode" val="dstNode"/>
            <dgm:param type="begPts" val="ctr"/>
            <dgm:param type="endPts" val="ctr"/>
            <dgm:param type="endSty" val="noArr"/>
          </dgm:alg>
          <dgm:shape xmlns:r="http://schemas.openxmlformats.org/officeDocument/2006/relationships" type="conn" r:blip="">
            <dgm:adjLst/>
          </dgm:shape>
          <dgm:presOf axis="desOrSelf" ptType="sibTrans" hideLastTrans="0" st="0" cnt="1"/>
          <dgm:constrLst>
            <dgm:constr type="begPad"/>
            <dgm:constr type="endPad"/>
          </dgm:constrLst>
        </dgm:layoutNode>
        <dgm:layoutNode name="extra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dstNode">
          <dgm:alg type="sp"/>
          <dgm:shape xmlns:r="http://schemas.openxmlformats.org/officeDocument/2006/relationships" type="rect" r:blip="" hideGeom="1">
            <dgm:adjLst/>
          </dgm:shape>
          <dgm:presOf/>
        </dgm:layoutNode>
      </dgm:layoutNode>
      <dgm:forEach name="wrapper" axis="self" ptType="parTrans">
        <dgm:forEach name="wrapper2" axis="self" ptType="sibTrans" st="2">
          <dgm:forEach name="accentRepeat" axis="self">
            <dgm:layoutNode name="accentRepeatNode" styleLbl="solidFgAcc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</dgm:forEach>
        </dgm:forEach>
      </dgm:forEach>
      <dgm:forEach name="Name24" axis="ch" ptType="node" cnt="1">
        <dgm:layoutNode name="text_1" styleLbl="node1">
          <dgm:varLst>
            <dgm:bulletEnabled val="1"/>
          </dgm:varLst>
          <dgm:choose name="Name25">
            <dgm:if name="Name2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2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1">
          <dgm:alg type="sp"/>
          <dgm:shape xmlns:r="http://schemas.openxmlformats.org/officeDocument/2006/relationships" r:blip="">
            <dgm:adjLst/>
          </dgm:shape>
          <dgm:presOf/>
          <dgm:constrLst/>
          <dgm:forEach name="Name28" ref="accentRepeat"/>
        </dgm:layoutNode>
      </dgm:forEach>
      <dgm:forEach name="Name29" axis="ch" ptType="node" st="2" cnt="1">
        <dgm:layoutNode name="text_2" styleLbl="node1">
          <dgm:varLst>
            <dgm:bulletEnabled val="1"/>
          </dgm:varLst>
          <dgm:choose name="Name30">
            <dgm:if name="Name3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2">
          <dgm:alg type="sp"/>
          <dgm:shape xmlns:r="http://schemas.openxmlformats.org/officeDocument/2006/relationships" r:blip="">
            <dgm:adjLst/>
          </dgm:shape>
          <dgm:presOf/>
          <dgm:constrLst/>
          <dgm:forEach name="Name33" ref="accentRepeat"/>
        </dgm:layoutNode>
      </dgm:forEach>
      <dgm:forEach name="Name34" axis="ch" ptType="node" st="3" cnt="1">
        <dgm:layoutNode name="text_3" styleLbl="node1">
          <dgm:varLst>
            <dgm:bulletEnabled val="1"/>
          </dgm:varLst>
          <dgm:choose name="Name35">
            <dgm:if name="Name3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3">
          <dgm:alg type="sp"/>
          <dgm:shape xmlns:r="http://schemas.openxmlformats.org/officeDocument/2006/relationships" r:blip="">
            <dgm:adjLst/>
          </dgm:shape>
          <dgm:presOf/>
          <dgm:constrLst/>
          <dgm:forEach name="Name38" ref="accentRepeat"/>
        </dgm:layoutNode>
      </dgm:forEach>
      <dgm:forEach name="Name39" axis="ch" ptType="node" st="4" cnt="1">
        <dgm:layoutNode name="text_4" styleLbl="node1">
          <dgm:varLst>
            <dgm:bulletEnabled val="1"/>
          </dgm:varLst>
          <dgm:choose name="Name40">
            <dgm:if name="Name4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4">
          <dgm:alg type="sp"/>
          <dgm:shape xmlns:r="http://schemas.openxmlformats.org/officeDocument/2006/relationships" r:blip="">
            <dgm:adjLst/>
          </dgm:shape>
          <dgm:presOf/>
          <dgm:constrLst/>
          <dgm:forEach name="Name43" ref="accentRepeat"/>
        </dgm:layoutNode>
      </dgm:forEach>
      <dgm:forEach name="Name44" axis="ch" ptType="node" st="5" cnt="1">
        <dgm:layoutNode name="text_5" styleLbl="node1">
          <dgm:varLst>
            <dgm:bulletEnabled val="1"/>
          </dgm:varLst>
          <dgm:choose name="Name45">
            <dgm:if name="Name4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5">
          <dgm:alg type="sp"/>
          <dgm:shape xmlns:r="http://schemas.openxmlformats.org/officeDocument/2006/relationships" r:blip="">
            <dgm:adjLst/>
          </dgm:shape>
          <dgm:presOf/>
          <dgm:constrLst/>
          <dgm:forEach name="Name48" ref="accentRepeat"/>
        </dgm:layoutNode>
      </dgm:forEach>
      <dgm:forEach name="Name49" axis="ch" ptType="node" st="6" cnt="1">
        <dgm:layoutNode name="text_6" styleLbl="node1">
          <dgm:varLst>
            <dgm:bulletEnabled val="1"/>
          </dgm:varLst>
          <dgm:choose name="Name50">
            <dgm:if name="Name5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6">
          <dgm:alg type="sp"/>
          <dgm:shape xmlns:r="http://schemas.openxmlformats.org/officeDocument/2006/relationships" r:blip="">
            <dgm:adjLst/>
          </dgm:shape>
          <dgm:presOf/>
          <dgm:constrLst/>
          <dgm:forEach name="Name53" ref="accentRepeat"/>
        </dgm:layoutNode>
      </dgm:forEach>
      <dgm:forEach name="Name54" axis="ch" ptType="node" st="7" cnt="1">
        <dgm:layoutNode name="text_7" styleLbl="node1">
          <dgm:varLst>
            <dgm:bulletEnabled val="1"/>
          </dgm:varLst>
          <dgm:choose name="Name55">
            <dgm:if name="Name5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7">
          <dgm:alg type="sp"/>
          <dgm:shape xmlns:r="http://schemas.openxmlformats.org/officeDocument/2006/relationships" r:blip="">
            <dgm:adjLst/>
          </dgm:shape>
          <dgm:presOf/>
          <dgm:constrLst/>
          <dgm:forEach name="Name58" ref="accentRepeat"/>
        </dgm:layoutNode>
      </dgm:forEach>
    </dgm:layoutNode>
  </dgm:layoutNode>
</dgm:layoutDef>
</file>

<file path=ppt/diagrams/layout19.xml><?xml version="1.0" encoding="utf-8"?>
<dgm:layoutDef xmlns:dgm="http://schemas.openxmlformats.org/drawingml/2006/diagram" xmlns:a="http://schemas.openxmlformats.org/drawingml/2006/main" uniqueId="urn:microsoft.com/office/officeart/2005/8/layout/hProcess6">
  <dgm:title val=""/>
  <dgm:desc val=""/>
  <dgm:catLst>
    <dgm:cat type="process" pri="7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14" srcId="1" destId="12" srcOrd="0" destOrd="0"/>
        <dgm:cxn modelId="23" srcId="2" destId="21" srcOrd="0" destOrd="0"/>
        <dgm:cxn modelId="24" srcId="2" destId="22" srcOrd="0" destOrd="0"/>
        <dgm:cxn modelId="33" srcId="3" destId="31" srcOrd="0" destOrd="0"/>
        <dgm:cxn modelId="34" srcId="3" destId="32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theList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L"/>
          <dgm:param type="nodeHorzAlign" val="l"/>
        </dgm:alg>
      </dgm:if>
      <dgm:else name="Name2">
        <dgm:alg type="lin">
          <dgm:param type="linDir" val="from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compNode" refType="w"/>
      <dgm:constr type="h" for="ch" forName="compNode" refType="w" refFor="ch" refForName="compNode" fact="0.7"/>
      <dgm:constr type="ctrY" for="ch" forName="compNode" refType="h" fact="0.5"/>
      <dgm:constr type="w" for="ch" forName="aSpace" refType="w" fact="0.05"/>
      <dgm:constr type="primFontSz" for="des" forName="childTextHidden" op="equ" val="65"/>
      <dgm:constr type="primFontSz" for="des" forName="parentText" op="equ"/>
    </dgm:constrLst>
    <dgm:ruleLst/>
    <dgm:forEach name="aNodeForEach" axis="ch" ptType="node">
      <dgm:layoutNode name="compNode">
        <dgm:alg type="composite">
          <dgm:param type="ar" val="1.43"/>
        </dgm:alg>
        <dgm:shape xmlns:r="http://schemas.openxmlformats.org/officeDocument/2006/relationships" r:blip="">
          <dgm:adjLst/>
        </dgm:shape>
        <dgm:presOf/>
        <dgm:choose name="Name3">
          <dgm:if name="Name4" func="var" arg="dir" op="equ" val="norm">
            <dgm:constrLst>
              <dgm:constr type="w" for="ch" forName="childTextVisible" refType="w" fact="0.8"/>
              <dgm:constr type="h" for="ch" forName="childTextVisible" refType="h"/>
              <dgm:constr type="r" for="ch" forName="childTextVisible" refType="w"/>
              <dgm:constr type="w" for="ch" forName="childTextHidden" refType="w" fact="0.6"/>
              <dgm:constr type="h" for="ch" forName="childTextHidden" refType="h"/>
              <dgm:constr type="r" for="ch" forName="childTextHidden" refType="w"/>
              <dgm:constr type="l" for="ch" forName="parentText"/>
              <dgm:constr type="w" for="ch" forName="parentText" refType="w" fact="0.4"/>
              <dgm:constr type="h" for="ch" forName="parentText" refType="w" refFor="ch" refForName="parentText" op="equ"/>
              <dgm:constr type="ctrY" for="ch" forName="parentText" refType="h" fact="0.5"/>
            </dgm:constrLst>
          </dgm:if>
          <dgm:else name="Name5">
            <dgm:constrLst>
              <dgm:constr type="w" for="ch" forName="childTextVisible" refType="w" fact="0.8"/>
              <dgm:constr type="h" for="ch" forName="childTextVisible" refType="h"/>
              <dgm:constr type="l" for="ch" forName="childTextVisible"/>
              <dgm:constr type="w" for="ch" forName="childTextHidden" refType="w" fact="0.6"/>
              <dgm:constr type="h" for="ch" forName="childTextHidden" refType="h"/>
              <dgm:constr type="l" for="ch" forName="childTextHidden"/>
              <dgm:constr type="r" for="ch" forName="parentText" refType="w"/>
              <dgm:constr type="w" for="ch" forName="parentText" refType="w" fact="0.4"/>
              <dgm:constr type="h" for="ch" forName="parentText" refType="w" refFor="ch" refForName="parentText" op="equ"/>
              <dgm:constr type="ctrY" for="ch" forName="parentText" refType="h" fact="0.5"/>
            </dgm:constrLst>
          </dgm:else>
        </dgm:choose>
        <dgm:ruleLst/>
        <dgm:layoutNode name="noGeometry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  <dgm:layoutNode name="childTextVisible" styleLbl="bgAccFollowNode1">
          <dgm:varLst>
            <dgm:bulletEnabled val="1"/>
          </dgm:varLst>
          <dgm:alg type="sp"/>
          <dgm:choose name="Name6">
            <dgm:if name="Name7" func="var" arg="dir" op="equ" val="norm">
              <dgm:shape xmlns:r="http://schemas.openxmlformats.org/officeDocument/2006/relationships" type="rightArrow" r:blip="">
                <dgm:adjLst>
                  <dgm:adj idx="1" val="0.7"/>
                  <dgm:adj idx="2" val="0.5"/>
                </dgm:adjLst>
              </dgm:shape>
            </dgm:if>
            <dgm:else name="Name8">
              <dgm:shape xmlns:r="http://schemas.openxmlformats.org/officeDocument/2006/relationships" type="leftArrow" r:blip="">
                <dgm:adjLst>
                  <dgm:adj idx="1" val="0.7"/>
                  <dgm:adj idx="2" val="0.5"/>
                </dgm:adjLst>
              </dgm:shape>
            </dgm:else>
          </dgm:choose>
          <dgm:presOf axis="des" ptType="node"/>
          <dgm:constrLst/>
          <dgm:ruleLst/>
        </dgm:layoutNode>
        <dgm:layoutNode name="childTextHidden" styleLbl="bgAccFollowNode1">
          <dgm:choose name="Name9">
            <dgm:if name="Name10" axis="des followSib" ptType="node node" st="1 1" cnt="1 0" func="cnt" op="gte" val="1">
              <dgm:alg type="tx">
                <dgm:param type="stBulletLvl" val="1"/>
                <dgm:param type="txAnchorVertCh" val="mid"/>
              </dgm:alg>
            </dgm:if>
            <dgm:else name="Name11">
              <dgm:alg type="tx">
                <dgm:param type="stBulletLvl" val="2"/>
                <dgm:param type="txAnchorVertCh" val="mid"/>
              </dgm:alg>
            </dgm:else>
          </dgm:choose>
          <dgm:choose name="Name12">
            <dgm:if name="Name13" func="var" arg="dir" op="equ" val="norm">
              <dgm:shape xmlns:r="http://schemas.openxmlformats.org/officeDocument/2006/relationships" type="rightArrow" r:blip="" hideGeom="1">
                <dgm:adjLst>
                  <dgm:adj idx="1" val="0.7"/>
                  <dgm:adj idx="2" val="0.5"/>
                </dgm:adjLst>
              </dgm:shape>
            </dgm:if>
            <dgm:else name="Name14">
              <dgm:shape xmlns:r="http://schemas.openxmlformats.org/officeDocument/2006/relationships" type="leftArrow" r:blip="" hideGeom="1">
                <dgm:adjLst>
                  <dgm:adj idx="1" val="0.7"/>
                  <dgm:adj idx="2" val="0.5"/>
                </dgm:adjLst>
              </dgm:shape>
            </dgm:else>
          </dgm:choose>
          <dgm:presOf axis="des" ptType="node"/>
          <dgm:constrLst>
            <dgm:constr type="secFontSz" refType="primFontSz"/>
            <dgm:constr type="tMarg" refType="primFontSz" fact="0.05"/>
            <dgm:constr type="bMarg" refType="primFontSz" fact="0.05"/>
            <dgm:constr type="rMarg" refType="primFontSz" fact="0.1"/>
            <dgm:constr type="lMarg" refType="primFontSz" fact="0.2"/>
          </dgm:constrLst>
          <dgm:ruleLst>
            <dgm:rule type="primFontSz" val="5" fact="NaN" max="NaN"/>
          </dgm:ruleLst>
        </dgm:layoutNode>
        <dgm:layoutNode name="parentText" styleLbl="node1">
          <dgm:varLst>
            <dgm:chMax val="1"/>
            <dgm:bulletEnabled val="1"/>
          </dgm:varLst>
          <dgm:alg type="tx"/>
          <dgm:shape xmlns:r="http://schemas.openxmlformats.org/officeDocument/2006/relationships" type="ellipse" r:blip="">
            <dgm:adjLst/>
          </dgm:shape>
          <dgm:presOf axis="self"/>
          <dgm:constrLst>
            <dgm:constr type="primFontSz" val="65"/>
            <dgm:constr type="tMarg" refType="primFontSz" fact="0.05"/>
            <dgm:constr type="bMarg" refType="primFontSz" fact="0.05"/>
            <dgm:constr type="lMarg" refType="primFontSz" fact="0.05"/>
            <dgm:constr type="rMarg" refType="primFontSz" fact="0.05"/>
          </dgm:constrLst>
          <dgm:ruleLst>
            <dgm:rule type="primFontSz" val="5" fact="NaN" max="NaN"/>
          </dgm:ruleLst>
        </dgm:layoutNode>
      </dgm:layoutNode>
      <dgm:choose name="Name15">
        <dgm:if name="Name16" axis="self" ptType="node" func="revPos" op="gte" val="2">
          <dgm:layoutNode name="aSpace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if>
        <dgm:else name="Name17"/>
      </dgm:choos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horzAlign" val="l"/>
          <dgm:param type="nodeHorzAlign" val="l"/>
        </dgm:alg>
      </dgm:if>
      <dgm:else name="Name2">
        <dgm:alg type="lin">
          <dgm:param type="linDir" val="fromT"/>
          <dgm:param type="vertAlign" val="mid"/>
          <dgm:param type="horzAlign" val="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horzAlign" val="l"/>
              <dgm:param type="nodeHorzAlign" val="l"/>
            </dgm:alg>
          </dgm:if>
          <dgm:else name="Name6">
            <dgm:alg type="lin">
              <dgm:param type="linDir" val="fromR"/>
              <dgm:param type="horzAlign" val="r"/>
              <dgm:param type="node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20.xml><?xml version="1.0" encoding="utf-8"?>
<dgm:layoutDef xmlns:dgm="http://schemas.openxmlformats.org/drawingml/2006/diagram" xmlns:a="http://schemas.openxmlformats.org/drawingml/2006/main" uniqueId="urn:microsoft.com/office/officeart/2005/8/layout/gear1">
  <dgm:title val=""/>
  <dgm:desc val=""/>
  <dgm:catLst>
    <dgm:cat type="relationship" pri="3000"/>
    <dgm:cat type="process" pri="28000"/>
    <dgm:cat type="cycle" pri="14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 useDef="1">
    <dgm:dataModel>
      <dgm:ptLst/>
      <dgm:bg/>
      <dgm:whole/>
    </dgm:dataModel>
  </dgm:clrData>
  <dgm:layoutNode name="composite">
    <dgm:varLst>
      <dgm:chMax val="3"/>
      <dgm:animLvl val="lvl"/>
      <dgm:resizeHandles val="exact"/>
    </dgm:varLst>
    <dgm:alg type="composite">
      <dgm:param type="ar" val="1"/>
    </dgm:alg>
    <dgm:shape xmlns:r="http://schemas.openxmlformats.org/officeDocument/2006/relationships" r:blip="">
      <dgm:adjLst/>
    </dgm:shape>
    <dgm:presOf/>
    <dgm:choose name="Name0">
      <dgm:if name="Name1" axis="ch" ptType="node" func="cnt" op="lte" val="1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05"/>
          <dgm:constr type="t" for="ch" forName="gear1" refType="w" fact="0.05"/>
          <dgm:constr type="w" for="ch" forName="gear1srcNode" val="1"/>
          <dgm:constr type="h" for="ch" forName="gear1srcNode" val="1"/>
          <dgm:constr type="l" for="ch" forName="gear1srcNode" refType="w" fact="0.32"/>
          <dgm:constr type="t" for="ch" forName="gear1srcNode"/>
          <dgm:constr type="w" for="ch" forName="gear1dstNode" val="1"/>
          <dgm:constr type="h" for="ch" forName="gear1dstNode" val="1"/>
          <dgm:constr type="r" for="ch" forName="gear1dstNode" refType="w" fact="0.58"/>
          <dgm:constr type="t" for="ch" forName="gear1dstNode" refType="h" fact="0.55"/>
          <dgm:constr type="diam" for="des" forName="connector1" refType="w" refFor="ch" refForName="gear1" op="equ" fact="1.1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/>
          <dgm:constr type="b" for="ch" forName="gear1ch" refType="h" fact="0.6"/>
        </dgm:constrLst>
      </dgm:if>
      <dgm:if name="Name2" axis="ch" ptType="node" func="cnt" op="equ" val="2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45"/>
          <dgm:constr type="t" for="ch" forName="gear1" refType="w" fact="0.25"/>
          <dgm:constr type="w" for="ch" forName="gear1srcNode" val="1"/>
          <dgm:constr type="h" for="ch" forName="gear1srcNode" val="1"/>
          <dgm:constr type="l" for="ch" forName="gear1srcNode" refType="w" fact="0.72"/>
          <dgm:constr type="t" for="ch" forName="gear1srcNode" refType="w" fact="0.2"/>
          <dgm:constr type="w" for="ch" forName="gear1dstNode" val="1"/>
          <dgm:constr type="h" for="ch" forName="gear1dstNode" val="1"/>
          <dgm:constr type="r" for="ch" forName="gear1dstNode" refType="w" fact="0.98"/>
          <dgm:constr type="t" for="ch" forName="gear1dstNode" refType="h" fact="0.75"/>
          <dgm:constr type="diam" for="des" forName="connector1" refType="w" refFor="ch" refForName="gear1" op="equ" fact="1.1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 refType="w" fact="0.38"/>
          <dgm:constr type="b" for="ch" forName="gear1ch" refType="w" fact="0.8"/>
          <dgm:constr type="w" for="ch" forName="gear2" refType="w" fact="0.4"/>
          <dgm:constr type="h" for="ch" forName="gear2" refType="w" fact="0.4"/>
          <dgm:constr type="l" for="ch" forName="gear2" refType="w" fact="0.13"/>
          <dgm:constr type="t" for="ch" forName="gear2" refType="w" fact="0.12"/>
          <dgm:constr type="w" for="ch" forName="gear2srcNode" val="1"/>
          <dgm:constr type="h" for="ch" forName="gear2srcNode" val="1"/>
          <dgm:constr type="l" for="ch" forName="gear2srcNode" refType="w" fact="0.23"/>
          <dgm:constr type="t" for="ch" forName="gear2srcNode" refType="w" fact="0.08"/>
          <dgm:constr type="w" for="ch" forName="gear2dstNode" val="1"/>
          <dgm:constr type="h" for="ch" forName="gear2dstNode" val="1"/>
          <dgm:constr type="l" for="ch" forName="gear2dstNode" refType="w" fact="0.1"/>
          <dgm:constr type="t" for="ch" forName="gear2dstNode" refType="h" fact="0.33"/>
          <dgm:constr type="diam" for="des" forName="connector2" refType="w" refFor="ch" refForName="gear2" op="equ" fact="-1.1"/>
          <dgm:constr type="h" for="des" forName="connector2" refType="w" refFor="ch" refForName="gear1" op="equ" fact="0.1"/>
          <dgm:constr type="w" for="ch" forName="gear2ch" refType="w" fact="0.35"/>
          <dgm:constr type="h" for="ch" forName="gear2ch" refType="w" refFor="ch" refForName="gear2ch" fact="0.6"/>
          <dgm:constr type="l" for="ch" forName="gear2ch" refType="w" fact="0.34"/>
          <dgm:constr type="t" for="ch" forName="gear2ch" refType="w" fact="0.04"/>
        </dgm:constrLst>
      </dgm:if>
      <dgm:else name="Name3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45"/>
          <dgm:constr type="t" for="ch" forName="gear1" refType="w" fact="0.45"/>
          <dgm:constr type="w" for="ch" forName="gear1srcNode" val="1"/>
          <dgm:constr type="h" for="ch" forName="gear1srcNode" val="1"/>
          <dgm:constr type="l" for="ch" forName="gear1srcNode" refType="w" fact="0.72"/>
          <dgm:constr type="t" for="ch" forName="gear1srcNode" refType="w" fact="0.4"/>
          <dgm:constr type="w" for="ch" forName="gear1dstNode" val="1"/>
          <dgm:constr type="h" for="ch" forName="gear1dstNode" val="1"/>
          <dgm:constr type="r" for="ch" forName="gear1dstNode" refType="w" fact="0.98"/>
          <dgm:constr type="t" for="ch" forName="gear1dstNode" refType="h" fact="0.95"/>
          <dgm:constr type="diam" for="des" forName="connector1" refType="w" refFor="ch" refForName="gear1" op="equ" fact="1.15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 refType="w" fact="0.38"/>
          <dgm:constr type="b" for="ch" forName="gear1ch" refType="h"/>
          <dgm:constr type="w" for="ch" forName="gear2" refType="w" fact="0.4"/>
          <dgm:constr type="h" for="ch" forName="gear2" refType="w" fact="0.4"/>
          <dgm:constr type="l" for="ch" forName="gear2" refType="w" fact="0.13"/>
          <dgm:constr type="t" for="ch" forName="gear2" refType="w" fact="0.32"/>
          <dgm:constr type="w" for="ch" forName="gear2srcNode" val="1"/>
          <dgm:constr type="h" for="ch" forName="gear2srcNode" val="1"/>
          <dgm:constr type="l" for="ch" forName="gear2srcNode" refType="w" fact="0.23"/>
          <dgm:constr type="t" for="ch" forName="gear2srcNode" refType="w" fact="0.28"/>
          <dgm:constr type="w" for="ch" forName="gear2dstNode" val="1"/>
          <dgm:constr type="h" for="ch" forName="gear2dstNode" val="1"/>
          <dgm:constr type="l" for="ch" forName="gear2dstNode" refType="w" fact="0.1"/>
          <dgm:constr type="t" for="ch" forName="gear2dstNode" refType="h" fact="0.53"/>
          <dgm:constr type="diam" for="des" forName="connector2" refType="w" refFor="ch" refForName="gear2" op="equ" fact="-1.1"/>
          <dgm:constr type="h" for="des" forName="connector2" refType="w" refFor="ch" refForName="gear1" op="equ" fact="0.1"/>
          <dgm:constr type="w" for="ch" forName="gear2ch" refType="w" fact="0.35"/>
          <dgm:constr type="h" for="ch" forName="gear2ch" refType="w" refFor="ch" refForName="gear2ch" fact="0.6"/>
          <dgm:constr type="l" for="ch" forName="gear2ch"/>
          <dgm:constr type="t" for="ch" forName="gear2ch" refType="w" fact="0.58"/>
          <dgm:constr type="w" for="ch" forName="gear3" refType="w" fact="0.48"/>
          <dgm:constr type="h" for="ch" forName="gear3" refType="w" fact="0.48"/>
          <dgm:constr type="l" for="ch" forName="gear3" refType="w" fact="0.31"/>
          <dgm:constr type="t" for="ch" forName="gear3"/>
          <dgm:constr type="w" for="ch" forName="gear3tx" refType="w" fact="0.22"/>
          <dgm:constr type="h" for="ch" forName="gear3tx" refType="w" fact="0.22"/>
          <dgm:constr type="ctrX" for="ch" forName="gear3tx" refType="ctrX" refFor="ch" refForName="gear3"/>
          <dgm:constr type="ctrY" for="ch" forName="gear3tx" refType="ctrY" refFor="ch" refForName="gear3"/>
          <dgm:constr type="w" for="ch" forName="gear3srcNode" val="1"/>
          <dgm:constr type="h" for="ch" forName="gear3srcNode" val="1"/>
          <dgm:constr type="l" for="ch" forName="gear3srcNode" refType="w" fact="0.3"/>
          <dgm:constr type="t" for="ch" forName="gear3srcNode" refType="w" fact="0.25"/>
          <dgm:constr type="w" for="ch" forName="gear3dstNode" val="1"/>
          <dgm:constr type="h" for="ch" forName="gear3dstNode" val="1"/>
          <dgm:constr type="l" for="ch" forName="gear3dstNode" refType="w" fact="0.38"/>
          <dgm:constr type="t" for="ch" forName="gear3dstNode" refType="h" fact="0.05"/>
          <dgm:constr type="diam" for="des" forName="connector3" refType="w" refFor="ch" refForName="gear3" op="equ"/>
          <dgm:constr type="h" for="des" forName="connector3" refType="w" refFor="ch" refForName="gear1" op="equ" fact="0.1"/>
          <dgm:constr type="w" for="ch" forName="gear3ch" refType="w" fact="0.35"/>
          <dgm:constr type="h" for="ch" forName="gear3ch" refType="w" refFor="ch" refForName="gear3ch" fact="0.6"/>
          <dgm:constr type="l" for="ch" forName="gear3ch" refType="w" fact="0.65"/>
          <dgm:constr type="t" for="ch" forName="gear3ch" refType="h" fact="0.13"/>
        </dgm:constrLst>
      </dgm:else>
    </dgm:choose>
    <dgm:ruleLst/>
    <dgm:forEach name="Name4" axis="ch" ptType="node" cnt="1">
      <dgm:layoutNode name="gear1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gear9" r:blip="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1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1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5">
        <dgm:if name="Name6" axis="ch" ptType="node" func="cnt" op="gte" val="1">
          <dgm:layoutNode name="gear1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7"/>
      </dgm:choose>
    </dgm:forEach>
    <dgm:forEach name="Name8" axis="ch" ptType="node" st="2" cnt="1">
      <dgm:layoutNode name="gear2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gear6" r:blip="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2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2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9">
        <dgm:if name="Name10" axis="ch" ptType="node" func="cnt" op="gte" val="1">
          <dgm:layoutNode name="gear2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11"/>
      </dgm:choose>
    </dgm:forEach>
    <dgm:forEach name="Name12" axis="ch" ptType="node" st="3" cnt="1">
      <dgm:layoutNode name="gear3" styleLbl="node1">
        <dgm:alg type="sp"/>
        <dgm:shape xmlns:r="http://schemas.openxmlformats.org/officeDocument/2006/relationships" rot="-15" type="gear6" r:blip="">
          <dgm:adjLst/>
        </dgm:shape>
        <dgm:presOf axis="self"/>
        <dgm:constrLst/>
        <dgm:ruleLst/>
      </dgm:layoutNode>
      <dgm:layoutNode name="gear3tx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rect" r:blip="" hideGeom="1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3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3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13">
        <dgm:if name="Name14" axis="ch" ptType="node" func="cnt" op="gte" val="1">
          <dgm:layoutNode name="gear3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15"/>
      </dgm:choose>
    </dgm:forEach>
    <dgm:forEach name="Name16" axis="ch" ptType="sibTrans" hideLastTrans="0" cnt="1">
      <dgm:layoutNode name="connector1" styleLbl="sibTrans2D1">
        <dgm:alg type="conn">
          <dgm:param type="connRout" val="curve"/>
          <dgm:param type="srcNode" val="gear1srcNode"/>
          <dgm:param type="dstNode" val="gear1dstNode"/>
          <dgm:param type="begPts" val="midR"/>
          <dgm:param type="endPts" val="tCtr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  <dgm:forEach name="Name17" axis="ch" ptType="sibTrans" hideLastTrans="0" st="2" cnt="1">
      <dgm:layoutNode name="connector2" styleLbl="sibTrans2D1">
        <dgm:alg type="conn">
          <dgm:param type="connRout" val="curve"/>
          <dgm:param type="srcNode" val="gear2srcNode"/>
          <dgm:param type="dstNode" val="gear2dstNode"/>
          <dgm:param type="begPts" val="midL"/>
          <dgm:param type="endPts" val="midL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  <dgm:forEach name="Name18" axis="ch" ptType="sibTrans" hideLastTrans="0" st="3" cnt="1">
      <dgm:layoutNode name="connector3" styleLbl="sibTrans2D1">
        <dgm:alg type="conn">
          <dgm:param type="connRout" val="curve"/>
          <dgm:param type="srcNode" val="gear3srcNode"/>
          <dgm:param type="dstNode" val="gear3dstNode"/>
          <dgm:param type="begPts" val="midL"/>
          <dgm:param type="endPts" val="midL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</dgm:layoutNode>
</dgm:layoutDef>
</file>

<file path=ppt/diagrams/layout21.xml><?xml version="1.0" encoding="utf-8"?>
<dgm:layoutDef xmlns:dgm="http://schemas.openxmlformats.org/drawingml/2006/diagram" xmlns:a="http://schemas.openxmlformats.org/drawingml/2006/main" uniqueId="urn:microsoft.com/office/officeart/2005/8/layout/matrix3">
  <dgm:title val=""/>
  <dgm:desc val=""/>
  <dgm:catLst>
    <dgm:cat type="matrix" pri="1000"/>
    <dgm:cat type="convert" pri="18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0" destOrd="0"/>
        <dgm:cxn modelId="8" srcId="0" destId="4" srcOrd="1" destOrd="0"/>
      </dgm:cxnLst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matrix">
    <dgm:varLst>
      <dgm:chMax val="1"/>
      <dgm:dir/>
      <dgm:resizeHandles val="exact"/>
    </dgm:varLst>
    <dgm:alg type="composite">
      <dgm:param type="ar" val="1"/>
    </dgm:alg>
    <dgm:shape xmlns:r="http://schemas.openxmlformats.org/officeDocument/2006/relationships" r:blip="">
      <dgm:adjLst/>
    </dgm:shape>
    <dgm:presOf/>
    <dgm:choose name="Name0">
      <dgm:if name="Name1" func="var" arg="dir" op="equ" val="norm">
        <dgm:constrLst>
          <dgm:constr type="w" for="ch" forName="diamond" refType="w"/>
          <dgm:constr type="h" for="ch" forName="diamond" refType="h"/>
          <dgm:constr type="w" for="ch" forName="quad1" refType="w" fact="0.39"/>
          <dgm:constr type="h" for="ch" forName="quad1" refType="h" fact="0.39"/>
          <dgm:constr type="ctrX" for="ch" forName="quad1" refType="w" fact="0.29"/>
          <dgm:constr type="ctrY" for="ch" forName="quad1" refType="h" fact="0.29"/>
          <dgm:constr type="w" for="ch" forName="quad2" refType="w" fact="0.39"/>
          <dgm:constr type="h" for="ch" forName="quad2" refType="h" fact="0.39"/>
          <dgm:constr type="ctrX" for="ch" forName="quad2" refType="w" fact="0.71"/>
          <dgm:constr type="ctrY" for="ch" forName="quad2" refType="h" fact="0.29"/>
          <dgm:constr type="w" for="ch" forName="quad3" refType="w" fact="0.39"/>
          <dgm:constr type="h" for="ch" forName="quad3" refType="h" fact="0.39"/>
          <dgm:constr type="ctrX" for="ch" forName="quad3" refType="w" fact="0.29"/>
          <dgm:constr type="ctrY" for="ch" forName="quad3" refType="h" fact="0.71"/>
          <dgm:constr type="w" for="ch" forName="quad4" refType="w" fact="0.39"/>
          <dgm:constr type="h" for="ch" forName="quad4" refType="h" fact="0.39"/>
          <dgm:constr type="ctrX" for="ch" forName="quad4" refType="w" fact="0.71"/>
          <dgm:constr type="ctrY" for="ch" forName="quad4" refType="h" fact="0.71"/>
          <dgm:constr type="primFontSz" for="des" ptType="node" op="equ" val="65"/>
        </dgm:constrLst>
      </dgm:if>
      <dgm:else name="Name2">
        <dgm:constrLst>
          <dgm:constr type="w" for="ch" forName="diamond" refType="w"/>
          <dgm:constr type="h" for="ch" forName="diamond" refType="h"/>
          <dgm:constr type="w" for="ch" forName="quad1" refType="w" fact="0.39"/>
          <dgm:constr type="h" for="ch" forName="quad1" refType="h" fact="0.39"/>
          <dgm:constr type="ctrX" for="ch" forName="quad1" refType="w" fact="0.71"/>
          <dgm:constr type="ctrY" for="ch" forName="quad1" refType="h" fact="0.29"/>
          <dgm:constr type="w" for="ch" forName="quad2" refType="w" fact="0.39"/>
          <dgm:constr type="h" for="ch" forName="quad2" refType="h" fact="0.39"/>
          <dgm:constr type="ctrX" for="ch" forName="quad2" refType="w" fact="0.29"/>
          <dgm:constr type="ctrY" for="ch" forName="quad2" refType="h" fact="0.29"/>
          <dgm:constr type="w" for="ch" forName="quad3" refType="w" fact="0.39"/>
          <dgm:constr type="h" for="ch" forName="quad3" refType="h" fact="0.39"/>
          <dgm:constr type="ctrX" for="ch" forName="quad3" refType="w" fact="0.71"/>
          <dgm:constr type="ctrY" for="ch" forName="quad3" refType="h" fact="0.71"/>
          <dgm:constr type="w" for="ch" forName="quad4" refType="w" fact="0.39"/>
          <dgm:constr type="h" for="ch" forName="quad4" refType="h" fact="0.39"/>
          <dgm:constr type="ctrX" for="ch" forName="quad4" refType="w" fact="0.29"/>
          <dgm:constr type="ctrY" for="ch" forName="quad4" refType="h" fact="0.71"/>
          <dgm:constr type="primFontSz" for="des" ptType="node" op="equ" val="65"/>
        </dgm:constrLst>
      </dgm:else>
    </dgm:choose>
    <dgm:ruleLst/>
    <dgm:choose name="Name3">
      <dgm:if name="Name4" axis="ch" ptType="node" func="cnt" op="gte" val="1">
        <dgm:layoutNode name="diamond" styleLbl="bgShp">
          <dgm:alg type="sp"/>
          <dgm:shape xmlns:r="http://schemas.openxmlformats.org/officeDocument/2006/relationships" type="diamond" r:blip="">
            <dgm:adjLst/>
          </dgm:shape>
          <dgm:presOf/>
          <dgm:constrLst>
            <dgm:constr type="w" refType="h" op="equ"/>
          </dgm:constrLst>
          <dgm:ruleLst/>
        </dgm:layoutNode>
        <dgm:layoutNode name="quad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ch desOrSelf" ptType="node node" st="1 1" cnt="1 0"/>
          <dgm:constrLst>
            <dgm:constr type="w" refType="h" op="equ"/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quad2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ch desOrSelf" ptType="node node" st="2 1" cnt="1 0"/>
          <dgm:constrLst>
            <dgm:constr type="w" refType="h" op="equ"/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quad3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ch desOrSelf" ptType="node node" st="3 1" cnt="1 0"/>
          <dgm:constrLst>
            <dgm:constr type="w" refType="h" op="equ"/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quad4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ch desOrSelf" ptType="node node" st="4 1" cnt="1 0"/>
          <dgm:constrLst>
            <dgm:constr type="w" refType="h" op="equ"/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</dgm:if>
      <dgm:else name="Name5"/>
    </dgm:choose>
  </dgm:layoutNode>
</dgm:layoutDef>
</file>

<file path=ppt/diagrams/layout22.xml><?xml version="1.0" encoding="utf-8"?>
<dgm:layoutDef xmlns:dgm="http://schemas.openxmlformats.org/drawingml/2006/diagram" xmlns:a="http://schemas.openxmlformats.org/drawingml/2006/main" uniqueId="urn:microsoft.com/office/officeart/2005/8/layout/default">
  <dgm:title val=""/>
  <dgm:desc val=""/>
  <dgm:catLst>
    <dgm:cat type="list" pri="4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diagram">
    <dgm:varLst>
      <dgm:dir/>
      <dgm:resizeHandles val="exact"/>
    </dgm:varLst>
    <dgm:choose name="Name0">
      <dgm:if name="Name1" func="var" arg="dir" op="equ" val="norm">
        <dgm:alg type="snake">
          <dgm:param type="grDir" val="tL"/>
          <dgm:param type="flowDir" val="row"/>
          <dgm:param type="contDir" val="sameDir"/>
          <dgm:param type="off" val="ctr"/>
        </dgm:alg>
      </dgm:if>
      <dgm:else name="Name2">
        <dgm:alg type="snake">
          <dgm:param type="grDir" val="tR"/>
          <dgm:param type="flowDir" val="row"/>
          <dgm:param type="contDir" val="sameDir"/>
          <dgm:param type="off" val="ct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node" refType="w"/>
      <dgm:constr type="h" for="ch" forName="node" refType="w" refFor="ch" refForName="node" fact="0.6"/>
      <dgm:constr type="w" for="ch" forName="sibTrans" refType="w" refFor="ch" refForName="node" fact="0.1"/>
      <dgm:constr type="sp" refType="w" refFor="ch" refForName="sibTrans"/>
      <dgm:constr type="primFontSz" for="ch" forName="node" op="equ" val="65"/>
    </dgm:constrLst>
    <dgm:ruleLst/>
    <dgm:forEach name="Name3" axis="ch" ptType="node">
      <dgm:layoutNode name="node">
        <dgm:varLst>
          <dgm:bulletEnabled val="1"/>
        </dgm:varLst>
        <dgm:alg type="tx"/>
        <dgm:shape xmlns:r="http://schemas.openxmlformats.org/officeDocument/2006/relationships" type="rect" r:blip="">
          <dgm:adjLst/>
        </dgm:shape>
        <dgm:presOf axis="desOrSelf" ptType="node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forEach name="Name4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23.xml><?xml version="1.0" encoding="utf-8"?>
<dgm:layoutDef xmlns:dgm="http://schemas.openxmlformats.org/drawingml/2006/diagram" xmlns:a="http://schemas.openxmlformats.org/drawingml/2006/main" uniqueId="urn:microsoft.com/office/officeart/2005/8/layout/default">
  <dgm:title val=""/>
  <dgm:desc val=""/>
  <dgm:catLst>
    <dgm:cat type="list" pri="4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diagram">
    <dgm:varLst>
      <dgm:dir/>
      <dgm:resizeHandles val="exact"/>
    </dgm:varLst>
    <dgm:choose name="Name0">
      <dgm:if name="Name1" func="var" arg="dir" op="equ" val="norm">
        <dgm:alg type="snake">
          <dgm:param type="grDir" val="tL"/>
          <dgm:param type="flowDir" val="row"/>
          <dgm:param type="contDir" val="sameDir"/>
          <dgm:param type="off" val="ctr"/>
        </dgm:alg>
      </dgm:if>
      <dgm:else name="Name2">
        <dgm:alg type="snake">
          <dgm:param type="grDir" val="tR"/>
          <dgm:param type="flowDir" val="row"/>
          <dgm:param type="contDir" val="sameDir"/>
          <dgm:param type="off" val="ct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node" refType="w"/>
      <dgm:constr type="h" for="ch" forName="node" refType="w" refFor="ch" refForName="node" fact="0.6"/>
      <dgm:constr type="w" for="ch" forName="sibTrans" refType="w" refFor="ch" refForName="node" fact="0.1"/>
      <dgm:constr type="sp" refType="w" refFor="ch" refForName="sibTrans"/>
      <dgm:constr type="primFontSz" for="ch" forName="node" op="equ" val="65"/>
    </dgm:constrLst>
    <dgm:ruleLst/>
    <dgm:forEach name="Name3" axis="ch" ptType="node">
      <dgm:layoutNode name="node">
        <dgm:varLst>
          <dgm:bulletEnabled val="1"/>
        </dgm:varLst>
        <dgm:alg type="tx"/>
        <dgm:shape xmlns:r="http://schemas.openxmlformats.org/officeDocument/2006/relationships" type="rect" r:blip="">
          <dgm:adjLst/>
        </dgm:shape>
        <dgm:presOf axis="desOrSelf" ptType="node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forEach name="Name4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24.xml><?xml version="1.0" encoding="utf-8"?>
<dgm:layoutDef xmlns:dgm="http://schemas.openxmlformats.org/drawingml/2006/diagram" xmlns:a="http://schemas.openxmlformats.org/drawingml/2006/main" uniqueId="urn:microsoft.com/office/officeart/2005/8/layout/default">
  <dgm:title val=""/>
  <dgm:desc val=""/>
  <dgm:catLst>
    <dgm:cat type="list" pri="4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diagram">
    <dgm:varLst>
      <dgm:dir/>
      <dgm:resizeHandles val="exact"/>
    </dgm:varLst>
    <dgm:choose name="Name0">
      <dgm:if name="Name1" func="var" arg="dir" op="equ" val="norm">
        <dgm:alg type="snake">
          <dgm:param type="grDir" val="tL"/>
          <dgm:param type="flowDir" val="row"/>
          <dgm:param type="contDir" val="sameDir"/>
          <dgm:param type="off" val="ctr"/>
        </dgm:alg>
      </dgm:if>
      <dgm:else name="Name2">
        <dgm:alg type="snake">
          <dgm:param type="grDir" val="tR"/>
          <dgm:param type="flowDir" val="row"/>
          <dgm:param type="contDir" val="sameDir"/>
          <dgm:param type="off" val="ct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node" refType="w"/>
      <dgm:constr type="h" for="ch" forName="node" refType="w" refFor="ch" refForName="node" fact="0.6"/>
      <dgm:constr type="w" for="ch" forName="sibTrans" refType="w" refFor="ch" refForName="node" fact="0.1"/>
      <dgm:constr type="sp" refType="w" refFor="ch" refForName="sibTrans"/>
      <dgm:constr type="primFontSz" for="ch" forName="node" op="equ" val="65"/>
    </dgm:constrLst>
    <dgm:ruleLst/>
    <dgm:forEach name="Name3" axis="ch" ptType="node">
      <dgm:layoutNode name="node">
        <dgm:varLst>
          <dgm:bulletEnabled val="1"/>
        </dgm:varLst>
        <dgm:alg type="tx"/>
        <dgm:shape xmlns:r="http://schemas.openxmlformats.org/officeDocument/2006/relationships" type="rect" r:blip="">
          <dgm:adjLst/>
        </dgm:shape>
        <dgm:presOf axis="desOrSelf" ptType="node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forEach name="Name4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hProcess9">
  <dgm:title val=""/>
  <dgm:desc val=""/>
  <dgm:catLst>
    <dgm:cat type="process" pri="5000"/>
    <dgm:cat type="convert" pri="13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CompostProcess">
    <dgm:varLst>
      <dgm:dir/>
      <dgm:resizeHandles val="exact"/>
    </dgm:varLst>
    <dgm:alg type="composite">
      <dgm:param type="horzAlign" val="ctr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arrow" refType="w" fact="0.85"/>
      <dgm:constr type="h" for="ch" forName="arrow" refType="h"/>
      <dgm:constr type="ctrX" for="ch" forName="arrow" refType="w" fact="0.5"/>
      <dgm:constr type="ctrY" for="ch" forName="arrow" refType="h" fact="0.5"/>
      <dgm:constr type="w" for="ch" forName="linearProcess" refType="w"/>
      <dgm:constr type="h" for="ch" forName="linearProcess" refType="h" fact="0.4"/>
      <dgm:constr type="ctrX" for="ch" forName="linearProcess" refType="w" fact="0.5"/>
      <dgm:constr type="ctrY" for="ch" forName="linearProcess" refType="h" fact="0.5"/>
    </dgm:constrLst>
    <dgm:ruleLst/>
    <dgm:layoutNode name="arrow" styleLbl="bgShp">
      <dgm:alg type="sp"/>
      <dgm:choose name="Name0">
        <dgm:if name="Name1" func="var" arg="dir" op="equ" val="norm">
          <dgm:shape xmlns:r="http://schemas.openxmlformats.org/officeDocument/2006/relationships" type="rightArrow" r:blip="">
            <dgm:adjLst/>
          </dgm:shape>
        </dgm:if>
        <dgm:else name="Name2">
          <dgm:shape xmlns:r="http://schemas.openxmlformats.org/officeDocument/2006/relationships" type="leftArrow" r:blip="">
            <dgm:adjLst/>
          </dgm:shape>
        </dgm:else>
      </dgm:choose>
      <dgm:presOf/>
      <dgm:constrLst/>
      <dgm:ruleLst/>
    </dgm:layoutNode>
    <dgm:layoutNode name="linearProcess">
      <dgm:choose name="Name3">
        <dgm:if name="Name4" func="var" arg="dir" op="equ" val="norm">
          <dgm:alg type="lin"/>
        </dgm:if>
        <dgm:else name="Name5">
          <dgm:alg type="lin">
            <dgm:param type="linDir" val="fromR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userA" for="ch" ptType="node" refType="w"/>
        <dgm:constr type="h" for="ch" ptType="node" refType="h"/>
        <dgm:constr type="w" for="ch" ptType="node" op="equ"/>
        <dgm:constr type="w" for="ch" forName="sibTrans" refType="w" fact="0.05"/>
        <dgm:constr type="primFontSz" for="ch" ptType="node" op="equ" val="65"/>
      </dgm:constrLst>
      <dgm:ruleLst/>
      <dgm:forEach name="Name6" axis="ch" ptType="node">
        <dgm:layoutNode name="textNode" styleLbl="node1">
          <dgm:varLst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desOrSelf" ptType="node"/>
          <dgm:constrLst>
            <dgm:constr type="userA"/>
            <dgm:constr type="w" refType="userA" fact="0.3"/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w" val="NaN" fact="1" max="NaN"/>
            <dgm:rule type="primFontSz" val="5" fact="NaN" max="NaN"/>
          </dgm:ruleLst>
        </dgm:layoutNode>
        <dgm:forEach name="Name7" axis="followSib" ptType="sibTrans" cnt="1">
          <dgm:layoutNode name="sibTrans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forEach>
      </dgm:forEach>
    </dgm:layoutNode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radial4">
  <dgm:title val=""/>
  <dgm:desc val=""/>
  <dgm:catLst>
    <dgm:cat type="relationship" pri="19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5" srcId="1" destId="11" srcOrd="0" destOrd="0"/>
        <dgm:cxn modelId="16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  <dgm:pt modelId="15"/>
        <dgm:pt modelId="16"/>
      </dgm:ptLst>
      <dgm:cxnLst>
        <dgm:cxn modelId="2" srcId="0" destId="1" srcOrd="0" destOrd="0"/>
        <dgm:cxn modelId="16" srcId="1" destId="11" srcOrd="0" destOrd="0"/>
        <dgm:cxn modelId="17" srcId="1" destId="12" srcOrd="1" destOrd="0"/>
        <dgm:cxn modelId="18" srcId="1" destId="13" srcOrd="2" destOrd="0"/>
        <dgm:cxn modelId="19" srcId="1" destId="14" srcOrd="3" destOrd="0"/>
        <dgm:cxn modelId="20" srcId="1" destId="15" srcOrd="4" destOrd="0"/>
        <dgm:cxn modelId="21" srcId="1" destId="16" srcOrd="5" destOrd="0"/>
      </dgm:cxnLst>
      <dgm:bg/>
      <dgm:whole/>
    </dgm:dataModel>
  </dgm:clrData>
  <dgm:layoutNode name="cycle">
    <dgm:varLst>
      <dgm:chMax val="1"/>
      <dgm:dir/>
      <dgm:animLvl val="ctr"/>
      <dgm:resizeHandles val="exact"/>
    </dgm:varLst>
    <dgm:choose name="Name0">
      <dgm:if name="Name1" func="var" arg="dir" op="equ" val="norm">
        <dgm:choose name="Name2">
          <dgm:if name="Name3" axis="ch ch" ptType="node node" st="1 1" cnt="1 0" func="cnt" op="lte" val="1">
            <dgm:alg type="cycle">
              <dgm:param type="stAng" val="0"/>
              <dgm:param type="spanAng" val="360"/>
              <dgm:param type="ctrShpMap" val="fNode"/>
            </dgm:alg>
          </dgm:if>
          <dgm:else name="Name4">
            <dgm:choose name="Name5">
              <dgm:if name="Name6" axis="ch ch" ptType="node node" st="1 1" cnt="1 0" func="cnt" op="lte" val="3">
                <dgm:alg type="cycle">
                  <dgm:param type="stAng" val="-55"/>
                  <dgm:param type="spanAng" val="110"/>
                  <dgm:param type="ctrShpMap" val="fNode"/>
                </dgm:alg>
              </dgm:if>
              <dgm:else name="Name7">
                <dgm:choose name="Name8">
                  <dgm:if name="Name9" axis="ch ch" ptType="node node" st="1 1" cnt="1 0" func="cnt" op="equ" val="4">
                    <dgm:alg type="cycle">
                      <dgm:param type="stAng" val="-75"/>
                      <dgm:param type="spanAng" val="150"/>
                      <dgm:param type="ctrShpMap" val="fNode"/>
                    </dgm:alg>
                  </dgm:if>
                  <dgm:else name="Name10">
                    <dgm:alg type="cycle">
                      <dgm:param type="stAng" val="-90"/>
                      <dgm:param type="spanAng" val="180"/>
                      <dgm:param type="ctrShpMap" val="fNode"/>
                    </dgm:alg>
                  </dgm:else>
                </dgm:choose>
              </dgm:else>
            </dgm:choose>
          </dgm:else>
        </dgm:choose>
      </dgm:if>
      <dgm:else name="Name11">
        <dgm:choose name="Name12">
          <dgm:if name="Name13" axis="ch ch" ptType="node node" st="1 1" cnt="1 0" func="cnt" op="lte" val="1">
            <dgm:alg type="cycle">
              <dgm:param type="stAng" val="0"/>
              <dgm:param type="spanAng" val="-360"/>
              <dgm:param type="ctrShpMap" val="fNode"/>
            </dgm:alg>
          </dgm:if>
          <dgm:else name="Name14">
            <dgm:choose name="Name15">
              <dgm:if name="Name16" axis="ch ch" ptType="node node" st="1 1" cnt="1 0" func="cnt" op="lte" val="3">
                <dgm:alg type="cycle">
                  <dgm:param type="stAng" val="55"/>
                  <dgm:param type="spanAng" val="-110"/>
                  <dgm:param type="ctrShpMap" val="fNode"/>
                </dgm:alg>
              </dgm:if>
              <dgm:else name="Name17">
                <dgm:choose name="Name18">
                  <dgm:if name="Name19" axis="ch ch" ptType="node node" st="1 1" cnt="1 0" func="cnt" op="equ" val="4">
                    <dgm:alg type="cycle">
                      <dgm:param type="stAng" val="75"/>
                      <dgm:param type="spanAng" val="-150"/>
                      <dgm:param type="ctrShpMap" val="fNode"/>
                    </dgm:alg>
                  </dgm:if>
                  <dgm:else name="Name20">
                    <dgm:alg type="cycle">
                      <dgm:param type="stAng" val="90"/>
                      <dgm:param type="spanAng" val="-180"/>
                      <dgm:param type="ctrShpMap" val="fNode"/>
                    </dgm:alg>
                  </dgm:else>
                </dgm:choose>
              </dgm:else>
            </dgm:choose>
          </dgm:else>
        </dgm:choose>
      </dgm:else>
    </dgm:choose>
    <dgm:shape xmlns:r="http://schemas.openxmlformats.org/officeDocument/2006/relationships" r:blip="">
      <dgm:adjLst/>
    </dgm:shape>
    <dgm:presOf/>
    <dgm:constrLst>
      <dgm:constr type="w" for="ch" forName="centerShape" refType="w"/>
      <dgm:constr type="w" for="ch" forName="node" refType="w" refFor="ch" refForName="centerShape" fact="0.95"/>
      <dgm:constr type="h" for="ch" forName="parTrans" refType="w" refFor="ch" refForName="centerShape" fact="0.285"/>
      <dgm:constr type="sp" refType="w" refFor="ch" refForName="centerShape" op="equ" fact="0.23"/>
      <dgm:constr type="sibSp" refType="w" refFor="ch" refForName="node" fact="0.1"/>
      <dgm:constr type="primFontSz" for="ch" forName="node" op="equ"/>
    </dgm:constrLst>
    <dgm:choose name="Name21">
      <dgm:if name="Name22" axis="ch ch" ptType="node node" st="1 1" cnt="1 0" func="cnt" op="lte" val="5">
        <dgm:ruleLst>
          <dgm:rule type="w" for="ch" forName="centerShape" val="NaN" fact="0.27" max="NaN"/>
        </dgm:ruleLst>
      </dgm:if>
      <dgm:else name="Name23">
        <dgm:ruleLst>
          <dgm:rule type="w" for="ch" forName="centerShape" val="NaN" fact="0.27" max="NaN"/>
          <dgm:rule type="w" for="ch" forName="node" val="NaN" fact="0.7" max="NaN"/>
        </dgm:ruleLst>
      </dgm:else>
    </dgm:choose>
    <dgm:forEach name="Name24" axis="ch" ptType="node" cnt="1">
      <dgm:layoutNode name="centerShape" styleLbl="node0">
        <dgm:alg type="tx"/>
        <dgm:shape xmlns:r="http://schemas.openxmlformats.org/officeDocument/2006/relationships" type="ellipse" r:blip="">
          <dgm:adjLst/>
        </dgm:shape>
        <dgm:presOf axis="self"/>
        <dgm:constrLst>
          <dgm:constr type="tMarg" refType="primFontSz" fact="0.05"/>
          <dgm:constr type="bMarg" refType="primFontSz" fact="0.05"/>
          <dgm:constr type="lMarg" refType="primFontSz" fact="0.05"/>
          <dgm:constr type="rMarg" refType="primFontSz" fact="0.05"/>
          <dgm:constr type="primFontSz" val="65"/>
          <dgm:constr type="h" refType="w"/>
        </dgm:constrLst>
        <dgm:ruleLst>
          <dgm:rule type="primFontSz" val="5" fact="NaN" max="NaN"/>
        </dgm:ruleLst>
      </dgm:layoutNode>
      <dgm:forEach name="Name25" axis="ch">
        <dgm:forEach name="Name26" axis="self" ptType="parTrans">
          <dgm:layoutNode name="parTrans" styleLbl="bgSibTrans2D1">
            <dgm:alg type="conn">
              <dgm:param type="begPts" val="auto"/>
              <dgm:param type="endPts" val="ctr"/>
              <dgm:param type="endSty" val="noArr"/>
              <dgm:param type="begSty" val="arr"/>
            </dgm:alg>
            <dgm:shape xmlns:r="http://schemas.openxmlformats.org/officeDocument/2006/relationships" type="conn" r:blip="">
              <dgm:adjLst/>
            </dgm:shape>
            <dgm:presOf axis="self"/>
            <dgm:constrLst>
              <dgm:constr type="begPad" refType="connDist" fact="0.055"/>
              <dgm:constr type="endPad"/>
            </dgm:constrLst>
            <dgm:ruleLst/>
          </dgm:layoutNode>
        </dgm:forEach>
        <dgm:forEach name="Name27" axis="self" ptType="node">
          <dgm:layoutNode name="node" styleLbl="node1">
            <dgm:varLst>
              <dgm:bulletEnabled val="1"/>
            </dgm:varLst>
            <dgm:alg type="tx"/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OrSelf" ptType="node"/>
            <dgm:constrLst>
              <dgm:constr type="primFontSz" val="65"/>
              <dgm:constr type="h" refType="w" fact="0.8"/>
              <dgm:constr type="tMarg" refType="primFontSz" fact="0.15"/>
              <dgm:constr type="bMarg" refType="primFontSz" fact="0.15"/>
              <dgm:constr type="lMarg" refType="primFontSz" fact="0.15"/>
              <dgm:constr type="rMarg" refType="primFontSz" fact="0.15"/>
            </dgm:constrLst>
            <dgm:ruleLst>
              <dgm:rule type="primFontSz" val="5" fact="NaN" max="NaN"/>
            </dgm:ruleLst>
          </dgm:layoutNode>
        </dgm:forEach>
      </dgm:forEach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hProcess9">
  <dgm:title val=""/>
  <dgm:desc val=""/>
  <dgm:catLst>
    <dgm:cat type="process" pri="5000"/>
    <dgm:cat type="convert" pri="13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CompostProcess">
    <dgm:varLst>
      <dgm:dir/>
      <dgm:resizeHandles val="exact"/>
    </dgm:varLst>
    <dgm:alg type="composite">
      <dgm:param type="horzAlign" val="ctr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arrow" refType="w" fact="0.85"/>
      <dgm:constr type="h" for="ch" forName="arrow" refType="h"/>
      <dgm:constr type="ctrX" for="ch" forName="arrow" refType="w" fact="0.5"/>
      <dgm:constr type="ctrY" for="ch" forName="arrow" refType="h" fact="0.5"/>
      <dgm:constr type="w" for="ch" forName="linearProcess" refType="w"/>
      <dgm:constr type="h" for="ch" forName="linearProcess" refType="h" fact="0.4"/>
      <dgm:constr type="ctrX" for="ch" forName="linearProcess" refType="w" fact="0.5"/>
      <dgm:constr type="ctrY" for="ch" forName="linearProcess" refType="h" fact="0.5"/>
    </dgm:constrLst>
    <dgm:ruleLst/>
    <dgm:layoutNode name="arrow" styleLbl="bgShp">
      <dgm:alg type="sp"/>
      <dgm:choose name="Name0">
        <dgm:if name="Name1" func="var" arg="dir" op="equ" val="norm">
          <dgm:shape xmlns:r="http://schemas.openxmlformats.org/officeDocument/2006/relationships" type="rightArrow" r:blip="">
            <dgm:adjLst/>
          </dgm:shape>
        </dgm:if>
        <dgm:else name="Name2">
          <dgm:shape xmlns:r="http://schemas.openxmlformats.org/officeDocument/2006/relationships" type="leftArrow" r:blip="">
            <dgm:adjLst/>
          </dgm:shape>
        </dgm:else>
      </dgm:choose>
      <dgm:presOf/>
      <dgm:constrLst/>
      <dgm:ruleLst/>
    </dgm:layoutNode>
    <dgm:layoutNode name="linearProcess">
      <dgm:choose name="Name3">
        <dgm:if name="Name4" func="var" arg="dir" op="equ" val="norm">
          <dgm:alg type="lin"/>
        </dgm:if>
        <dgm:else name="Name5">
          <dgm:alg type="lin">
            <dgm:param type="linDir" val="fromR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userA" for="ch" ptType="node" refType="w"/>
        <dgm:constr type="h" for="ch" ptType="node" refType="h"/>
        <dgm:constr type="w" for="ch" ptType="node" op="equ"/>
        <dgm:constr type="w" for="ch" forName="sibTrans" refType="w" fact="0.05"/>
        <dgm:constr type="primFontSz" for="ch" ptType="node" op="equ" val="65"/>
      </dgm:constrLst>
      <dgm:ruleLst/>
      <dgm:forEach name="Name6" axis="ch" ptType="node">
        <dgm:layoutNode name="textNode" styleLbl="node1">
          <dgm:varLst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desOrSelf" ptType="node"/>
          <dgm:constrLst>
            <dgm:constr type="userA"/>
            <dgm:constr type="w" refType="userA" fact="0.3"/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w" val="NaN" fact="1" max="NaN"/>
            <dgm:rule type="primFontSz" val="5" fact="NaN" max="NaN"/>
          </dgm:ruleLst>
        </dgm:layoutNode>
        <dgm:forEach name="Name7" axis="followSib" ptType="sibTrans" cnt="1">
          <dgm:layoutNode name="sibTrans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forEach>
      </dgm:forEach>
    </dgm:layoutNode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5/8/layout/radial6">
  <dgm:title val=""/>
  <dgm:desc val=""/>
  <dgm:catLst>
    <dgm:cat type="cycle" pri="9000"/>
    <dgm:cat type="relationship" pri="2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  <dgm:cxn modelId="6" srcId="1" destId="14" srcOrd="3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13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  <dgm:pt modelId="15"/>
        <dgm:pt modelId="16"/>
      </dgm:ptLst>
      <dgm:cxnLst>
        <dgm:cxn modelId="2" srcId="0" destId="1" srcOrd="0" destOrd="0"/>
        <dgm:cxn modelId="16" srcId="1" destId="11" srcOrd="0" destOrd="0"/>
        <dgm:cxn modelId="17" srcId="1" destId="12" srcOrd="1" destOrd="0"/>
        <dgm:cxn modelId="18" srcId="1" destId="13" srcOrd="2" destOrd="0"/>
        <dgm:cxn modelId="19" srcId="1" destId="14" srcOrd="3" destOrd="0"/>
        <dgm:cxn modelId="20" srcId="1" destId="15" srcOrd="4" destOrd="0"/>
        <dgm:cxn modelId="21" srcId="1" destId="16" srcOrd="5" destOrd="0"/>
      </dgm:cxnLst>
      <dgm:bg/>
      <dgm:whole/>
    </dgm:dataModel>
  </dgm:clrData>
  <dgm:layoutNode name="Name0">
    <dgm:varLst>
      <dgm:chMax val="1"/>
      <dgm:dir/>
      <dgm:animLvl val="ctr"/>
      <dgm:resizeHandles val="exact"/>
    </dgm:varLst>
    <dgm:choose name="Name1">
      <dgm:if name="Name2" func="var" arg="dir" op="equ" val="norm">
        <dgm:choose name="Name3">
          <dgm:if name="Name4" axis="ch ch" ptType="node node" st="1 1" cnt="1 0" func="cnt" op="lte" val="1">
            <dgm:alg type="cycle">
              <dgm:param type="stAng" val="90"/>
              <dgm:param type="spanAng" val="360"/>
              <dgm:param type="ctrShpMap" val="fNode"/>
            </dgm:alg>
          </dgm:if>
          <dgm:else name="Name5">
            <dgm:alg type="cycle">
              <dgm:param type="stAng" val="0"/>
              <dgm:param type="spanAng" val="360"/>
              <dgm:param type="ctrShpMap" val="fNode"/>
            </dgm:alg>
          </dgm:else>
        </dgm:choose>
      </dgm:if>
      <dgm:else name="Name6">
        <dgm:choose name="Name7">
          <dgm:if name="Name8" axis="ch ch" ptType="node node" st="1 1" cnt="1 0" func="cnt" op="lte" val="1">
            <dgm:alg type="cycle">
              <dgm:param type="stAng" val="-90"/>
              <dgm:param type="spanAng" val="360"/>
              <dgm:param type="ctrShpMap" val="fNode"/>
            </dgm:alg>
          </dgm:if>
          <dgm:else name="Name9">
            <dgm:alg type="cycle">
              <dgm:param type="stAng" val="0"/>
              <dgm:param type="spanAng" val="-360"/>
              <dgm:param type="ctrShpMap" val="fNode"/>
            </dgm:alg>
          </dgm:else>
        </dgm:choose>
      </dgm:else>
    </dgm:choose>
    <dgm:shape xmlns:r="http://schemas.openxmlformats.org/officeDocument/2006/relationships" r:blip="">
      <dgm:adjLst/>
    </dgm:shape>
    <dgm:presOf/>
    <dgm:choose name="Name10">
      <dgm:if name="Name11" func="var" arg="dir" op="equ" val="norm">
        <dgm:choose name="Name12">
          <dgm:if name="Name13" axis="ch ch" ptType="node node" st="1 1" cnt="1 0" func="cnt" op="equ" val="1">
            <dgm:constrLst>
              <dgm:constr type="diam" val="170"/>
              <dgm:constr type="w" for="ch" forName="centerShape" refType="w"/>
              <dgm:constr type="w" for="ch" forName="oneComp" refType="w" refFor="ch" refForName="centerShape" op="equ" fact="0.7"/>
              <dgm:constr type="sp" refType="w" refFor="ch" refForName="oneComp" fact="0.3"/>
              <dgm:constr type="sibSp" refType="w" refFor="ch" refForName="oneComp" fact="0.3"/>
              <dgm:constr type="primFontSz" for="ch" forName="centerShape" val="65"/>
              <dgm:constr type="primFontSz" for="des" forName="oneNode" refType="primFontSz" refFor="ch" refForName="centerShape" fact="0.95"/>
              <dgm:constr type="primFontSz" for="des" forName="oneNode" refType="primFontSz" refFor="ch" refForName="centerShape" op="lte" fact="0.95"/>
              <dgm:constr type="diam" for="ch" forName="singleconn" refType="diam" op="equ" fact="-1"/>
              <dgm:constr type="h" for="ch" forName="singleconn" refType="w" refFor="ch" refForName="oneComp" fact="0.24"/>
              <dgm:constr type="w" for="ch" forName="dummya" refType="w" refFor="ch" refForName="oneComp" op="equ"/>
              <dgm:constr type="w" for="ch" forName="dummyb" refType="w" refFor="ch" refForName="oneComp" op="equ"/>
              <dgm:constr type="w" for="ch" forName="dummyc" refType="w" refFor="ch" refForName="oneComp" op="equ"/>
            </dgm:constrLst>
          </dgm:if>
          <dgm:else name="Name14">
            <dgm:constrLst>
              <dgm:constr type="diam" val="170"/>
              <dgm:constr type="w" for="ch" forName="centerShape" refType="w"/>
              <dgm:constr type="w" for="ch" forName="node" refType="w" refFor="ch" refForName="centerShape" op="equ" fact="0.7"/>
              <dgm:constr type="sp" refType="w" refFor="ch" refForName="node" fact="0.3"/>
              <dgm:constr type="sibSp" refType="w" refFor="ch" refForName="node" fact="0.3"/>
              <dgm:constr type="primFontSz" for="ch" forName="centerShape" val="65"/>
              <dgm:constr type="primFontSz" for="des" forName="node" refType="primFontSz" refFor="ch" refForName="centerShape" fact="0.78"/>
              <dgm:constr type="primFontSz" for="ch" forName="node" refType="primFontSz" refFor="ch" refForName="centerShape" op="lte" fact="0.95"/>
              <dgm:constr type="diam" for="ch" forName="sibTrans" refType="diam" op="equ"/>
              <dgm:constr type="h" for="ch" forName="sibTrans" refType="w" refFor="ch" refForName="node" fact="0.24"/>
              <dgm:constr type="w" for="ch" forName="dummy" val="1"/>
            </dgm:constrLst>
          </dgm:else>
        </dgm:choose>
      </dgm:if>
      <dgm:else name="Name15">
        <dgm:choose name="Name16">
          <dgm:if name="Name17" axis="ch ch" ptType="node node" st="1 1" cnt="1 0" func="cnt" op="equ" val="1">
            <dgm:constrLst>
              <dgm:constr type="diam" val="170"/>
              <dgm:constr type="w" for="ch" forName="centerShape" refType="w"/>
              <dgm:constr type="w" for="ch" forName="oneComp" refType="w" refFor="ch" refForName="centerShape" op="equ" fact="0.7"/>
              <dgm:constr type="sp" refType="w" refFor="ch" refForName="oneComp" fact="0.3"/>
              <dgm:constr type="sibSp" refType="w" refFor="ch" refForName="oneComp" fact="0.3"/>
              <dgm:constr type="primFontSz" for="ch" forName="centerShape" val="65"/>
              <dgm:constr type="primFontSz" for="des" forName="oneNode" refType="primFontSz" refFor="ch" refForName="centerShape" fact="0.95"/>
              <dgm:constr type="primFontSz" for="ch" forName="oneNode" refType="primFontSz" refFor="ch" refForName="centerShape" op="lte" fact="0.95"/>
              <dgm:constr type="diam" for="ch" forName="singleconn" refType="diam"/>
              <dgm:constr type="h" for="ch" forName="singleconn" refType="w" refFor="ch" refForName="oneComp" fact="0.24"/>
              <dgm:constr type="diam" for="ch" refType="diam" op="equ"/>
              <dgm:constr type="w" for="ch" forName="dummya" refType="w" refFor="ch" refForName="oneComp" op="equ"/>
              <dgm:constr type="w" for="ch" forName="dummyb" refType="w" refFor="ch" refForName="oneComp" op="equ"/>
              <dgm:constr type="w" for="ch" forName="dummyc" refType="w" refFor="ch" refForName="oneComp" op="equ"/>
            </dgm:constrLst>
          </dgm:if>
          <dgm:else name="Name18">
            <dgm:constrLst>
              <dgm:constr type="diam" val="170"/>
              <dgm:constr type="w" for="ch" forName="centerShape" refType="w"/>
              <dgm:constr type="w" for="ch" forName="node" refType="w" refFor="ch" refForName="centerShape" op="equ" fact="0.7"/>
              <dgm:constr type="sp" refType="w" refFor="ch" refForName="node" fact="0.3"/>
              <dgm:constr type="sibSp" refType="w" refFor="ch" refForName="node" fact="0.3"/>
              <dgm:constr type="primFontSz" for="ch" forName="centerShape" val="65"/>
              <dgm:constr type="primFontSz" for="des" forName="node" refType="primFontSz" refFor="ch" refForName="centerShape" fact="0.78"/>
              <dgm:constr type="primFontSz" for="ch" forName="node" refType="primFontSz" refFor="ch" refForName="centerShape" op="lte" fact="0.95"/>
              <dgm:constr type="diam" for="ch" ptType="sibTrans" refType="diam" fact="-1"/>
              <dgm:constr type="h" for="ch" forName="sibTrans" refType="w" refFor="ch" refForName="node" fact="0.24"/>
              <dgm:constr type="diam" for="ch" refType="diam" op="equ" fact="-1"/>
              <dgm:constr type="w" for="ch" forName="dummy" val="1"/>
            </dgm:constrLst>
          </dgm:else>
        </dgm:choose>
      </dgm:else>
    </dgm:choose>
    <dgm:ruleLst>
      <dgm:rule type="diam" val="INF" fact="NaN" max="NaN"/>
    </dgm:ruleLst>
    <dgm:forEach name="Name19" axis="ch" ptType="node" cnt="1">
      <dgm:layoutNode name="centerShape" styleLbl="node0">
        <dgm:alg type="tx"/>
        <dgm:shape xmlns:r="http://schemas.openxmlformats.org/officeDocument/2006/relationships" type="ellipse" r:blip="">
          <dgm:adjLst/>
        </dgm:shape>
        <dgm:presOf axis="self"/>
        <dgm:constrLst>
          <dgm:constr type="h" refType="w"/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forEach name="Name20" axis="ch">
        <dgm:forEach name="Name21" axis="self" ptType="node">
          <dgm:choose name="Name22">
            <dgm:if name="Name23" axis="par ch" ptType="node node" func="cnt" op="gt" val="1">
              <dgm:layoutNode name="node" styleLbl="node1">
                <dgm:varLst>
                  <dgm:bulletEnabled val="1"/>
                </dgm:varLst>
                <dgm:alg type="tx">
                  <dgm:param type="txAnchorVertCh" val="mid"/>
                </dgm:alg>
                <dgm:shape xmlns:r="http://schemas.openxmlformats.org/officeDocument/2006/relationships" type="ellipse" r:blip="">
                  <dgm:adjLst/>
                </dgm:shape>
                <dgm:presOf axis="desOrSelf" ptType="node"/>
                <dgm:constrLst>
                  <dgm:constr type="h" refType="w"/>
                  <dgm:constr type="tMarg" refType="primFontSz" fact="0.1"/>
                  <dgm:constr type="bMarg" refType="primFontSz" fact="0.1"/>
                  <dgm:constr type="lMarg" refType="primFontSz" fact="0.1"/>
                  <dgm:constr type="rMarg" refType="primFontSz" fact="0.1"/>
                </dgm:constrLst>
                <dgm:ruleLst>
                  <dgm:rule type="primFontSz" val="5" fact="NaN" max="NaN"/>
                </dgm:ruleLst>
              </dgm:layoutNode>
              <dgm:layoutNode name="dummy">
                <dgm:alg type="sp"/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</dgm:constrLst>
                <dgm:ruleLst/>
              </dgm:layoutNode>
              <dgm:forEach name="sibTransForEach" axis="followSib" ptType="sibTrans" hideLastTrans="0" cnt="1">
                <dgm:layoutNode name="sibTrans" styleLbl="sibTrans2D1">
                  <dgm:alg type="conn">
                    <dgm:param type="connRout" val="curve"/>
                    <dgm:param type="begPts" val="ctr"/>
                    <dgm:param type="endPts" val="ctr"/>
                    <dgm:param type="begSty" val="noArr"/>
                    <dgm:param type="endSty" val="noArr"/>
                    <dgm:param type="dstNode" val="node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</dgm:if>
            <dgm:if name="Name24" axis="par ch" ptType="node node" func="cnt" op="equ" val="1">
              <dgm:layoutNode name="oneComp">
                <dgm:alg type="composite">
                  <dgm:param type="ar" val="1"/>
                </dgm:alg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  <dgm:constr type="l" for="ch" forName="dummyConnPt" refType="w" fact="0.5"/>
                  <dgm:constr type="t" for="ch" forName="dummyConnPt" refType="w" fact="0.5"/>
                  <dgm:constr type="l" for="ch" forName="oneNode"/>
                  <dgm:constr type="t" for="ch" forName="oneNode"/>
                  <dgm:constr type="h" for="ch" forName="oneNode" refType="h"/>
                  <dgm:constr type="w" for="ch" forName="oneNode" refType="w"/>
                </dgm:constrLst>
                <dgm:ruleLst/>
                <dgm:layoutNode name="dummyConnPt" styleLbl="node1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w" val="1"/>
                    <dgm:constr type="h" val="1"/>
                  </dgm:constrLst>
                  <dgm:ruleLst/>
                </dgm:layoutNode>
                <dgm:layoutNode name="oneNode" styleLbl="node1">
                  <dgm:varLst>
                    <dgm:bulletEnabled val="1"/>
                  </dgm:varLst>
                  <dgm:alg type="tx">
                    <dgm:param type="txAnchorVertCh" val="mid"/>
                  </dgm:alg>
                  <dgm:shape xmlns:r="http://schemas.openxmlformats.org/officeDocument/2006/relationships" type="ellipse" r:blip="">
                    <dgm:adjLst/>
                  </dgm:shape>
                  <dgm:presOf axis="desOrSelf" ptType="node"/>
                  <dgm:constrLst>
                    <dgm:constr type="h" refType="w"/>
                    <dgm:constr type="tMarg" refType="primFontSz" fact="0.1"/>
                    <dgm:constr type="bMarg" refType="primFontSz" fact="0.1"/>
                    <dgm:constr type="lMarg" refType="primFontSz" fact="0.1"/>
                    <dgm:constr type="rMarg" refType="primFontSz" fact="0.1"/>
                  </dgm:constrLst>
                  <dgm:ruleLst>
                    <dgm:rule type="primFontSz" val="5" fact="NaN" max="NaN"/>
                  </dgm:ruleLst>
                </dgm:layoutNode>
              </dgm:layoutNode>
              <dgm:layoutNode name="dummya">
                <dgm:alg type="sp"/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</dgm:constrLst>
                <dgm:ruleLst/>
              </dgm:layoutNode>
              <dgm:layoutNode name="dummyb">
                <dgm:alg type="sp"/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</dgm:constrLst>
                <dgm:ruleLst/>
              </dgm:layoutNode>
              <dgm:layoutNode name="dummyc">
                <dgm:alg type="sp"/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</dgm:constrLst>
                <dgm:ruleLst/>
              </dgm:layoutNode>
              <dgm:forEach name="sibTransForEach1" axis="followSib" ptType="sibTrans" hideLastTrans="0" cnt="1">
                <dgm:layoutNode name="singleconn" styleLbl="sibTrans2D1">
                  <dgm:alg type="conn">
                    <dgm:param type="connRout" val="longCurve"/>
                    <dgm:param type="begPts" val="bCtr"/>
                    <dgm:param type="endPts" val="tCtr"/>
                    <dgm:param type="begSty" val="noArr"/>
                    <dgm:param type="endSty" val="noArr"/>
                    <dgm:param type="srcNode" val="dummyConnPt"/>
                    <dgm:param type="dstNode" val="dummyConnPt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</dgm:if>
            <dgm:else name="Name25"/>
          </dgm:choose>
        </dgm:forEach>
      </dgm:forEach>
    </dgm:forEach>
  </dgm:layoutNode>
</dgm:layoutDef>
</file>

<file path=ppt/diagrams/layout7.xml><?xml version="1.0" encoding="utf-8"?>
<dgm:layoutDef xmlns:dgm="http://schemas.openxmlformats.org/drawingml/2006/diagram" xmlns:a="http://schemas.openxmlformats.org/drawingml/2006/main" uniqueId="urn:microsoft.com/office/officeart/2005/8/layout/arrow3">
  <dgm:title val=""/>
  <dgm:desc val=""/>
  <dgm:catLst>
    <dgm:cat type="relationship" pri="5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4" srcId="0" destId="1" srcOrd="0" destOrd="0"/>
        <dgm:cxn modelId="5" srcId="0" destId="2" srcOrd="1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clrData>
  <dgm:layoutNode name="compositeShape">
    <dgm:varLst>
      <dgm:chMax val="2"/>
      <dgm:dir/>
      <dgm:resizeHandles val="exact"/>
    </dgm:varLst>
    <dgm:alg type="composite">
      <dgm:param type="horzAlign" val="none"/>
      <dgm:param type="vertAlign" val="none"/>
    </dgm:alg>
    <dgm:shape xmlns:r="http://schemas.openxmlformats.org/officeDocument/2006/relationships" r:blip="">
      <dgm:adjLst/>
    </dgm:shape>
    <dgm:presOf/>
    <dgm:choose name="Name0">
      <dgm:if name="Name1" func="var" arg="dir" op="equ" val="norm">
        <dgm:choose name="Name2">
          <dgm:if name="Name3" axis="ch" ptType="node" func="cnt" op="gte" val="2">
            <dgm:constrLst>
              <dgm:constr type="w" for="ch" forName="divider" refType="w"/>
              <dgm:constr type="h" for="ch" forName="divider" refType="w" fact="0.2"/>
              <dgm:constr type="h" for="ch" forName="divider" refType="h" op="gte" fact="0.2"/>
              <dgm:constr type="h" for="ch" forName="divider" refType="h" op="lte" fact="0.4"/>
              <dgm:constr type="ctrX" for="ch" forName="divider" refType="w" fact="0.5"/>
              <dgm:constr type="ctrY" for="ch" forName="divider" refType="h" fact="0.5"/>
              <dgm:constr type="w" for="ch" forName="downArrow" refType="w" fact="0.3"/>
              <dgm:constr type="h" for="ch" forName="downArrow" refType="h" fact="0.4"/>
              <dgm:constr type="l" for="ch" forName="downArrow" refType="w" fact="0.1"/>
              <dgm:constr type="t" for="ch" forName="downArrow" refType="h" fact="0.05"/>
              <dgm:constr type="lOff" for="ch" forName="downArrow" refType="w" fact="0.02"/>
              <dgm:constr type="w" for="ch" forName="downArrowText" refType="w" fact="0.32"/>
              <dgm:constr type="h" for="ch" forName="downArrowText" refType="h" fact="0.42"/>
              <dgm:constr type="t" for="ch" forName="downArrowText"/>
              <dgm:constr type="r" for="ch" forName="downArrowText" refType="w" fact="0.85"/>
              <dgm:constr type="w" for="ch" forName="upArrow" refType="w" fact="0.3"/>
              <dgm:constr type="h" for="ch" forName="upArrow" refType="h" fact="0.4"/>
              <dgm:constr type="b" for="ch" forName="upArrow" refType="h" fact="0.95"/>
              <dgm:constr type="r" for="ch" forName="upArrow" refType="w" fact="0.9"/>
              <dgm:constr type="rOff" for="ch" forName="upArrow" refType="w" fact="-0.02"/>
              <dgm:constr type="w" for="ch" forName="upArrowText" refType="w" fact="0.32"/>
              <dgm:constr type="h" for="ch" forName="upArrowText" refType="h" fact="0.42"/>
              <dgm:constr type="b" for="ch" forName="upArrowText" refType="h"/>
              <dgm:constr type="l" for="ch" forName="upArrowText" refType="w" fact="0.15"/>
              <dgm:constr type="primFontSz" for="ch" ptType="node" op="equ" val="65"/>
            </dgm:constrLst>
          </dgm:if>
          <dgm:else name="Name4">
            <dgm:constrLst>
              <dgm:constr type="w" for="ch" forName="downArrow" refType="w" fact="0.4"/>
              <dgm:constr type="h" for="ch" forName="downArrow" refType="h" fact="0.8"/>
              <dgm:constr type="l" for="ch" forName="downArrow" refType="w" fact="0.02"/>
              <dgm:constr type="t" for="ch" forName="downArrow" refType="h" fact="0.05"/>
              <dgm:constr type="lOff" for="ch" forName="downArrow" refType="w" fact="0.02"/>
              <dgm:constr type="w" for="ch" forName="downArrowText" refType="w" fact="0.5"/>
              <dgm:constr type="h" for="ch" forName="downArrowText" refType="h"/>
              <dgm:constr type="t" for="ch" forName="downArrowText"/>
              <dgm:constr type="r" for="ch" forName="downArrowText" refType="w"/>
              <dgm:constr type="primFontSz" for="ch" ptType="node" op="equ" val="65"/>
            </dgm:constrLst>
          </dgm:else>
        </dgm:choose>
      </dgm:if>
      <dgm:else name="Name5">
        <dgm:choose name="Name6">
          <dgm:if name="Name7" axis="ch" ptType="node" func="cnt" op="gte" val="2">
            <dgm:constrLst>
              <dgm:constr type="w" for="ch" forName="divider" refType="w"/>
              <dgm:constr type="h" for="ch" forName="divider" refType="w" fact="0.2"/>
              <dgm:constr type="h" for="ch" forName="divider" refType="h" op="gte" fact="0.2"/>
              <dgm:constr type="h" for="ch" forName="divider" refType="h" op="lte" fact="0.4"/>
              <dgm:constr type="ctrX" for="ch" forName="divider" refType="w" fact="0.5"/>
              <dgm:constr type="ctrY" for="ch" forName="divider" refType="h" fact="0.5"/>
              <dgm:constr type="w" for="ch" forName="downArrow" refType="w" fact="0.3"/>
              <dgm:constr type="h" for="ch" forName="downArrow" refType="h" fact="0.4"/>
              <dgm:constr type="r" for="ch" forName="downArrow" refType="w" fact="0.9"/>
              <dgm:constr type="t" for="ch" forName="downArrow" refType="h" fact="0.05"/>
              <dgm:constr type="rOff" for="ch" forName="downArrow" refType="w" fact="-0.02"/>
              <dgm:constr type="w" for="ch" forName="downArrowText" refType="w" fact="0.32"/>
              <dgm:constr type="h" for="ch" forName="downArrowText" refType="h" fact="0.42"/>
              <dgm:constr type="t" for="ch" forName="downArrowText"/>
              <dgm:constr type="l" for="ch" forName="downArrowText" refType="w" fact="0.15"/>
              <dgm:constr type="w" for="ch" forName="upArrow" refType="w" fact="0.3"/>
              <dgm:constr type="h" for="ch" forName="upArrow" refType="h" fact="0.4"/>
              <dgm:constr type="b" for="ch" forName="upArrow" refType="h" fact="0.95"/>
              <dgm:constr type="l" for="ch" forName="upArrow" refType="w" fact="0.1"/>
              <dgm:constr type="lOff" for="ch" forName="upArrow" refType="w" fact="0.02"/>
              <dgm:constr type="w" for="ch" forName="upArrowText" refType="w" fact="0.32"/>
              <dgm:constr type="h" for="ch" forName="upArrowText" refType="h" fact="0.42"/>
              <dgm:constr type="b" for="ch" forName="upArrowText" refType="h"/>
              <dgm:constr type="r" for="ch" forName="upArrowText" refType="w" fact="0.85"/>
              <dgm:constr type="primFontSz" for="ch" ptType="node" op="equ" val="65"/>
            </dgm:constrLst>
          </dgm:if>
          <dgm:else name="Name8">
            <dgm:constrLst>
              <dgm:constr type="w" for="ch" forName="downArrow" refType="w" fact="0.4"/>
              <dgm:constr type="h" for="ch" forName="downArrow" refType="h" fact="0.8"/>
              <dgm:constr type="r" for="ch" forName="downArrow" refType="w" fact="0.98"/>
              <dgm:constr type="t" for="ch" forName="downArrow" refType="h" fact="0.05"/>
              <dgm:constr type="rOff" for="ch" forName="downArrow" refType="w" fact="-0.02"/>
              <dgm:constr type="w" for="ch" forName="downArrowText" refType="w" fact="0.5"/>
              <dgm:constr type="h" for="ch" forName="downArrowText" refType="h"/>
              <dgm:constr type="t" for="ch" forName="downArrowText"/>
              <dgm:constr type="l" for="ch" forName="downArrowText"/>
              <dgm:constr type="primFontSz" for="ch" ptType="node" op="equ" val="65"/>
            </dgm:constrLst>
          </dgm:else>
        </dgm:choose>
      </dgm:else>
    </dgm:choose>
    <dgm:ruleLst/>
    <dgm:choose name="Name9">
      <dgm:if name="Name10" axis="ch" ptType="node" func="cnt" op="gte" val="2">
        <dgm:layoutNode name="divider" styleLbl="fgShp">
          <dgm:alg type="sp"/>
          <dgm:choose name="Name11">
            <dgm:if name="Name12" func="var" arg="dir" op="equ" val="norm">
              <dgm:shape xmlns:r="http://schemas.openxmlformats.org/officeDocument/2006/relationships" rot="-5" type="mathMinus" r:blip="">
                <dgm:adjLst/>
              </dgm:shape>
            </dgm:if>
            <dgm:else name="Name13">
              <dgm:shape xmlns:r="http://schemas.openxmlformats.org/officeDocument/2006/relationships" rot="5" type="mathMinus" r:blip="">
                <dgm:adjLst/>
              </dgm:shape>
            </dgm:else>
          </dgm:choose>
          <dgm:presOf/>
          <dgm:constrLst/>
          <dgm:ruleLst/>
        </dgm:layoutNode>
      </dgm:if>
      <dgm:else name="Name14"/>
    </dgm:choose>
    <dgm:forEach name="Name15" axis="ch" ptType="node" cnt="1">
      <dgm:layoutNode name="downArrow" styleLbl="node1">
        <dgm:alg type="sp"/>
        <dgm:shape xmlns:r="http://schemas.openxmlformats.org/officeDocument/2006/relationships" type="downArrow" r:blip="">
          <dgm:adjLst/>
        </dgm:shape>
        <dgm:presOf/>
        <dgm:constrLst/>
        <dgm:ruleLst/>
      </dgm:layoutNode>
      <dgm:layoutNode name="downArrowText" styleLbl="revTx">
        <dgm:varLst>
          <dgm:bulletEnabled val="1"/>
        </dgm:varLst>
        <dgm:alg type="tx">
          <dgm:param type="txAnchorVertCh" val="mid"/>
        </dgm:alg>
        <dgm:shape xmlns:r="http://schemas.openxmlformats.org/officeDocument/2006/relationships" type="rect" r:blip="">
          <dgm:adjLst/>
        </dgm:shape>
        <dgm:presOf axis="desOrSelf" ptType="node"/>
        <dgm:constrLst/>
        <dgm:ruleLst>
          <dgm:rule type="primFontSz" val="5" fact="NaN" max="NaN"/>
        </dgm:ruleLst>
      </dgm:layoutNode>
    </dgm:forEach>
    <dgm:forEach name="Name16" axis="ch" ptType="node" st="2" cnt="1">
      <dgm:layoutNode name="upArrow" styleLbl="node1">
        <dgm:alg type="sp"/>
        <dgm:shape xmlns:r="http://schemas.openxmlformats.org/officeDocument/2006/relationships" type="upArrow" r:blip="">
          <dgm:adjLst/>
        </dgm:shape>
        <dgm:presOf/>
        <dgm:constrLst/>
        <dgm:ruleLst/>
      </dgm:layoutNode>
      <dgm:layoutNode name="upArrowText" styleLbl="revTx">
        <dgm:varLst>
          <dgm:bulletEnabled val="1"/>
        </dgm:varLst>
        <dgm:alg type="tx">
          <dgm:param type="txAnchorVertCh" val="mid"/>
        </dgm:alg>
        <dgm:shape xmlns:r="http://schemas.openxmlformats.org/officeDocument/2006/relationships" type="rect" r:blip="">
          <dgm:adjLst/>
        </dgm:shape>
        <dgm:presOf axis="desOrSelf" ptType="node"/>
        <dgm:constrLst/>
        <dgm:ruleLst>
          <dgm:rule type="primFontSz" val="5" fact="NaN" max="NaN"/>
        </dgm:ruleLst>
      </dgm:layoutNode>
    </dgm:forEach>
  </dgm:layoutNode>
</dgm:layoutDef>
</file>

<file path=ppt/diagrams/layout8.xml><?xml version="1.0" encoding="utf-8"?>
<dgm:layoutDef xmlns:dgm="http://schemas.openxmlformats.org/drawingml/2006/diagram" xmlns:a="http://schemas.openxmlformats.org/drawingml/2006/main" uniqueId="urn:microsoft.com/office/officeart/2009/3/layout/IncreasingArrowsProcess">
  <dgm:title val=""/>
  <dgm:desc val=""/>
  <dgm:catLst>
    <dgm:cat type="process" pri="5500"/>
  </dgm:catLst>
  <dgm:sampData>
    <dgm:dataModel>
      <dgm:ptLst>
        <dgm:pt modelId="0" type="doc"/>
        <dgm:pt modelId="10">
          <dgm:prSet phldr="1"/>
        </dgm:pt>
        <dgm:pt modelId="11">
          <dgm:prSet phldr="1"/>
        </dgm:pt>
        <dgm:pt modelId="20">
          <dgm:prSet phldr="1"/>
        </dgm:pt>
        <dgm:pt modelId="21">
          <dgm:prSet phldr="1"/>
        </dgm:pt>
        <dgm:pt modelId="30">
          <dgm:prSet phldr="1"/>
        </dgm:pt>
        <dgm:pt modelId="31">
          <dgm:prSet phldr="1"/>
        </dgm:pt>
      </dgm:ptLst>
      <dgm:cxnLst>
        <dgm:cxn modelId="40" srcId="0" destId="10" srcOrd="0" destOrd="0"/>
        <dgm:cxn modelId="12" srcId="10" destId="11" srcOrd="0" destOrd="0"/>
        <dgm:cxn modelId="50" srcId="0" destId="20" srcOrd="1" destOrd="0"/>
        <dgm:cxn modelId="22" srcId="20" destId="21" srcOrd="0" destOrd="0"/>
        <dgm:cxn modelId="60" srcId="0" destId="30" srcOrd="2" destOrd="0"/>
        <dgm:cxn modelId="32" srcId="30" destId="31" srcOrd="0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11">
          <dgm:prSet phldr="1"/>
        </dgm:pt>
        <dgm:pt modelId="20">
          <dgm:prSet phldr="1"/>
        </dgm:pt>
        <dgm:pt modelId="21">
          <dgm:prSet phldr="1"/>
        </dgm:pt>
      </dgm:ptLst>
      <dgm:cxnLst>
        <dgm:cxn modelId="40" srcId="0" destId="10" srcOrd="0" destOrd="0"/>
        <dgm:cxn modelId="12" srcId="10" destId="11" srcOrd="0" destOrd="0"/>
        <dgm:cxn modelId="50" srcId="0" destId="20" srcOrd="1" destOrd="0"/>
        <dgm:cxn modelId="22" srcId="20" destId="21" srcOrd="0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11">
          <dgm:prSet phldr="1"/>
        </dgm:pt>
        <dgm:pt modelId="20">
          <dgm:prSet phldr="1"/>
        </dgm:pt>
        <dgm:pt modelId="21">
          <dgm:prSet phldr="1"/>
        </dgm:pt>
        <dgm:pt modelId="30">
          <dgm:prSet phldr="1"/>
        </dgm:pt>
        <dgm:pt modelId="31">
          <dgm:prSet phldr="1"/>
        </dgm:pt>
      </dgm:ptLst>
      <dgm:cxnLst>
        <dgm:cxn modelId="40" srcId="0" destId="10" srcOrd="0" destOrd="0"/>
        <dgm:cxn modelId="12" srcId="10" destId="11" srcOrd="0" destOrd="0"/>
        <dgm:cxn modelId="50" srcId="0" destId="20" srcOrd="1" destOrd="0"/>
        <dgm:cxn modelId="22" srcId="20" destId="21" srcOrd="0" destOrd="0"/>
        <dgm:cxn modelId="60" srcId="0" destId="30" srcOrd="2" destOrd="0"/>
        <dgm:cxn modelId="32" srcId="30" destId="31" srcOrd="0" destOrd="0"/>
      </dgm:cxnLst>
      <dgm:bg/>
      <dgm:whole/>
    </dgm:dataModel>
  </dgm:clrData>
  <dgm:layoutNode name="Name0">
    <dgm:varLst>
      <dgm:chMax val="5"/>
      <dgm:chPref val="5"/>
      <dgm:dir/>
      <dgm:animLvl val="lvl"/>
    </dgm:varLst>
    <dgm:shape xmlns:r="http://schemas.openxmlformats.org/officeDocument/2006/relationships" r:blip="">
      <dgm:adjLst/>
    </dgm:shape>
    <dgm:choose name="Name1">
      <dgm:if name="Name2" axis="ch" ptType="node" func="cnt" op="equ" val="1">
        <dgm:choose name="Name3">
          <dgm:if name="Name4" axis="ch ch" ptType="node node" func="cnt" op="equ" val="0">
            <dgm:alg type="composite">
              <dgm:param type="ar" val="6.8662"/>
            </dgm:alg>
            <dgm:choose name="Name5">
              <dgm:if name="Name6" func="var" arg="dir" op="equ" val="norm">
                <dgm:constrLst>
                  <dgm:constr type="primFontSz" for="des" forName="parentText1" val="65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/>
                </dgm:constrLst>
              </dgm:if>
              <dgm:else name="Name7">
                <dgm:constrLst>
                  <dgm:constr type="primFontSz" for="des" forName="parentText1" val="65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/>
                </dgm:constrLst>
              </dgm:else>
            </dgm:choose>
          </dgm:if>
          <dgm:else name="Name8">
            <dgm:alg type="composite">
              <dgm:param type="ar" val="1.9864"/>
            </dgm:alg>
            <dgm:choose name="Name9">
              <dgm:if name="Name10" func="var" arg="dir" op="equ" val="norm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2893"/>
                  <dgm:constr type="l" for="ch" forName="childText1" refType="w" fact="0"/>
                  <dgm:constr type="t" for="ch" forName="childText1" refType="h" fact="0.224"/>
                  <dgm:constr type="w" for="ch" forName="childText1" refType="w" fact="0.9241"/>
                  <dgm:constr type="h" for="ch" forName="childText1" refType="h" fact="0.776"/>
                </dgm:constrLst>
              </dgm:if>
              <dgm:else name="Name11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2893"/>
                  <dgm:constr type="l" for="ch" forName="childText1" refType="w" fact="0.076"/>
                  <dgm:constr type="t" for="ch" forName="childText1" refType="h" fact="0.224"/>
                  <dgm:constr type="w" for="ch" forName="childText1" refType="w" fact="0.9241"/>
                  <dgm:constr type="h" for="ch" forName="childText1" refType="h" fact="0.776"/>
                </dgm:constrLst>
              </dgm:else>
            </dgm:choose>
          </dgm:else>
        </dgm:choose>
      </dgm:if>
      <dgm:if name="Name12" axis="ch" ptType="node" func="cnt" op="equ" val="2">
        <dgm:choose name="Name13">
          <dgm:if name="Name14" axis="ch ch" ptType="node node" func="cnt" op="equ" val="0">
            <dgm:alg type="composite">
              <dgm:param type="ar" val="5.1498"/>
            </dgm:alg>
            <dgm:choose name="Name15">
              <dgm:if name="Name16" func="var" arg="dir" op="equ" val="norm">
                <dgm:constrLst>
                  <dgm:constr type="primFontSz" for="des" forName="parentText1" val="65"/>
                  <dgm:constr type="primFontSz" for="des" forName="parentText2" refType="primFontSz" refFor="des" refForName="parent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7501"/>
                  <dgm:constr type="l" for="ch" forName="parentText2" refType="w" fact="0.462"/>
                  <dgm:constr type="t" for="ch" forName="parentText2" refType="h" fact="0.2499"/>
                  <dgm:constr type="w" for="ch" forName="parentText2" refType="w" fact="0.538"/>
                  <dgm:constr type="h" for="ch" forName="parentText2" refType="h" fact="0.7501"/>
                </dgm:constrLst>
              </dgm:if>
              <dgm:else name="Name17">
                <dgm:constrLst>
                  <dgm:constr type="primFontSz" for="des" forName="parentText1" val="65"/>
                  <dgm:constr type="primFontSz" for="des" forName="parentText2" refType="primFontSz" refFor="des" refForName="parent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7501"/>
                  <dgm:constr type="l" for="ch" forName="parentText2" refType="w" fact="0"/>
                  <dgm:constr type="t" for="ch" forName="parentText2" refType="h" fact="0.2499"/>
                  <dgm:constr type="w" for="ch" forName="parentText2" refType="w" fact="0.538"/>
                  <dgm:constr type="h" for="ch" forName="parentText2" refType="h" fact="0.7501"/>
                </dgm:constrLst>
              </dgm:else>
            </dgm:choose>
          </dgm:if>
          <dgm:else name="Name18">
            <dgm:alg type="composite">
              <dgm:param type="ar" val="2.0563"/>
            </dgm:alg>
            <dgm:choose name="Name19">
              <dgm:if name="Name20" func="var" arg="dir" op="equ" val="norm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primFontSz" for="des" forName="childText2" refType="primFontSz" refFor="des" refForName="parentText1" op="lte"/>
                  <dgm:constr type="primFontSz" for="des" forName="childText1" refType="primFontSz" refFor="des" refForName="parentText2" op="lte"/>
                  <dgm:constr type="primFontSz" for="des" forName="childText2" refType="primFontSz" refFor="des" refForName="parentText2" op="lte"/>
                  <dgm:constr type="primFontSz" for="des" forName="parentText2" refType="primFontSz" refFor="des" refForName="parentText1" op="equ"/>
                  <dgm:constr type="primFontSz" for="des" forName="childText2" refType="primFontSz" refFor="des" refForName="child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2995"/>
                  <dgm:constr type="l" for="ch" forName="parentText2" refType="w" fact="0.462"/>
                  <dgm:constr type="t" for="ch" forName="parentText2" refType="h" fact="0.0998"/>
                  <dgm:constr type="w" for="ch" forName="parentText2" refType="w" fact="0.538"/>
                  <dgm:constr type="h" for="ch" forName="parentText2" refType="h" fact="0.2995"/>
                  <dgm:constr type="l" for="ch" forName="childText1" refType="w" fact="0"/>
                  <dgm:constr type="t" for="ch" forName="childText1" refType="h" fact="0.2317"/>
                  <dgm:constr type="w" for="ch" forName="childText1" refType="w" fact="0.462"/>
                  <dgm:constr type="h" for="ch" forName="childText1" refType="h" fact="0.6685"/>
                  <dgm:constr type="l" for="ch" forName="childText2" refType="w" fact="0.462"/>
                  <dgm:constr type="t" for="ch" forName="childText2" refType="h" fact="0.3315"/>
                  <dgm:constr type="w" for="ch" forName="childText2" refType="w" fact="0.462"/>
                  <dgm:constr type="h" for="ch" forName="childText2" refType="h" fact="0.6685"/>
                </dgm:constrLst>
              </dgm:if>
              <dgm:else name="Name21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primFontSz" for="des" forName="childText2" refType="primFontSz" refFor="des" refForName="parentText1" op="lte"/>
                  <dgm:constr type="primFontSz" for="des" forName="childText1" refType="primFontSz" refFor="des" refForName="parentText2" op="lte"/>
                  <dgm:constr type="primFontSz" for="des" forName="childText2" refType="primFontSz" refFor="des" refForName="parentText2" op="lte"/>
                  <dgm:constr type="primFontSz" for="des" forName="parentText2" refType="primFontSz" refFor="des" refForName="parentText1" op="equ"/>
                  <dgm:constr type="primFontSz" for="des" forName="childText2" refType="primFontSz" refFor="des" refForName="child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2995"/>
                  <dgm:constr type="l" for="ch" forName="parentText2" refType="w" fact="0"/>
                  <dgm:constr type="t" for="ch" forName="parentText2" refType="h" fact="0.0998"/>
                  <dgm:constr type="w" for="ch" forName="parentText2" refType="w" fact="0.538"/>
                  <dgm:constr type="h" for="ch" forName="parentText2" refType="h" fact="0.2995"/>
                  <dgm:constr type="l" for="ch" forName="childText1" refType="w" fact="0.538"/>
                  <dgm:constr type="t" for="ch" forName="childText1" refType="h" fact="0.2317"/>
                  <dgm:constr type="w" for="ch" forName="childText1" refType="w" fact="0.462"/>
                  <dgm:constr type="h" for="ch" forName="childText1" refType="h" fact="0.6685"/>
                  <dgm:constr type="l" for="ch" forName="childText2" refType="w" fact="0.076"/>
                  <dgm:constr type="t" for="ch" forName="childText2" refType="h" fact="0.3315"/>
                  <dgm:constr type="w" for="ch" forName="childText2" refType="w" fact="0.462"/>
                  <dgm:constr type="h" for="ch" forName="childText2" refType="h" fact="0.6685"/>
                </dgm:constrLst>
              </dgm:else>
            </dgm:choose>
          </dgm:else>
        </dgm:choose>
      </dgm:if>
      <dgm:if name="Name22" axis="ch" ptType="node" func="cnt" op="equ" val="3">
        <dgm:choose name="Name23">
          <dgm:if name="Name24" axis="ch ch" ptType="node node" func="cnt" op="equ" val="0">
            <dgm:alg type="composite">
              <dgm:param type="ar" val="4.1198"/>
            </dgm:alg>
            <dgm:choose name="Name25">
              <dgm:if name="Name26" func="var" arg="dir" op="equ" val="norm">
                <dgm:constrLst>
                  <dgm:constr type="primFontSz" for="des" forName="parentText1" val="65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6"/>
                  <dgm:constr type="l" for="ch" forName="parentText2" refType="w" fact="0.308"/>
                  <dgm:constr type="t" for="ch" forName="parentText2" refType="h" fact="0.2"/>
                  <dgm:constr type="w" for="ch" forName="parentText2" refType="w" fact="0.692"/>
                  <dgm:constr type="h" for="ch" forName="parentText2" refType="h" fact="0.6"/>
                  <dgm:constr type="l" for="ch" forName="parentText3" refType="w" fact="0.616"/>
                  <dgm:constr type="t" for="ch" forName="parentText3" refType="h" fact="0.4"/>
                  <dgm:constr type="w" for="ch" forName="parentText3" refType="w" fact="0.384"/>
                  <dgm:constr type="h" for="ch" forName="parentText3" refType="h" fact="0.6"/>
                </dgm:constrLst>
              </dgm:if>
              <dgm:else name="Name27">
                <dgm:constrLst>
                  <dgm:constr type="primFontSz" for="des" forName="parentText1" val="65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6"/>
                  <dgm:constr type="l" for="ch" forName="parentText2" refType="w" fact="0"/>
                  <dgm:constr type="t" for="ch" forName="parentText2" refType="h" fact="0.2"/>
                  <dgm:constr type="w" for="ch" forName="parentText2" refType="w" fact="0.692"/>
                  <dgm:constr type="h" for="ch" forName="parentText2" refType="h" fact="0.6"/>
                  <dgm:constr type="l" for="ch" forName="parentText3" refType="w" fact="0"/>
                  <dgm:constr type="t" for="ch" forName="parentText3" refType="h" fact="0.4"/>
                  <dgm:constr type="w" for="ch" forName="parentText3" refType="w" fact="0.384"/>
                  <dgm:constr type="h" for="ch" forName="parentText3" refType="h" fact="0.6"/>
                </dgm:constrLst>
              </dgm:else>
            </dgm:choose>
          </dgm:if>
          <dgm:else name="Name28">
            <dgm:alg type="composite">
              <dgm:param type="ar" val="2.0702"/>
            </dgm:alg>
            <dgm:choose name="Name29">
              <dgm:if name="Name30" func="var" arg="dir" op="equ" val="norm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primFontSz" for="des" forName="childText2" refType="primFontSz" refFor="des" refForName="parentText1" op="lte"/>
                  <dgm:constr type="primFontSz" for="des" forName="childText3" refType="primFontSz" refFor="des" refForName="parentText1" op="lte"/>
                  <dgm:constr type="primFontSz" for="des" forName="childText1" refType="primFontSz" refFor="des" refForName="parentText2" op="lte"/>
                  <dgm:constr type="primFontSz" for="des" forName="childText2" refType="primFontSz" refFor="des" refForName="parentText2" op="lte"/>
                  <dgm:constr type="primFontSz" for="des" forName="childText3" refType="primFontSz" refFor="des" refForName="parentText2" op="lte"/>
                  <dgm:constr type="primFontSz" for="des" forName="childText1" refType="primFontSz" refFor="des" refForName="parentText3" op="lte"/>
                  <dgm:constr type="primFontSz" for="des" forName="childText2" refType="primFontSz" refFor="des" refForName="parentText3" op="lte"/>
                  <dgm:constr type="primFontSz" for="des" forName="childText3" refType="primFontSz" refFor="des" refForName="parentText3" op="lte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childText2" refType="primFontSz" refFor="des" refForName="childText1" op="equ"/>
                  <dgm:constr type="primFontSz" for="des" forName="childText3" refType="primFontSz" refFor="des" refForName="childText1" op="equ"/>
                  <dgm:constr type="l" for="ch" forName="childText1" refType="w" fact="0"/>
                  <dgm:constr type="t" for="ch" forName="childText1" refType="h" fact="0.2325"/>
                  <dgm:constr type="w" for="ch" forName="childText1" refType="w" fact="0.308"/>
                  <dgm:constr type="h" for="ch" forName="childText1" refType="h" fact="0.5808"/>
                  <dgm:constr type="l" for="ch" forName="childText2" refType="w" fact="0.308"/>
                  <dgm:constr type="t" for="ch" forName="childText2" refType="h" fact="0.333"/>
                  <dgm:constr type="w" for="ch" forName="childText2" refType="w" fact="0.308"/>
                  <dgm:constr type="h" for="ch" forName="childText2" refType="h" fact="0.5808"/>
                  <dgm:constr type="l" for="ch" forName="childText3" refType="w" fact="0.616"/>
                  <dgm:constr type="t" for="ch" forName="childText3" refType="h" fact="0.4335"/>
                  <dgm:constr type="w" for="ch" forName="childText3" refType="w" fact="0.308"/>
                  <dgm:constr type="h" for="ch" forName="childText3" refType="h" fact="0.5723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3015"/>
                  <dgm:constr type="l" for="ch" forName="parentText2" refType="w" fact="0.308"/>
                  <dgm:constr type="t" for="ch" forName="parentText2" refType="h" fact="0.1005"/>
                  <dgm:constr type="w" for="ch" forName="parentText2" refType="w" fact="0.692"/>
                  <dgm:constr type="h" for="ch" forName="parentText2" refType="h" fact="0.3015"/>
                  <dgm:constr type="l" for="ch" forName="parentText3" refType="w" fact="0.616"/>
                  <dgm:constr type="t" for="ch" forName="parentText3" refType="h" fact="0.201"/>
                  <dgm:constr type="w" for="ch" forName="parentText3" refType="w" fact="0.384"/>
                  <dgm:constr type="h" for="ch" forName="parentText3" refType="h" fact="0.3015"/>
                </dgm:constrLst>
              </dgm:if>
              <dgm:else name="Name31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primFontSz" for="des" forName="childText2" refType="primFontSz" refFor="des" refForName="parentText1" op="lte"/>
                  <dgm:constr type="primFontSz" for="des" forName="childText3" refType="primFontSz" refFor="des" refForName="parentText1" op="lte"/>
                  <dgm:constr type="primFontSz" for="des" forName="childText1" refType="primFontSz" refFor="des" refForName="parentText2" op="lte"/>
                  <dgm:constr type="primFontSz" for="des" forName="childText2" refType="primFontSz" refFor="des" refForName="parentText2" op="lte"/>
                  <dgm:constr type="primFontSz" for="des" forName="childText3" refType="primFontSz" refFor="des" refForName="parentText2" op="lte"/>
                  <dgm:constr type="primFontSz" for="des" forName="childText1" refType="primFontSz" refFor="des" refForName="parentText3" op="lte"/>
                  <dgm:constr type="primFontSz" for="des" forName="childText2" refType="primFontSz" refFor="des" refForName="parentText3" op="lte"/>
                  <dgm:constr type="primFontSz" for="des" forName="childText3" refType="primFontSz" refFor="des" refForName="parentText3" op="lte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childText2" refType="primFontSz" refFor="des" refForName="childText1" op="equ"/>
                  <dgm:constr type="primFontSz" for="des" forName="childText3" refType="primFontSz" refFor="des" refForName="childText1" op="equ"/>
                  <dgm:constr type="l" for="ch" forName="childText1" refType="w" fact="0.692"/>
                  <dgm:constr type="t" for="ch" forName="childText1" refType="h" fact="0.2325"/>
                  <dgm:constr type="w" for="ch" forName="childText1" refType="w" fact="0.308"/>
                  <dgm:constr type="h" for="ch" forName="childText1" refType="h" fact="0.5808"/>
                  <dgm:constr type="l" for="ch" forName="childText2" refType="w" fact="0.384"/>
                  <dgm:constr type="t" for="ch" forName="childText2" refType="h" fact="0.333"/>
                  <dgm:constr type="w" for="ch" forName="childText2" refType="w" fact="0.308"/>
                  <dgm:constr type="h" for="ch" forName="childText2" refType="h" fact="0.5808"/>
                  <dgm:constr type="l" for="ch" forName="childText3" refType="w" fact="0.076"/>
                  <dgm:constr type="t" for="ch" forName="childText3" refType="h" fact="0.4335"/>
                  <dgm:constr type="w" for="ch" forName="childText3" refType="w" fact="0.308"/>
                  <dgm:constr type="h" for="ch" forName="childText3" refType="h" fact="0.5723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3015"/>
                  <dgm:constr type="l" for="ch" forName="parentText2" refType="w" fact="0"/>
                  <dgm:constr type="t" for="ch" forName="parentText2" refType="h" fact="0.1005"/>
                  <dgm:constr type="w" for="ch" forName="parentText2" refType="w" fact="0.692"/>
                  <dgm:constr type="h" for="ch" forName="parentText2" refType="h" fact="0.3015"/>
                  <dgm:constr type="l" for="ch" forName="parentText3" refType="w" fact="0"/>
                  <dgm:constr type="t" for="ch" forName="parentText3" refType="h" fact="0.201"/>
                  <dgm:constr type="w" for="ch" forName="parentText3" refType="w" fact="0.384"/>
                  <dgm:constr type="h" for="ch" forName="parentText3" refType="h" fact="0.3015"/>
                </dgm:constrLst>
              </dgm:else>
            </dgm:choose>
          </dgm:else>
        </dgm:choose>
      </dgm:if>
      <dgm:if name="Name32" axis="ch" ptType="node" func="cnt" op="equ" val="4">
        <dgm:choose name="Name33">
          <dgm:if name="Name34" axis="ch ch" ptType="node node" func="cnt" op="equ" val="0">
            <dgm:alg type="composite">
              <dgm:param type="ar" val="3.435"/>
            </dgm:alg>
            <dgm:choose name="Name35">
              <dgm:if name="Name36" func="var" arg="dir" op="equ" val="norm">
                <dgm:constrLst>
                  <dgm:constr type="primFontSz" for="des" forName="parentText1" val="65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parentText4" refType="primFontSz" refFor="des" refForName="parent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5001"/>
                  <dgm:constr type="l" for="ch" forName="parentText2" refType="w" fact="0.2305"/>
                  <dgm:constr type="t" for="ch" forName="parentText2" refType="h" fact="0.1666"/>
                  <dgm:constr type="w" for="ch" forName="parentText2" refType="w" fact="0.7695"/>
                  <dgm:constr type="h" for="ch" forName="parentText2" refType="h" fact="0.5001"/>
                  <dgm:constr type="l" for="ch" forName="parentText3" refType="w" fact="0.461"/>
                  <dgm:constr type="t" for="ch" forName="parentText3" refType="h" fact="0.3333"/>
                  <dgm:constr type="w" for="ch" forName="parentText3" refType="w" fact="0.539"/>
                  <dgm:constr type="h" for="ch" forName="parentText3" refType="h" fact="0.5001"/>
                  <dgm:constr type="l" for="ch" forName="parentText4" refType="w" fact="0.6915"/>
                  <dgm:constr type="t" for="ch" forName="parentText4" refType="h" fact="0.4999"/>
                  <dgm:constr type="w" for="ch" forName="parentText4" refType="w" fact="0.3085"/>
                  <dgm:constr type="h" for="ch" forName="parentText4" refType="h" fact="0.5001"/>
                </dgm:constrLst>
              </dgm:if>
              <dgm:else name="Name37">
                <dgm:constrLst>
                  <dgm:constr type="primFontSz" for="des" forName="parentText1" val="65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parentText4" refType="primFontSz" refFor="des" refForName="parent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5001"/>
                  <dgm:constr type="l" for="ch" forName="parentText2" refType="w" fact="0"/>
                  <dgm:constr type="t" for="ch" forName="parentText2" refType="h" fact="0.1666"/>
                  <dgm:constr type="w" for="ch" forName="parentText2" refType="w" fact="0.7695"/>
                  <dgm:constr type="h" for="ch" forName="parentText2" refType="h" fact="0.5001"/>
                  <dgm:constr type="l" for="ch" forName="parentText3" refType="w" fact="0"/>
                  <dgm:constr type="t" for="ch" forName="parentText3" refType="h" fact="0.3333"/>
                  <dgm:constr type="w" for="ch" forName="parentText3" refType="w" fact="0.539"/>
                  <dgm:constr type="h" for="ch" forName="parentText3" refType="h" fact="0.5001"/>
                  <dgm:constr type="l" for="ch" forName="parentText4" refType="w" fact="0"/>
                  <dgm:constr type="t" for="ch" forName="parentText4" refType="h" fact="0.4999"/>
                  <dgm:constr type="w" for="ch" forName="parentText4" refType="w" fact="0.3085"/>
                  <dgm:constr type="h" for="ch" forName="parentText4" refType="h" fact="0.5001"/>
                </dgm:constrLst>
              </dgm:else>
            </dgm:choose>
          </dgm:if>
          <dgm:else name="Name38">
            <dgm:alg type="composite">
              <dgm:param type="ar" val="1.9377"/>
            </dgm:alg>
            <dgm:choose name="Name39">
              <dgm:if name="Name40" func="var" arg="dir" op="equ" val="norm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primFontSz" for="des" forName="childText2" refType="primFontSz" refFor="des" refForName="parentText1" op="lte"/>
                  <dgm:constr type="primFontSz" for="des" forName="childText3" refType="primFontSz" refFor="des" refForName="parentText1" op="lte"/>
                  <dgm:constr type="primFontSz" for="des" forName="childText4" refType="primFontSz" refFor="des" refForName="parentText1" op="lte"/>
                  <dgm:constr type="primFontSz" for="des" forName="childText1" refType="primFontSz" refFor="des" refForName="parentText2" op="lte"/>
                  <dgm:constr type="primFontSz" for="des" forName="childText2" refType="primFontSz" refFor="des" refForName="parentText2" op="lte"/>
                  <dgm:constr type="primFontSz" for="des" forName="childText3" refType="primFontSz" refFor="des" refForName="parentText2" op="lte"/>
                  <dgm:constr type="primFontSz" for="des" forName="childText4" refType="primFontSz" refFor="des" refForName="parentText2" op="lte"/>
                  <dgm:constr type="primFontSz" for="des" forName="childText1" refType="primFontSz" refFor="des" refForName="parentText3" op="lte"/>
                  <dgm:constr type="primFontSz" for="des" forName="childText2" refType="primFontSz" refFor="des" refForName="parentText3" op="lte"/>
                  <dgm:constr type="primFontSz" for="des" forName="childText3" refType="primFontSz" refFor="des" refForName="parentText3" op="lte"/>
                  <dgm:constr type="primFontSz" for="des" forName="childText4" refType="primFontSz" refFor="des" refForName="parentText3" op="lte"/>
                  <dgm:constr type="primFontSz" for="des" forName="childText1" refType="primFontSz" refFor="des" refForName="parentText4" op="lte"/>
                  <dgm:constr type="primFontSz" for="des" forName="childText2" refType="primFontSz" refFor="des" refForName="parentText4" op="lte"/>
                  <dgm:constr type="primFontSz" for="des" forName="childText3" refType="primFontSz" refFor="des" refForName="parentText4" op="lte"/>
                  <dgm:constr type="primFontSz" for="des" forName="childText4" refType="primFontSz" refFor="des" refForName="parentText4" op="lte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parentText4" refType="primFontSz" refFor="des" refForName="parentText1" op="equ"/>
                  <dgm:constr type="primFontSz" for="des" forName="childText2" refType="primFontSz" refFor="des" refForName="childText1" op="equ"/>
                  <dgm:constr type="primFontSz" for="des" forName="childText3" refType="primFontSz" refFor="des" refForName="childText1" op="equ"/>
                  <dgm:constr type="primFontSz" for="des" forName="childText4" refType="primFontSz" refFor="des" refForName="childText1" op="equ"/>
                  <dgm:constr type="l" for="ch" forName="childText1" refType="w" fact="0"/>
                  <dgm:constr type="t" for="ch" forName="childText1" refType="h" fact="0.218"/>
                  <dgm:constr type="w" for="ch" forName="childText1" refType="w" fact="0.2305"/>
                  <dgm:constr type="h" for="ch" forName="childText1" refType="h" fact="0.5218"/>
                  <dgm:constr type="l" for="ch" forName="childText2" refType="w" fact="0.2305"/>
                  <dgm:constr type="t" for="ch" forName="childText2" refType="h" fact="0.312"/>
                  <dgm:constr type="w" for="ch" forName="childText2" refType="w" fact="0.2305"/>
                  <dgm:constr type="h" for="ch" forName="childText2" refType="h" fact="0.5085"/>
                  <dgm:constr type="l" for="ch" forName="childText3" refType="w" fact="0.461"/>
                  <dgm:constr type="t" for="ch" forName="childText3" refType="h" fact="0.406"/>
                  <dgm:constr type="w" for="ch" forName="childText3" refType="w" fact="0.2305"/>
                  <dgm:constr type="h" for="ch" forName="childText3" refType="h" fact="0.5119"/>
                  <dgm:constr type="l" for="ch" forName="childText4" refType="w" fact="0.6915"/>
                  <dgm:constr type="t" for="ch" forName="childText4" refType="h" fact="0.5"/>
                  <dgm:constr type="w" for="ch" forName="childText4" refType="w" fact="0.2326"/>
                  <dgm:constr type="h" for="ch" forName="childText4" refType="h" fact="0.5179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2821"/>
                  <dgm:constr type="l" for="ch" forName="parentText2" refType="w" fact="0.2305"/>
                  <dgm:constr type="t" for="ch" forName="parentText2" refType="h" fact="0.094"/>
                  <dgm:constr type="w" for="ch" forName="parentText2" refType="w" fact="0.7695"/>
                  <dgm:constr type="h" for="ch" forName="parentText2" refType="h" fact="0.2821"/>
                  <dgm:constr type="l" for="ch" forName="parentText3" refType="w" fact="0.461"/>
                  <dgm:constr type="t" for="ch" forName="parentText3" refType="h" fact="0.188"/>
                  <dgm:constr type="w" for="ch" forName="parentText3" refType="w" fact="0.539"/>
                  <dgm:constr type="h" for="ch" forName="parentText3" refType="h" fact="0.2821"/>
                  <dgm:constr type="l" for="ch" forName="parentText4" refType="w" fact="0.6915"/>
                  <dgm:constr type="t" for="ch" forName="parentText4" refType="h" fact="0.282"/>
                  <dgm:constr type="w" for="ch" forName="parentText4" refType="w" fact="0.3085"/>
                  <dgm:constr type="h" for="ch" forName="parentText4" refType="h" fact="0.2821"/>
                </dgm:constrLst>
              </dgm:if>
              <dgm:else name="Name41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primFontSz" for="des" forName="childText2" refType="primFontSz" refFor="des" refForName="parentText1" op="lte"/>
                  <dgm:constr type="primFontSz" for="des" forName="childText3" refType="primFontSz" refFor="des" refForName="parentText1" op="lte"/>
                  <dgm:constr type="primFontSz" for="des" forName="childText4" refType="primFontSz" refFor="des" refForName="parentText1" op="lte"/>
                  <dgm:constr type="primFontSz" for="des" forName="childText1" refType="primFontSz" refFor="des" refForName="parentText2" op="lte"/>
                  <dgm:constr type="primFontSz" for="des" forName="childText2" refType="primFontSz" refFor="des" refForName="parentText2" op="lte"/>
                  <dgm:constr type="primFontSz" for="des" forName="childText3" refType="primFontSz" refFor="des" refForName="parentText2" op="lte"/>
                  <dgm:constr type="primFontSz" for="des" forName="childText4" refType="primFontSz" refFor="des" refForName="parentText2" op="lte"/>
                  <dgm:constr type="primFontSz" for="des" forName="childText1" refType="primFontSz" refFor="des" refForName="parentText3" op="lte"/>
                  <dgm:constr type="primFontSz" for="des" forName="childText2" refType="primFontSz" refFor="des" refForName="parentText3" op="lte"/>
                  <dgm:constr type="primFontSz" for="des" forName="childText3" refType="primFontSz" refFor="des" refForName="parentText3" op="lte"/>
                  <dgm:constr type="primFontSz" for="des" forName="childText4" refType="primFontSz" refFor="des" refForName="parentText3" op="lte"/>
                  <dgm:constr type="primFontSz" for="des" forName="childText1" refType="primFontSz" refFor="des" refForName="parentText4" op="lte"/>
                  <dgm:constr type="primFontSz" for="des" forName="childText2" refType="primFontSz" refFor="des" refForName="parentText4" op="lte"/>
                  <dgm:constr type="primFontSz" for="des" forName="childText3" refType="primFontSz" refFor="des" refForName="parentText4" op="lte"/>
                  <dgm:constr type="primFontSz" for="des" forName="childText4" refType="primFontSz" refFor="des" refForName="parentText4" op="lte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parentText4" refType="primFontSz" refFor="des" refForName="parentText1" op="equ"/>
                  <dgm:constr type="primFontSz" for="des" forName="childText2" refType="primFontSz" refFor="des" refForName="childText1" op="equ"/>
                  <dgm:constr type="primFontSz" for="des" forName="childText3" refType="primFontSz" refFor="des" refForName="childText1" op="equ"/>
                  <dgm:constr type="primFontSz" for="des" forName="childText4" refType="primFontSz" refFor="des" refForName="childText1" op="equ"/>
                  <dgm:constr type="l" for="ch" forName="childText1" refType="w" fact="0.7695"/>
                  <dgm:constr type="t" for="ch" forName="childText1" refType="h" fact="0.218"/>
                  <dgm:constr type="w" for="ch" forName="childText1" refType="w" fact="0.2305"/>
                  <dgm:constr type="h" for="ch" forName="childText1" refType="h" fact="0.5218"/>
                  <dgm:constr type="l" for="ch" forName="childText2" refType="w" fact="0.539"/>
                  <dgm:constr type="t" for="ch" forName="childText2" refType="h" fact="0.312"/>
                  <dgm:constr type="w" for="ch" forName="childText2" refType="w" fact="0.2305"/>
                  <dgm:constr type="h" for="ch" forName="childText2" refType="h" fact="0.5085"/>
                  <dgm:constr type="l" for="ch" forName="childText3" refType="w" fact="0.3085"/>
                  <dgm:constr type="t" for="ch" forName="childText3" refType="h" fact="0.406"/>
                  <dgm:constr type="w" for="ch" forName="childText3" refType="w" fact="0.2305"/>
                  <dgm:constr type="h" for="ch" forName="childText3" refType="h" fact="0.5119"/>
                  <dgm:constr type="l" for="ch" forName="childText4" refType="w" fact="0.076"/>
                  <dgm:constr type="t" for="ch" forName="childText4" refType="h" fact="0.5"/>
                  <dgm:constr type="w" for="ch" forName="childText4" refType="w" fact="0.2346"/>
                  <dgm:constr type="h" for="ch" forName="childText4" refType="h" fact="0.5179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2821"/>
                  <dgm:constr type="l" for="ch" forName="parentText2" refType="w" fact="0"/>
                  <dgm:constr type="t" for="ch" forName="parentText2" refType="h" fact="0.094"/>
                  <dgm:constr type="w" for="ch" forName="parentText2" refType="w" fact="0.7695"/>
                  <dgm:constr type="h" for="ch" forName="parentText2" refType="h" fact="0.2821"/>
                  <dgm:constr type="l" for="ch" forName="parentText3" refType="w" fact="0"/>
                  <dgm:constr type="t" for="ch" forName="parentText3" refType="h" fact="0.188"/>
                  <dgm:constr type="w" for="ch" forName="parentText3" refType="w" fact="0.539"/>
                  <dgm:constr type="h" for="ch" forName="parentText3" refType="h" fact="0.2821"/>
                  <dgm:constr type="l" for="ch" forName="parentText4" refType="w" fact="0"/>
                  <dgm:constr type="t" for="ch" forName="parentText4" refType="h" fact="0.282"/>
                  <dgm:constr type="w" for="ch" forName="parentText4" refType="w" fact="0.3085"/>
                  <dgm:constr type="h" for="ch" forName="parentText4" refType="h" fact="0.2821"/>
                </dgm:constrLst>
              </dgm:else>
            </dgm:choose>
          </dgm:else>
        </dgm:choose>
      </dgm:if>
      <dgm:else name="Name42">
        <dgm:choose name="Name43">
          <dgm:if name="Name44" axis="ch ch" ptType="node node" func="cnt" op="equ" val="0">
            <dgm:alg type="composite">
              <dgm:param type="ar" val="2.9463"/>
            </dgm:alg>
            <dgm:choose name="Name45">
              <dgm:if name="Name46" func="var" arg="dir" op="equ" val="norm">
                <dgm:constrLst>
                  <dgm:constr type="primFontSz" for="des" forName="parentText1" val="65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parentText4" refType="primFontSz" refFor="des" refForName="parentText1" op="equ"/>
                  <dgm:constr type="primFontSz" for="des" forName="parentText5" refType="primFontSz" refFor="des" refForName="parent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4285"/>
                  <dgm:constr type="l" for="ch" forName="parentText2" refType="w" fact="0.1848"/>
                  <dgm:constr type="t" for="ch" forName="parentText2" refType="h" fact="0.1429"/>
                  <dgm:constr type="w" for="ch" forName="parentText2" refType="w" fact="0.8152"/>
                  <dgm:constr type="h" for="ch" forName="parentText2" refType="h" fact="0.4285"/>
                  <dgm:constr type="l" for="ch" forName="parentText3" refType="w" fact="0.3696"/>
                  <dgm:constr type="t" for="ch" forName="parentText3" refType="h" fact="0.2858"/>
                  <dgm:constr type="w" for="ch" forName="parentText3" refType="w" fact="0.6304"/>
                  <dgm:constr type="h" for="ch" forName="parentText3" refType="h" fact="0.4285"/>
                  <dgm:constr type="l" for="ch" forName="parentText4" refType="w" fact="0.5545"/>
                  <dgm:constr type="t" for="ch" forName="parentText4" refType="h" fact="0.4286"/>
                  <dgm:constr type="w" for="ch" forName="parentText4" refType="w" fact="0.4455"/>
                  <dgm:constr type="h" for="ch" forName="parentText4" refType="h" fact="0.4285"/>
                  <dgm:constr type="l" for="ch" forName="parentText5" refType="w" fact="0.7393"/>
                  <dgm:constr type="t" for="ch" forName="parentText5" refType="h" fact="0.5715"/>
                  <dgm:constr type="w" for="ch" forName="parentText5" refType="w" fact="0.2607"/>
                  <dgm:constr type="h" for="ch" forName="parentText5" refType="h" fact="0.4285"/>
                </dgm:constrLst>
              </dgm:if>
              <dgm:else name="Name47">
                <dgm:constrLst>
                  <dgm:constr type="primFontSz" for="des" forName="parentText1" val="65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parentText4" refType="primFontSz" refFor="des" refForName="parentText1" op="equ"/>
                  <dgm:constr type="primFontSz" for="des" forName="parentText5" refType="primFontSz" refFor="des" refForName="parent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4285"/>
                  <dgm:constr type="l" for="ch" forName="parentText2" refType="w" fact="0"/>
                  <dgm:constr type="t" for="ch" forName="parentText2" refType="h" fact="0.1429"/>
                  <dgm:constr type="w" for="ch" forName="parentText2" refType="w" fact="0.8152"/>
                  <dgm:constr type="h" for="ch" forName="parentText2" refType="h" fact="0.4285"/>
                  <dgm:constr type="l" for="ch" forName="parentText3" refType="w" fact="0"/>
                  <dgm:constr type="t" for="ch" forName="parentText3" refType="h" fact="0.2858"/>
                  <dgm:constr type="w" for="ch" forName="parentText3" refType="w" fact="0.6304"/>
                  <dgm:constr type="h" for="ch" forName="parentText3" refType="h" fact="0.4285"/>
                  <dgm:constr type="l" for="ch" forName="parentText4" refType="w" fact="0"/>
                  <dgm:constr type="t" for="ch" forName="parentText4" refType="h" fact="0.4286"/>
                  <dgm:constr type="w" for="ch" forName="parentText4" refType="w" fact="0.4455"/>
                  <dgm:constr type="h" for="ch" forName="parentText4" refType="h" fact="0.4285"/>
                  <dgm:constr type="l" for="ch" forName="parentText5" refType="w" fact="0"/>
                  <dgm:constr type="t" for="ch" forName="parentText5" refType="h" fact="0.5715"/>
                  <dgm:constr type="w" for="ch" forName="parentText5" refType="w" fact="0.2607"/>
                  <dgm:constr type="h" for="ch" forName="parentText5" refType="h" fact="0.4285"/>
                </dgm:constrLst>
              </dgm:else>
            </dgm:choose>
          </dgm:if>
          <dgm:else name="Name48">
            <dgm:alg type="composite">
              <dgm:param type="ar" val="1.7837"/>
            </dgm:alg>
            <dgm:choose name="Name49">
              <dgm:if name="Name50" func="var" arg="dir" op="equ" val="norm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primFontSz" for="des" forName="childText2" refType="primFontSz" refFor="des" refForName="parentText1" op="lte"/>
                  <dgm:constr type="primFontSz" for="des" forName="childText3" refType="primFontSz" refFor="des" refForName="parentText1" op="lte"/>
                  <dgm:constr type="primFontSz" for="des" forName="childText4" refType="primFontSz" refFor="des" refForName="parentText1" op="lte"/>
                  <dgm:constr type="primFontSz" for="des" forName="childText5" refType="primFontSz" refFor="des" refForName="parentText1" op="lte"/>
                  <dgm:constr type="primFontSz" for="des" forName="childText1" refType="primFontSz" refFor="des" refForName="parentText2" op="lte"/>
                  <dgm:constr type="primFontSz" for="des" forName="childText2" refType="primFontSz" refFor="des" refForName="parentText2" op="lte"/>
                  <dgm:constr type="primFontSz" for="des" forName="childText3" refType="primFontSz" refFor="des" refForName="parentText2" op="lte"/>
                  <dgm:constr type="primFontSz" for="des" forName="childText4" refType="primFontSz" refFor="des" refForName="parentText2" op="lte"/>
                  <dgm:constr type="primFontSz" for="des" forName="childText5" refType="primFontSz" refFor="des" refForName="parentText2" op="lte"/>
                  <dgm:constr type="primFontSz" for="des" forName="childText1" refType="primFontSz" refFor="des" refForName="parentText3" op="lte"/>
                  <dgm:constr type="primFontSz" for="des" forName="childText2" refType="primFontSz" refFor="des" refForName="parentText3" op="lte"/>
                  <dgm:constr type="primFontSz" for="des" forName="childText3" refType="primFontSz" refFor="des" refForName="parentText3" op="lte"/>
                  <dgm:constr type="primFontSz" for="des" forName="childText4" refType="primFontSz" refFor="des" refForName="parentText3" op="lte"/>
                  <dgm:constr type="primFontSz" for="des" forName="childText5" refType="primFontSz" refFor="des" refForName="parentText3" op="lte"/>
                  <dgm:constr type="primFontSz" for="des" forName="childText1" refType="primFontSz" refFor="des" refForName="parentText4" op="lte"/>
                  <dgm:constr type="primFontSz" for="des" forName="childText2" refType="primFontSz" refFor="des" refForName="parentText4" op="lte"/>
                  <dgm:constr type="primFontSz" for="des" forName="childText3" refType="primFontSz" refFor="des" refForName="parentText4" op="lte"/>
                  <dgm:constr type="primFontSz" for="des" forName="childText4" refType="primFontSz" refFor="des" refForName="parentText4" op="lte"/>
                  <dgm:constr type="primFontSz" for="des" forName="childText5" refType="primFontSz" refFor="des" refForName="parentText4" op="lte"/>
                  <dgm:constr type="primFontSz" for="des" forName="childText1" refType="primFontSz" refFor="des" refForName="parentText5" op="lte"/>
                  <dgm:constr type="primFontSz" for="des" forName="childText2" refType="primFontSz" refFor="des" refForName="parentText5" op="lte"/>
                  <dgm:constr type="primFontSz" for="des" forName="childText3" refType="primFontSz" refFor="des" refForName="parentText5" op="lte"/>
                  <dgm:constr type="primFontSz" for="des" forName="childText4" refType="primFontSz" refFor="des" refForName="parentText5" op="lte"/>
                  <dgm:constr type="primFontSz" for="des" forName="childText5" refType="primFontSz" refFor="des" refForName="parentText5" op="lte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parentText4" refType="primFontSz" refFor="des" refForName="parentText1" op="equ"/>
                  <dgm:constr type="primFontSz" for="des" forName="parentText5" refType="primFontSz" refFor="des" refForName="parentText1" op="equ"/>
                  <dgm:constr type="primFontSz" for="des" forName="childText2" refType="primFontSz" refFor="des" refForName="childText1" op="equ"/>
                  <dgm:constr type="primFontSz" for="des" forName="childText3" refType="primFontSz" refFor="des" refForName="childText1" op="equ"/>
                  <dgm:constr type="primFontSz" for="des" forName="childText4" refType="primFontSz" refFor="des" refForName="childText1" op="equ"/>
                  <dgm:constr type="primFontSz" for="des" forName="childText5" refType="primFontSz" refFor="des" refForName="childText1" op="equ"/>
                  <dgm:constr type="l" for="ch" forName="childText1" refType="w" fact="0"/>
                  <dgm:constr type="t" for="ch" forName="childText1" refType="h" fact="0.1997"/>
                  <dgm:constr type="w" for="ch" forName="childText1" refType="w" fact="0.18482"/>
                  <dgm:constr type="h" for="ch" forName="childText1" refType="h" fact="0.4763"/>
                  <dgm:constr type="l" for="ch" forName="childText2" refType="w" fact="0.1848"/>
                  <dgm:constr type="t" for="ch" forName="childText2" refType="h" fact="0.2862"/>
                  <dgm:constr type="w" for="ch" forName="childText2" refType="w" fact="0.18482"/>
                  <dgm:constr type="h" for="ch" forName="childText2" refType="h" fact="0.4763"/>
                  <dgm:constr type="l" for="ch" forName="childText3" refType="w" fact="0.3696"/>
                  <dgm:constr type="t" for="ch" forName="childText3" refType="h" fact="0.3727"/>
                  <dgm:constr type="w" for="ch" forName="childText3" refType="w" fact="0.18482"/>
                  <dgm:constr type="h" for="ch" forName="childText3" refType="h" fact="0.4763"/>
                  <dgm:constr type="l" for="ch" forName="childText4" refType="w" fact="0.5545"/>
                  <dgm:constr type="t" for="ch" forName="childText4" refType="h" fact="0.4592"/>
                  <dgm:constr type="w" for="ch" forName="childText4" refType="w" fact="0.18482"/>
                  <dgm:constr type="h" for="ch" forName="childText4" refType="h" fact="0.4763"/>
                  <dgm:constr type="l" for="ch" forName="childText5" refType="w" fact="0.7393"/>
                  <dgm:constr type="t" for="ch" forName="childText5" refType="h" fact="0.5457"/>
                  <dgm:constr type="w" for="ch" forName="childText5" refType="w" fact="0.18482"/>
                  <dgm:constr type="h" for="ch" forName="childText5" refType="h" fact="0.4763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2594"/>
                  <dgm:constr type="l" for="ch" forName="parentText2" refType="w" fact="0.1848"/>
                  <dgm:constr type="t" for="ch" forName="parentText2" refType="h" fact="0.0865"/>
                  <dgm:constr type="w" for="ch" forName="parentText2" refType="w" fact="0.8152"/>
                  <dgm:constr type="h" for="ch" forName="parentText2" refType="h" fact="0.2594"/>
                  <dgm:constr type="l" for="ch" forName="parentText3" refType="w" fact="0.3696"/>
                  <dgm:constr type="t" for="ch" forName="parentText3" refType="h" fact="0.173"/>
                  <dgm:constr type="w" for="ch" forName="parentText3" refType="w" fact="0.6304"/>
                  <dgm:constr type="h" for="ch" forName="parentText3" refType="h" fact="0.2594"/>
                  <dgm:constr type="l" for="ch" forName="parentText4" refType="w" fact="0.5545"/>
                  <dgm:constr type="t" for="ch" forName="parentText4" refType="h" fact="0.2595"/>
                  <dgm:constr type="w" for="ch" forName="parentText4" refType="w" fact="0.4455"/>
                  <dgm:constr type="h" for="ch" forName="parentText4" refType="h" fact="0.2594"/>
                  <dgm:constr type="l" for="ch" forName="parentText5" refType="w" fact="0.7393"/>
                  <dgm:constr type="t" for="ch" forName="parentText5" refType="h" fact="0.346"/>
                  <dgm:constr type="w" for="ch" forName="parentText5" refType="w" fact="0.2607"/>
                  <dgm:constr type="h" for="ch" forName="parentText5" refType="h" fact="0.2594"/>
                </dgm:constrLst>
              </dgm:if>
              <dgm:else name="Name51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primFontSz" for="des" forName="childText2" refType="primFontSz" refFor="des" refForName="parentText1" op="lte"/>
                  <dgm:constr type="primFontSz" for="des" forName="childText3" refType="primFontSz" refFor="des" refForName="parentText1" op="lte"/>
                  <dgm:constr type="primFontSz" for="des" forName="childText4" refType="primFontSz" refFor="des" refForName="parentText1" op="lte"/>
                  <dgm:constr type="primFontSz" for="des" forName="childText5" refType="primFontSz" refFor="des" refForName="parentText1" op="lte"/>
                  <dgm:constr type="primFontSz" for="des" forName="childText1" refType="primFontSz" refFor="des" refForName="parentText2" op="lte"/>
                  <dgm:constr type="primFontSz" for="des" forName="childText2" refType="primFontSz" refFor="des" refForName="parentText2" op="lte"/>
                  <dgm:constr type="primFontSz" for="des" forName="childText3" refType="primFontSz" refFor="des" refForName="parentText2" op="lte"/>
                  <dgm:constr type="primFontSz" for="des" forName="childText4" refType="primFontSz" refFor="des" refForName="parentText2" op="lte"/>
                  <dgm:constr type="primFontSz" for="des" forName="childText5" refType="primFontSz" refFor="des" refForName="parentText2" op="lte"/>
                  <dgm:constr type="primFontSz" for="des" forName="childText1" refType="primFontSz" refFor="des" refForName="parentText3" op="lte"/>
                  <dgm:constr type="primFontSz" for="des" forName="childText2" refType="primFontSz" refFor="des" refForName="parentText3" op="lte"/>
                  <dgm:constr type="primFontSz" for="des" forName="childText3" refType="primFontSz" refFor="des" refForName="parentText3" op="lte"/>
                  <dgm:constr type="primFontSz" for="des" forName="childText4" refType="primFontSz" refFor="des" refForName="parentText3" op="lte"/>
                  <dgm:constr type="primFontSz" for="des" forName="childText5" refType="primFontSz" refFor="des" refForName="parentText3" op="lte"/>
                  <dgm:constr type="primFontSz" for="des" forName="childText1" refType="primFontSz" refFor="des" refForName="parentText4" op="lte"/>
                  <dgm:constr type="primFontSz" for="des" forName="childText2" refType="primFontSz" refFor="des" refForName="parentText4" op="lte"/>
                  <dgm:constr type="primFontSz" for="des" forName="childText3" refType="primFontSz" refFor="des" refForName="parentText4" op="lte"/>
                  <dgm:constr type="primFontSz" for="des" forName="childText4" refType="primFontSz" refFor="des" refForName="parentText4" op="lte"/>
                  <dgm:constr type="primFontSz" for="des" forName="childText5" refType="primFontSz" refFor="des" refForName="parentText4" op="lte"/>
                  <dgm:constr type="primFontSz" for="des" forName="childText1" refType="primFontSz" refFor="des" refForName="parentText5" op="lte"/>
                  <dgm:constr type="primFontSz" for="des" forName="childText2" refType="primFontSz" refFor="des" refForName="parentText5" op="lte"/>
                  <dgm:constr type="primFontSz" for="des" forName="childText3" refType="primFontSz" refFor="des" refForName="parentText5" op="lte"/>
                  <dgm:constr type="primFontSz" for="des" forName="childText4" refType="primFontSz" refFor="des" refForName="parentText5" op="lte"/>
                  <dgm:constr type="primFontSz" for="des" forName="childText5" refType="primFontSz" refFor="des" refForName="parentText5" op="lte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parentText4" refType="primFontSz" refFor="des" refForName="parentText1" op="equ"/>
                  <dgm:constr type="primFontSz" for="des" forName="parentText5" refType="primFontSz" refFor="des" refForName="parentText1" op="equ"/>
                  <dgm:constr type="primFontSz" for="des" forName="childText2" refType="primFontSz" refFor="des" refForName="childText1" op="equ"/>
                  <dgm:constr type="primFontSz" for="des" forName="childText3" refType="primFontSz" refFor="des" refForName="childText1" op="equ"/>
                  <dgm:constr type="primFontSz" for="des" forName="childText4" refType="primFontSz" refFor="des" refForName="childText1" op="equ"/>
                  <dgm:constr type="primFontSz" for="des" forName="childText5" refType="primFontSz" refFor="des" refForName="childText1" op="equ"/>
                  <dgm:constr type="l" for="ch" forName="childText1" refType="w" fact="0.81518"/>
                  <dgm:constr type="t" for="ch" forName="childText1" refType="h" fact="0.1997"/>
                  <dgm:constr type="w" for="ch" forName="childText1" refType="w" fact="0.18482"/>
                  <dgm:constr type="h" for="ch" forName="childText1" refType="h" fact="0.4763"/>
                  <dgm:constr type="l" for="ch" forName="childText2" refType="w" fact="0.63036"/>
                  <dgm:constr type="t" for="ch" forName="childText2" refType="h" fact="0.2862"/>
                  <dgm:constr type="w" for="ch" forName="childText2" refType="w" fact="0.18482"/>
                  <dgm:constr type="h" for="ch" forName="childText2" refType="h" fact="0.4763"/>
                  <dgm:constr type="l" for="ch" forName="childText3" refType="w" fact="0.44554"/>
                  <dgm:constr type="t" for="ch" forName="childText3" refType="h" fact="0.3727"/>
                  <dgm:constr type="w" for="ch" forName="childText3" refType="w" fact="0.18482"/>
                  <dgm:constr type="h" for="ch" forName="childText3" refType="h" fact="0.4763"/>
                  <dgm:constr type="l" for="ch" forName="childText4" refType="w" fact="0.26072"/>
                  <dgm:constr type="t" for="ch" forName="childText4" refType="h" fact="0.4592"/>
                  <dgm:constr type="w" for="ch" forName="childText4" refType="w" fact="0.18482"/>
                  <dgm:constr type="h" for="ch" forName="childText4" refType="h" fact="0.4763"/>
                  <dgm:constr type="l" for="ch" forName="childText5" refType="w" fact="0.0759"/>
                  <dgm:constr type="t" for="ch" forName="childText5" refType="h" fact="0.5457"/>
                  <dgm:constr type="w" for="ch" forName="childText5" refType="w" fact="0.18482"/>
                  <dgm:constr type="h" for="ch" forName="childText5" refType="h" fact="0.4763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2594"/>
                  <dgm:constr type="l" for="ch" forName="parentText2" refType="w" fact="0"/>
                  <dgm:constr type="t" for="ch" forName="parentText2" refType="h" fact="0.0865"/>
                  <dgm:constr type="w" for="ch" forName="parentText2" refType="w" fact="0.8152"/>
                  <dgm:constr type="h" for="ch" forName="parentText2" refType="h" fact="0.2594"/>
                  <dgm:constr type="l" for="ch" forName="parentText3" refType="w" fact="0"/>
                  <dgm:constr type="t" for="ch" forName="parentText3" refType="h" fact="0.173"/>
                  <dgm:constr type="w" for="ch" forName="parentText3" refType="w" fact="0.6304"/>
                  <dgm:constr type="h" for="ch" forName="parentText3" refType="h" fact="0.2594"/>
                  <dgm:constr type="l" for="ch" forName="parentText4" refType="w" fact="0"/>
                  <dgm:constr type="t" for="ch" forName="parentText4" refType="h" fact="0.2595"/>
                  <dgm:constr type="w" for="ch" forName="parentText4" refType="w" fact="0.4455"/>
                  <dgm:constr type="h" for="ch" forName="parentText4" refType="h" fact="0.2594"/>
                  <dgm:constr type="l" for="ch" forName="parentText5" refType="w" fact="0"/>
                  <dgm:constr type="t" for="ch" forName="parentText5" refType="h" fact="0.346"/>
                  <dgm:constr type="w" for="ch" forName="parentText5" refType="w" fact="0.2607"/>
                  <dgm:constr type="h" for="ch" forName="parentText5" refType="h" fact="0.2594"/>
                </dgm:constrLst>
              </dgm:else>
            </dgm:choose>
          </dgm:else>
        </dgm:choose>
      </dgm:else>
    </dgm:choose>
    <dgm:forEach name="Name52" axis="ch" ptType="node" cnt="1">
      <dgm:layoutNode name="parentText1" styleLbl="node1">
        <dgm:varLst>
          <dgm:chMax/>
          <dgm:chPref val="3"/>
          <dgm:bulletEnabled val="1"/>
        </dgm:varLst>
        <dgm:choose name="Name53">
          <dgm:if name="Name54" func="var" arg="dir" op="equ" val="norm">
            <dgm:alg type="tx">
              <dgm:param type="parTxLTRAlign" val="l"/>
            </dgm:alg>
            <dgm:shape xmlns:r="http://schemas.openxmlformats.org/officeDocument/2006/relationships" type="rightArrow" r:blip="">
              <dgm:adjLst>
                <dgm:adj idx="1" val="0.5"/>
                <dgm:adj idx="2" val="0.5"/>
              </dgm:adjLst>
            </dgm:shape>
            <dgm:constrLst>
              <dgm:constr type="lMarg" refType="primFontSz" fact="0.3"/>
              <dgm:constr type="rMarg" val="20"/>
              <dgm:constr type="tMarg" refType="primFontSz" fact="0.3"/>
              <dgm:constr type="bMarg" refType="h" fact="0.45"/>
            </dgm:constrLst>
          </dgm:if>
          <dgm:else name="Name55">
            <dgm:alg type="tx">
              <dgm:param type="parTxLTRAlign" val="r"/>
            </dgm:alg>
            <dgm:shape xmlns:r="http://schemas.openxmlformats.org/officeDocument/2006/relationships" type="leftArrow" r:blip="">
              <dgm:adjLst>
                <dgm:adj idx="1" val="0.5"/>
                <dgm:adj idx="2" val="0.5"/>
              </dgm:adjLst>
            </dgm:shape>
            <dgm:constrLst>
              <dgm:constr type="lMarg" val="20"/>
              <dgm:constr type="rMarg" refType="primFontSz" fact="0.3"/>
              <dgm:constr type="tMarg" refType="primFontSz" fact="0.3"/>
              <dgm:constr type="bMarg" refType="h" fact="0.45"/>
            </dgm:constrLst>
          </dgm:else>
        </dgm:choose>
        <dgm:presOf axis="self" ptType="node"/>
        <dgm:ruleLst>
          <dgm:rule type="primFontSz" val="5" fact="NaN" max="NaN"/>
        </dgm:ruleLst>
      </dgm:layoutNode>
      <dgm:choose name="Name56">
        <dgm:if name="Name57" axis="ch" ptType="node" func="cnt" op="gte" val="1">
          <dgm:layoutNode name="childText1" styleLbl="solidAlignAcc1">
            <dgm:varLst>
              <dgm:chMax val="0"/>
              <dgm:chPref val="0"/>
              <dgm:bulletEnabled val="1"/>
            </dgm:varLst>
            <dgm:alg type="tx">
              <dgm:param type="txAnchorVert" val="t"/>
              <dgm:param type="parTxLTRAlign" val="l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58"/>
      </dgm:choose>
    </dgm:forEach>
    <dgm:forEach name="Name59" axis="ch" ptType="node" st="2" cnt="1">
      <dgm:layoutNode name="parentText2" styleLbl="node1">
        <dgm:varLst>
          <dgm:chMax/>
          <dgm:chPref val="3"/>
          <dgm:bulletEnabled val="1"/>
        </dgm:varLst>
        <dgm:choose name="Name60">
          <dgm:if name="Name61" func="var" arg="dir" op="equ" val="norm">
            <dgm:alg type="tx">
              <dgm:param type="parTxLTRAlign" val="l"/>
            </dgm:alg>
            <dgm:shape xmlns:r="http://schemas.openxmlformats.org/officeDocument/2006/relationships" type="rightArrow" r:blip="">
              <dgm:adjLst>
                <dgm:adj idx="1" val="0.5"/>
                <dgm:adj idx="2" val="0.5"/>
              </dgm:adjLst>
            </dgm:shape>
            <dgm:constrLst>
              <dgm:constr type="lMarg" refType="primFontSz" fact="0.3"/>
              <dgm:constr type="rMarg" val="20"/>
              <dgm:constr type="tMarg" refType="primFontSz" fact="0.3"/>
              <dgm:constr type="bMarg" refType="h" fact="0.45"/>
            </dgm:constrLst>
          </dgm:if>
          <dgm:else name="Name62">
            <dgm:alg type="tx">
              <dgm:param type="parTxLTRAlign" val="r"/>
            </dgm:alg>
            <dgm:shape xmlns:r="http://schemas.openxmlformats.org/officeDocument/2006/relationships" type="leftArrow" r:blip="">
              <dgm:adjLst>
                <dgm:adj idx="1" val="0.5"/>
                <dgm:adj idx="2" val="0.5"/>
              </dgm:adjLst>
            </dgm:shape>
            <dgm:constrLst>
              <dgm:constr type="lMarg" val="20"/>
              <dgm:constr type="rMarg" refType="primFontSz" fact="0.3"/>
              <dgm:constr type="tMarg" refType="primFontSz" fact="0.3"/>
              <dgm:constr type="bMarg" refType="h" fact="0.45"/>
            </dgm:constrLst>
          </dgm:else>
        </dgm:choose>
        <dgm:presOf axis="self" ptType="node"/>
        <dgm:ruleLst>
          <dgm:rule type="primFontSz" val="5" fact="NaN" max="NaN"/>
        </dgm:ruleLst>
      </dgm:layoutNode>
      <dgm:choose name="Name63">
        <dgm:if name="Name64" axis="ch" ptType="node" func="cnt" op="gte" val="1">
          <dgm:layoutNode name="childText2" styleLbl="solidAlignAcc1">
            <dgm:varLst>
              <dgm:chMax val="0"/>
              <dgm:chPref val="0"/>
              <dgm:bulletEnabled val="1"/>
            </dgm:varLst>
            <dgm:alg type="tx">
              <dgm:param type="txAnchorVert" val="t"/>
              <dgm:param type="parTxLTRAlign" val="l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65"/>
      </dgm:choose>
    </dgm:forEach>
    <dgm:forEach name="Name66" axis="ch" ptType="node" st="3" cnt="1">
      <dgm:layoutNode name="parentText3" styleLbl="node1">
        <dgm:varLst>
          <dgm:chMax/>
          <dgm:chPref val="3"/>
          <dgm:bulletEnabled val="1"/>
        </dgm:varLst>
        <dgm:choose name="Name67">
          <dgm:if name="Name68" func="var" arg="dir" op="equ" val="norm">
            <dgm:alg type="tx">
              <dgm:param type="parTxLTRAlign" val="l"/>
            </dgm:alg>
            <dgm:shape xmlns:r="http://schemas.openxmlformats.org/officeDocument/2006/relationships" type="rightArrow" r:blip="">
              <dgm:adjLst>
                <dgm:adj idx="1" val="0.5"/>
                <dgm:adj idx="2" val="0.5"/>
              </dgm:adjLst>
            </dgm:shape>
            <dgm:constrLst>
              <dgm:constr type="lMarg" refType="primFontSz" fact="0.3"/>
              <dgm:constr type="rMarg" val="20"/>
              <dgm:constr type="tMarg" refType="primFontSz" fact="0.3"/>
              <dgm:constr type="bMarg" refType="h" fact="0.45"/>
            </dgm:constrLst>
          </dgm:if>
          <dgm:else name="Name69">
            <dgm:alg type="tx">
              <dgm:param type="parTxLTRAlign" val="r"/>
            </dgm:alg>
            <dgm:shape xmlns:r="http://schemas.openxmlformats.org/officeDocument/2006/relationships" type="leftArrow" r:blip="">
              <dgm:adjLst>
                <dgm:adj idx="1" val="0.5"/>
                <dgm:adj idx="2" val="0.5"/>
              </dgm:adjLst>
            </dgm:shape>
            <dgm:constrLst>
              <dgm:constr type="lMarg" val="20"/>
              <dgm:constr type="rMarg" refType="primFontSz" fact="0.3"/>
              <dgm:constr type="tMarg" refType="primFontSz" fact="0.3"/>
              <dgm:constr type="bMarg" refType="h" fact="0.45"/>
            </dgm:constrLst>
          </dgm:else>
        </dgm:choose>
        <dgm:presOf axis="self" ptType="node"/>
        <dgm:ruleLst>
          <dgm:rule type="primFontSz" val="5" fact="NaN" max="NaN"/>
        </dgm:ruleLst>
      </dgm:layoutNode>
      <dgm:choose name="Name70">
        <dgm:if name="Name71" axis="ch" ptType="node" func="cnt" op="gte" val="1">
          <dgm:layoutNode name="childText3" styleLbl="solidAlignAcc1">
            <dgm:varLst>
              <dgm:chMax val="0"/>
              <dgm:chPref val="0"/>
              <dgm:bulletEnabled val="1"/>
            </dgm:varLst>
            <dgm:alg type="tx">
              <dgm:param type="txAnchorVert" val="t"/>
              <dgm:param type="parTxLTRAlign" val="l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72"/>
      </dgm:choose>
    </dgm:forEach>
    <dgm:forEach name="Name73" axis="ch" ptType="node" st="4" cnt="1">
      <dgm:layoutNode name="parentText4" styleLbl="node1">
        <dgm:varLst>
          <dgm:chMax/>
          <dgm:chPref val="3"/>
          <dgm:bulletEnabled val="1"/>
        </dgm:varLst>
        <dgm:choose name="Name74">
          <dgm:if name="Name75" func="var" arg="dir" op="equ" val="norm">
            <dgm:alg type="tx">
              <dgm:param type="parTxLTRAlign" val="l"/>
            </dgm:alg>
            <dgm:shape xmlns:r="http://schemas.openxmlformats.org/officeDocument/2006/relationships" type="rightArrow" r:blip="">
              <dgm:adjLst>
                <dgm:adj idx="1" val="0.5"/>
                <dgm:adj idx="2" val="0.5"/>
              </dgm:adjLst>
            </dgm:shape>
            <dgm:constrLst>
              <dgm:constr type="lMarg" refType="primFontSz" fact="0.3"/>
              <dgm:constr type="rMarg" val="20"/>
              <dgm:constr type="tMarg" refType="primFontSz" fact="0.3"/>
              <dgm:constr type="bMarg" refType="h" fact="0.45"/>
            </dgm:constrLst>
          </dgm:if>
          <dgm:else name="Name76">
            <dgm:alg type="tx">
              <dgm:param type="parTxLTRAlign" val="r"/>
            </dgm:alg>
            <dgm:shape xmlns:r="http://schemas.openxmlformats.org/officeDocument/2006/relationships" type="leftArrow" r:blip="">
              <dgm:adjLst>
                <dgm:adj idx="1" val="0.5"/>
                <dgm:adj idx="2" val="0.5"/>
              </dgm:adjLst>
            </dgm:shape>
            <dgm:constrLst>
              <dgm:constr type="lMarg" val="20"/>
              <dgm:constr type="rMarg" refType="primFontSz" fact="0.3"/>
              <dgm:constr type="tMarg" refType="primFontSz" fact="0.3"/>
              <dgm:constr type="bMarg" refType="h" fact="0.45"/>
            </dgm:constrLst>
          </dgm:else>
        </dgm:choose>
        <dgm:presOf axis="self" ptType="node"/>
        <dgm:ruleLst>
          <dgm:rule type="primFontSz" val="5" fact="NaN" max="NaN"/>
        </dgm:ruleLst>
      </dgm:layoutNode>
      <dgm:choose name="Name77">
        <dgm:if name="Name78" axis="ch" ptType="node" func="cnt" op="gte" val="1">
          <dgm:layoutNode name="childText4" styleLbl="solidAlignAcc1">
            <dgm:varLst>
              <dgm:chMax val="0"/>
              <dgm:chPref val="0"/>
              <dgm:bulletEnabled val="1"/>
            </dgm:varLst>
            <dgm:alg type="tx">
              <dgm:param type="txAnchorVert" val="t"/>
              <dgm:param type="parTxLTRAlign" val="l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79"/>
      </dgm:choose>
    </dgm:forEach>
    <dgm:forEach name="Name80" axis="ch" ptType="node" st="5" cnt="1">
      <dgm:layoutNode name="parentText5" styleLbl="node1">
        <dgm:varLst>
          <dgm:chMax/>
          <dgm:chPref val="3"/>
          <dgm:bulletEnabled val="1"/>
        </dgm:varLst>
        <dgm:choose name="Name81">
          <dgm:if name="Name82" func="var" arg="dir" op="equ" val="norm">
            <dgm:alg type="tx">
              <dgm:param type="parTxLTRAlign" val="l"/>
            </dgm:alg>
            <dgm:shape xmlns:r="http://schemas.openxmlformats.org/officeDocument/2006/relationships" type="rightArrow" r:blip="">
              <dgm:adjLst>
                <dgm:adj idx="1" val="0.5"/>
                <dgm:adj idx="2" val="0.5"/>
              </dgm:adjLst>
            </dgm:shape>
            <dgm:constrLst>
              <dgm:constr type="lMarg" refType="primFontSz" fact="0.3"/>
              <dgm:constr type="rMarg" val="20"/>
              <dgm:constr type="tMarg" refType="primFontSz" fact="0.3"/>
              <dgm:constr type="bMarg" refType="h" fact="0.45"/>
            </dgm:constrLst>
          </dgm:if>
          <dgm:else name="Name83">
            <dgm:alg type="tx">
              <dgm:param type="parTxLTRAlign" val="r"/>
            </dgm:alg>
            <dgm:shape xmlns:r="http://schemas.openxmlformats.org/officeDocument/2006/relationships" type="leftArrow" r:blip="">
              <dgm:adjLst>
                <dgm:adj idx="1" val="0.5"/>
                <dgm:adj idx="2" val="0.5"/>
              </dgm:adjLst>
            </dgm:shape>
            <dgm:constrLst>
              <dgm:constr type="lMarg" val="20"/>
              <dgm:constr type="rMarg" refType="primFontSz" fact="0.3"/>
              <dgm:constr type="tMarg" refType="primFontSz" fact="0.3"/>
              <dgm:constr type="bMarg" refType="h" fact="0.45"/>
            </dgm:constrLst>
          </dgm:else>
        </dgm:choose>
        <dgm:presOf axis="self" ptType="node"/>
        <dgm:ruleLst>
          <dgm:rule type="primFontSz" val="5" fact="NaN" max="NaN"/>
        </dgm:ruleLst>
      </dgm:layoutNode>
      <dgm:choose name="Name84">
        <dgm:if name="Name85" axis="ch" ptType="node" func="cnt" op="gte" val="1">
          <dgm:layoutNode name="childText5" styleLbl="solidAlignAcc1">
            <dgm:varLst>
              <dgm:chMax val="0"/>
              <dgm:chPref val="0"/>
              <dgm:bulletEnabled val="1"/>
            </dgm:varLst>
            <dgm:alg type="tx">
              <dgm:param type="txAnchorVert" val="t"/>
              <dgm:param type="parTxLTRAlign" val="l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86"/>
      </dgm:choose>
    </dgm:forEach>
  </dgm:layoutNode>
</dgm:layoutDef>
</file>

<file path=ppt/diagrams/layout9.xml><?xml version="1.0" encoding="utf-8"?>
<dgm:layoutDef xmlns:dgm="http://schemas.openxmlformats.org/drawingml/2006/diagram" xmlns:a="http://schemas.openxmlformats.org/drawingml/2006/main" uniqueId="urn:microsoft.com/office/officeart/2005/8/layout/matrix2">
  <dgm:title val=""/>
  <dgm:desc val=""/>
  <dgm:catLst>
    <dgm:cat type="matrix" pri="3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0" destOrd="0"/>
        <dgm:cxn modelId="8" srcId="0" destId="4" srcOrd="1" destOrd="0"/>
      </dgm:cxnLst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matrix">
    <dgm:varLst>
      <dgm:chMax val="1"/>
      <dgm:dir/>
      <dgm:resizeHandles val="exact"/>
    </dgm:varLst>
    <dgm:alg type="composite">
      <dgm:param type="ar" val="1"/>
    </dgm:alg>
    <dgm:shape xmlns:r="http://schemas.openxmlformats.org/officeDocument/2006/relationships" r:blip="">
      <dgm:adjLst/>
    </dgm:shape>
    <dgm:presOf/>
    <dgm:choose name="Name0">
      <dgm:if name="Name1" func="var" arg="dir" op="equ" val="norm">
        <dgm:constrLst>
          <dgm:constr type="primFontSz" for="ch" ptType="node" op="equ" val="65"/>
          <dgm:constr type="w" for="ch" forName="axisShape" refType="w"/>
          <dgm:constr type="h" for="ch" forName="axisShape" refType="h"/>
          <dgm:constr type="w" for="ch" forName="rect1" refType="w" fact="0.4"/>
          <dgm:constr type="h" for="ch" forName="rect1" refType="w" fact="0.4"/>
          <dgm:constr type="l" for="ch" forName="rect1" refType="w" fact="0.065"/>
          <dgm:constr type="t" for="ch" forName="rect1" refType="h" fact="0.065"/>
          <dgm:constr type="w" for="ch" forName="rect2" refType="w" fact="0.4"/>
          <dgm:constr type="h" for="ch" forName="rect2" refType="h" fact="0.4"/>
          <dgm:constr type="r" for="ch" forName="rect2" refType="w" fact="0.935"/>
          <dgm:constr type="t" for="ch" forName="rect2" refType="h" fact="0.065"/>
          <dgm:constr type="w" for="ch" forName="rect3" refType="w" fact="0.4"/>
          <dgm:constr type="h" for="ch" forName="rect3" refType="w" fact="0.4"/>
          <dgm:constr type="l" for="ch" forName="rect3" refType="w" fact="0.065"/>
          <dgm:constr type="b" for="ch" forName="rect3" refType="h" fact="0.935"/>
          <dgm:constr type="w" for="ch" forName="rect4" refType="w" fact="0.4"/>
          <dgm:constr type="h" for="ch" forName="rect4" refType="h" fact="0.4"/>
          <dgm:constr type="r" for="ch" forName="rect4" refType="w" fact="0.935"/>
          <dgm:constr type="b" for="ch" forName="rect4" refType="h" fact="0.935"/>
        </dgm:constrLst>
      </dgm:if>
      <dgm:else name="Name2">
        <dgm:constrLst>
          <dgm:constr type="primFontSz" for="ch" ptType="node" op="equ" val="65"/>
          <dgm:constr type="w" for="ch" forName="axisShape" refType="w"/>
          <dgm:constr type="h" for="ch" forName="axisShape" refType="h"/>
          <dgm:constr type="w" for="ch" forName="rect1" refType="w" fact="0.4"/>
          <dgm:constr type="h" for="ch" forName="rect1" refType="w" fact="0.4"/>
          <dgm:constr type="r" for="ch" forName="rect1" refType="w" fact="0.935"/>
          <dgm:constr type="t" for="ch" forName="rect1" refType="h" fact="0.065"/>
          <dgm:constr type="w" for="ch" forName="rect2" refType="w" fact="0.4"/>
          <dgm:constr type="h" for="ch" forName="rect2" refType="h" fact="0.4"/>
          <dgm:constr type="l" for="ch" forName="rect2" refType="w" fact="0.065"/>
          <dgm:constr type="t" for="ch" forName="rect2" refType="h" fact="0.065"/>
          <dgm:constr type="w" for="ch" forName="rect3" refType="w" fact="0.4"/>
          <dgm:constr type="h" for="ch" forName="rect3" refType="w" fact="0.4"/>
          <dgm:constr type="r" for="ch" forName="rect3" refType="w" fact="0.935"/>
          <dgm:constr type="b" for="ch" forName="rect3" refType="h" fact="0.935"/>
          <dgm:constr type="w" for="ch" forName="rect4" refType="w" fact="0.4"/>
          <dgm:constr type="h" for="ch" forName="rect4" refType="h" fact="0.4"/>
          <dgm:constr type="l" for="ch" forName="rect4" refType="w" fact="0.065"/>
          <dgm:constr type="b" for="ch" forName="rect4" refType="h" fact="0.935"/>
        </dgm:constrLst>
      </dgm:else>
    </dgm:choose>
    <dgm:ruleLst/>
    <dgm:choose name="Name3">
      <dgm:if name="Name4" axis="ch" ptType="node" func="cnt" op="gte" val="1">
        <dgm:layoutNode name="axisShape" styleLbl="bgShp">
          <dgm:alg type="sp"/>
          <dgm:shape xmlns:r="http://schemas.openxmlformats.org/officeDocument/2006/relationships" type="quadArrow" r:blip="">
            <dgm:adjLst>
              <dgm:adj idx="1" val="0.02"/>
              <dgm:adj idx="2" val="0.04"/>
              <dgm:adj idx="3" val="0.05"/>
            </dgm:adjLst>
          </dgm:shape>
          <dgm:presOf/>
          <dgm:constrLst/>
          <dgm:ruleLst/>
        </dgm:layoutNode>
        <dgm:layoutNode name="rect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ch desOrSelf" ptType="node node" st="1 1" cnt="1 0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rect2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ch desOrSelf" ptType="node node" st="2 1" cnt="1 0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rect3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ch desOrSelf" ptType="node node" st="3 1" cnt="1 0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rect4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ch desOrSelf" ptType="node node" st="4 1" cnt="1 0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</dgm:if>
      <dgm:else name="Name5"/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0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3.xml><?xml version="1.0" encoding="utf-8"?>
<dgm:styleDef xmlns:dgm="http://schemas.openxmlformats.org/drawingml/2006/diagram" xmlns:a="http://schemas.openxmlformats.org/drawingml/2006/main" uniqueId="urn:microsoft.com/office/officeart/2005/8/quickstyle/3d5">
  <dgm:title val=""/>
  <dgm:desc val=""/>
  <dgm:catLst>
    <dgm:cat type="3D" pri="11500"/>
  </dgm:catLst>
  <dgm:scene3d>
    <a:camera prst="isometricOffAxis2Left" zoom="95000"/>
    <a:lightRig rig="flat" dir="t"/>
  </dgm:scene3d>
  <dgm:styleLbl name="node0">
    <dgm:scene3d>
      <a:camera prst="orthographicFront"/>
      <a:lightRig rig="threePt" dir="t"/>
    </dgm:scene3d>
    <dgm:sp3d extrusionH="381000" contourW="381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 extrusionH="381000" contourW="381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 extrusionH="381000" contourW="381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 extrusionH="381000" contourW="38100" prstMaterial="matte">
      <a:contourClr>
        <a:schemeClr val="lt1"/>
      </a:contourClr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 extrusionH="381000" contourW="381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 extrusionH="381000" contourW="381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 extrusionH="381000" contourW="381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 extrusionH="381000" contourW="381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 z="57150"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 z="-381000"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 z="-52400" extrusionH="181000" contourW="381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 z="57150" extrusionH="63500" contourW="12700" prstMaterial="matte">
      <a:contourClr>
        <a:schemeClr val="dk1">
          <a:tint val="20000"/>
        </a:schemeClr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 z="-381000" extrusionH="63500" contourW="12700" prstMaterial="matte">
      <a:contourClr>
        <a:schemeClr val="dk1">
          <a:tint val="20000"/>
        </a:schemeClr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 extrusionH="381000" contourW="381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 extrusionH="381000" contourW="381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 extrusionH="381000" contourW="381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 extrusionH="381000" contourW="381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 z="52400" extrusionH="381000" contourW="381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 z="52400" extrusionH="381000" contourW="381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 z="60000" prstMaterial="flat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 z="60000" prstMaterial="flat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 z="57150" extrusionH="635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 z="-60000" extrusionH="635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 z="-60000" extrusionH="635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 extrusionH="3810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 z="-400500" extrusionH="635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 z="57150" extrusionH="12700" prstMaterial="flat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 extrusionH="12700" prstMaterial="flat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 z="-63500" extrusionH="635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 z="57150" extrusionH="63500" contourW="12700" prstMaterial="matte">
      <a:contourClr>
        <a:schemeClr val="dk1">
          <a:tint val="20000"/>
        </a:schemeClr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 extrusionH="381000" contourW="381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 z="-400500"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 z="57150" extrusionH="635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 z="57150" extrusionH="635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 z="57150" extrusionH="635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 z="57150" extrusionH="635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 z="-400500" extrusionH="63500" contourW="12700" prstMaterial="matte">
      <a:contourClr>
        <a:schemeClr val="lt1">
          <a:tint val="50000"/>
        </a:schemeClr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 extrusionH="381000" contourW="381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trBgShp">
    <dgm:scene3d>
      <a:camera prst="orthographicFront"/>
      <a:lightRig rig="threePt" dir="t"/>
    </dgm:scene3d>
    <dgm:sp3d z="-4005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 z="57150" extrusionH="63500" contourW="12700" prstMaterial="matte">
      <a:contourClr>
        <a:schemeClr val="lt1">
          <a:tint val="50000"/>
        </a:schemeClr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6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7.xml><?xml version="1.0" encoding="utf-8"?>
<dgm:styleDef xmlns:dgm="http://schemas.openxmlformats.org/drawingml/2006/diagram" xmlns:a="http://schemas.openxmlformats.org/drawingml/2006/main" uniqueId="urn:microsoft.com/office/officeart/2005/8/quickstyle/simple3">
  <dgm:title val=""/>
  <dgm:desc val=""/>
  <dgm:catLst>
    <dgm:cat type="simple" pri="103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lnNode1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dk1"/>
      </a:fontRef>
    </dgm:style>
  </dgm:styleLbl>
  <dgm:styleLbl name="venn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8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9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0.xml><?xml version="1.0" encoding="utf-8"?>
<dgm:styleDef xmlns:dgm="http://schemas.openxmlformats.org/drawingml/2006/diagram" xmlns:a="http://schemas.openxmlformats.org/drawingml/2006/main" uniqueId="urn:microsoft.com/office/officeart/2005/8/quickstyle/3d3">
  <dgm:title val=""/>
  <dgm:desc val=""/>
  <dgm:catLst>
    <dgm:cat type="3D" pri="11300"/>
  </dgm:catLst>
  <dgm:scene3d>
    <a:camera prst="orthographicFront"/>
    <a:lightRig rig="threePt" dir="t"/>
  </dgm:scene3d>
  <dgm:styleLbl name="node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clear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182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>
        <a:rot lat="0" lon="0" rev="0"/>
      </a:camera>
      <a:lightRig rig="contrasting" dir="t">
        <a:rot lat="0" lon="0" rev="1200000"/>
      </a:lightRig>
    </dgm:scene3d>
    <dgm:sp3d z="10000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>
        <a:rot lat="0" lon="0" rev="0"/>
      </a:camera>
      <a:lightRig rig="contrasting" dir="t">
        <a:rot lat="0" lon="0" rev="1200000"/>
      </a:lightRig>
    </dgm:scene3d>
    <dgm:sp3d z="-300000" prstMaterial="plastic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00800" h="1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>
        <a:rot lat="0" lon="0" rev="0"/>
      </a:camera>
      <a:lightRig rig="contrasting" dir="t">
        <a:rot lat="0" lon="0" rev="1200000"/>
      </a:lightRig>
    </dgm:scene3d>
    <dgm:sp3d z="-1524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7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8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9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머리글 개체 틀 1">
            <a:extLst>
              <a:ext uri="{FF2B5EF4-FFF2-40B4-BE49-F238E27FC236}">
                <a16:creationId xmlns:a16="http://schemas.microsoft.com/office/drawing/2014/main" id="{112624E4-8146-D2EA-0C63-4181D2058BA4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3" name="날짜 개체 틀 2">
            <a:extLst>
              <a:ext uri="{FF2B5EF4-FFF2-40B4-BE49-F238E27FC236}">
                <a16:creationId xmlns:a16="http://schemas.microsoft.com/office/drawing/2014/main" id="{4202A70D-E7FE-1039-D10B-D785BF8D697A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6A7300E-13B1-49DC-B426-557F23959B4C}" type="datetimeFigureOut">
              <a:rPr lang="ko-KR" altLang="en-US" smtClean="0"/>
              <a:t>2023-06-22</a:t>
            </a:fld>
            <a:endParaRPr lang="ko-KR" altLang="en-US"/>
          </a:p>
        </p:txBody>
      </p:sp>
      <p:sp>
        <p:nvSpPr>
          <p:cNvPr id="5" name="슬라이드 번호 개체 틀 4">
            <a:extLst>
              <a:ext uri="{FF2B5EF4-FFF2-40B4-BE49-F238E27FC236}">
                <a16:creationId xmlns:a16="http://schemas.microsoft.com/office/drawing/2014/main" id="{A24B143B-8F6E-361C-9EB5-558FF021B44C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53861CC-C551-49C2-9EE5-A9F9F94567FD}" type="slidenum">
              <a:rPr lang="ko-KR" altLang="en-US" smtClean="0"/>
              <a:t>‹#›</a:t>
            </a:fld>
            <a:endParaRPr lang="ko-KR" altLang="en-US"/>
          </a:p>
        </p:txBody>
      </p:sp>
      <p:sp>
        <p:nvSpPr>
          <p:cNvPr id="6" name="바닥글 개체 틀 5">
            <a:extLst>
              <a:ext uri="{FF2B5EF4-FFF2-40B4-BE49-F238E27FC236}">
                <a16:creationId xmlns:a16="http://schemas.microsoft.com/office/drawing/2014/main" id="{1B2159C5-924F-821B-4909-C587FD68F51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2608334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ink/ink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3-05-29T01:15:38.568"/>
    </inkml:context>
    <inkml:brush xml:id="br0">
      <inkml:brushProperty name="width" value="0.3" units="cm"/>
      <inkml:brushProperty name="height" value="0.6" units="cm"/>
      <inkml:brushProperty name="color" value="#FFFC00"/>
      <inkml:brushProperty name="tip" value="rectangle"/>
      <inkml:brushProperty name="rasterOp" value="maskPen"/>
      <inkml:brushProperty name="ignorePressure" value="1"/>
    </inkml:brush>
  </inkml:definitions>
  <inkml:trace contextRef="#ctx0" brushRef="#br0">315 2906,'2'1,"-1"-1,1 1,-1-1,1 1,-1 0,1 0,-1 0,0 0,1 0,-1 0,0 0,0 1,0-1,0 0,0 1,0-1,0 0,1 3,3 4,16 21,8 12,2-1,55 54,-66-76,1 0,0-1,2-1,41 22,71 25,240 78,-349-134,1-1,-1-1,51 2,79-9,-74-1,290 3,73-2,-253-11,19 0,-175 13,0-3,-1-1,39-9,-71 12,-1 1,0-1,0 0,1 0,-1 0,0 0,0-1,0 1,0-1,-1 1,1-1,0 1,0-1,-1 0,0 0,1 0,-1 0,0 0,0 0,2-3,0-5,0 1,-1-1,3-17,2-12,27-55,-3 10,82-290,-107 354,10-37,-15 53,-1-1,1 0,-1 0,0 0,0 1,0-1,0 0,-1 0,-2-6,2 9,0 0,0 0,0 0,0 1,0-1,0 1,-1-1,1 1,-1-1,1 1,-1 0,0 0,1 0,-1 0,0 0,0 0,0 0,0 0,1 1,-1-1,0 1,0-1,0 1,0 0,-3 0,-7-1,-1 1,1 1,-13 2,9-1,-29 1,0-2,-68-6,-58-6,66 6,80 2,0 0,1-2,-31-10,-70-31,40 10,-142-55,173 69,-75-43,102 51,0-2,-35-27,-20-13,8 16,15 9,-85-60,130 79,-24-26,25 24,-30-24,-82-52,-44-32,99 68,2-3,-106-117,84 75,43 49,-59-82,84 99,-83-114,73 105,-55-53,39 50,23 23,-40-45,59 59,0 0,0 0,1-1,0 0,0 0,1 0,0 0,1-1,0 1,-2-14,2-7,2 1,3-49,0 26,-1 44,0-1,0 1,1 0,0-1,0 1,1 0,0 0,0 0,1 1,0-1,0 1,1 0,0 0,10-10,-6 8,0 0,1 1,0 0,0 0,1 1,0 1,0 0,1 1,19-8,205-43,-156 39,199-36,22 24,-128 27,83 2,454 11,-4 46,-653-50,99 26,-114-18</inkml:trace>
</inkml:ink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머리글 개체 틀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/>
          <a:lstStyle>
            <a:lvl1pPr algn="l">
              <a:defRPr sz="1200"/>
            </a:lvl1pPr>
          </a:lstStyle>
          <a:p>
            <a:pPr lvl="0">
              <a:defRPr/>
            </a:pPr>
            <a:endParaRPr lang="ko-KR" altLang="en-US"/>
          </a:p>
        </p:txBody>
      </p:sp>
      <p:sp>
        <p:nvSpPr>
          <p:cNvPr id="3" name="날짜 개체 틀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/>
          <a:lstStyle>
            <a:lvl1pPr algn="r">
              <a:defRPr sz="1200"/>
            </a:lvl1pPr>
          </a:lstStyle>
          <a:p>
            <a:pPr lvl="0">
              <a:defRPr/>
            </a:pPr>
            <a:fld id="{1E57DD66-80F1-4549-A4B4-8ABF40CA889D}" type="datetime1">
              <a:rPr lang="ko-KR" altLang="en-US"/>
              <a:pPr lvl="0">
                <a:defRPr/>
              </a:pPr>
              <a:t>2023-06-22</a:t>
            </a:fld>
            <a:endParaRPr lang="ko-KR" altLang="en-US"/>
          </a:p>
        </p:txBody>
      </p:sp>
      <p:sp>
        <p:nvSpPr>
          <p:cNvPr id="4" name="슬라이드 이미지 개체 틀 3"/>
          <p:cNvSpPr>
            <a:spLocks noGrp="1" noRot="1" noChangeAspect="1" noTextEdi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anchor="ctr"/>
          <a:lstStyle/>
          <a:p>
            <a:pPr lvl="0">
              <a:defRPr/>
            </a:pPr>
            <a:endParaRPr lang="ko-KR" altLang="en-US"/>
          </a:p>
        </p:txBody>
      </p:sp>
      <p:sp>
        <p:nvSpPr>
          <p:cNvPr id="5" name="슬라이드 노트 개체 틀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/>
          <a:lstStyle/>
          <a:p>
            <a:pPr lvl="0">
              <a:defRPr/>
            </a:pPr>
            <a:r>
              <a:rPr lang="ko-KR" altLang="en-US" dirty="0"/>
              <a:t>마스터 텍스트 스타일 편집</a:t>
            </a:r>
          </a:p>
          <a:p>
            <a:pPr lvl="1">
              <a:defRPr/>
            </a:pPr>
            <a:r>
              <a:rPr lang="ko-KR" altLang="en-US" dirty="0"/>
              <a:t>둘째 수준</a:t>
            </a:r>
          </a:p>
          <a:p>
            <a:pPr lvl="2">
              <a:defRPr/>
            </a:pPr>
            <a:r>
              <a:rPr lang="ko-KR" altLang="en-US" dirty="0"/>
              <a:t>셋째 수준</a:t>
            </a:r>
          </a:p>
          <a:p>
            <a:pPr lvl="3">
              <a:defRPr/>
            </a:pPr>
            <a:r>
              <a:rPr lang="ko-KR" altLang="en-US" dirty="0"/>
              <a:t>넷째 수준</a:t>
            </a:r>
          </a:p>
          <a:p>
            <a:pPr lvl="4">
              <a:defRPr/>
            </a:pPr>
            <a:r>
              <a:rPr lang="ko-KR" altLang="en-US" dirty="0"/>
              <a:t>다섯째 수준</a:t>
            </a:r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anchor="b"/>
          <a:lstStyle>
            <a:lvl1pPr algn="l">
              <a:defRPr sz="1200"/>
            </a:lvl1pPr>
          </a:lstStyle>
          <a:p>
            <a:pPr lvl="0">
              <a:defRPr/>
            </a:pPr>
            <a:r>
              <a:rPr lang="en-US" altLang="ko-KR" dirty="0"/>
              <a:t>2023-06-01 </a:t>
            </a:r>
            <a:r>
              <a:rPr lang="ko-KR" altLang="en-US" dirty="0"/>
              <a:t>김익성 </a:t>
            </a:r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anchor="b"/>
          <a:lstStyle>
            <a:lvl1pPr algn="r">
              <a:defRPr sz="1200"/>
            </a:lvl1pPr>
          </a:lstStyle>
          <a:p>
            <a:pPr lvl="0">
              <a:defRPr/>
            </a:pPr>
            <a:fld id="{5B084300-883D-4B04-BFEE-E653B01F0341}" type="slidenum">
              <a:rPr lang="ko-KR" altLang="en-US"/>
              <a:pPr lvl="0">
                <a:defRPr/>
              </a:pPr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174749522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88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pPr defTabSz="1034772">
              <a:defRPr/>
            </a:pPr>
            <a:fld id="{EC88E532-6106-4010-BBEA-FEFDF1B2F27D}" type="slidenum">
              <a:rPr lang="en-US" altLang="en-US">
                <a:solidFill>
                  <a:prstClr val="black"/>
                </a:solidFill>
                <a:latin typeface="맑은 고딕"/>
              </a:rPr>
              <a:pPr defTabSz="1034772">
                <a:defRPr/>
              </a:pPr>
              <a:t>2</a:t>
            </a:fld>
            <a:endParaRPr lang="en-US" altLang="en-US">
              <a:solidFill>
                <a:prstClr val="black"/>
              </a:solidFill>
              <a:latin typeface="맑은 고딕"/>
            </a:endParaRPr>
          </a:p>
        </p:txBody>
      </p:sp>
      <p:sp>
        <p:nvSpPr>
          <p:cNvPr id="122883" name="Rectangle 7"/>
          <p:cNvSpPr txBox="1">
            <a:spLocks noGrp="1" noChangeArrowheads="1"/>
          </p:cNvSpPr>
          <p:nvPr/>
        </p:nvSpPr>
        <p:spPr>
          <a:xfrm>
            <a:off x="3971255" y="10567517"/>
            <a:ext cx="3037512" cy="555904"/>
          </a:xfrm>
          <a:prstGeom prst="rect">
            <a:avLst/>
          </a:prstGeom>
          <a:noFill/>
          <a:ln w="9525">
            <a:noFill/>
            <a:miter/>
          </a:ln>
        </p:spPr>
        <p:txBody>
          <a:bodyPr lIns="102414" tIns="51210" rIns="102414" bIns="51210" anchor="b"/>
          <a:lstStyle/>
          <a:p>
            <a:pPr algn="r" defTabSz="1022938" latinLnBrk="0">
              <a:spcBef>
                <a:spcPts val="0"/>
              </a:spcBef>
              <a:spcAft>
                <a:spcPts val="0"/>
              </a:spcAft>
              <a:buClr>
                <a:srgbClr val="EEECE1"/>
              </a:buClr>
              <a:defRPr/>
            </a:pPr>
            <a:fld id="{A0DAAC6E-8825-4E51-9795-9A75035DD6CB}" type="slidenum">
              <a:rPr lang="en-US" altLang="en-US" sz="1400">
                <a:solidFill>
                  <a:srgbClr val="000000"/>
                </a:solidFill>
              </a:rPr>
              <a:pPr algn="r" defTabSz="1022938" latinLnBrk="0">
                <a:spcBef>
                  <a:spcPts val="0"/>
                </a:spcBef>
                <a:spcAft>
                  <a:spcPts val="0"/>
                </a:spcAft>
                <a:buClr>
                  <a:srgbClr val="EEECE1"/>
                </a:buClr>
                <a:defRPr/>
              </a:pPr>
              <a:t>2</a:t>
            </a:fld>
            <a:endParaRPr lang="en-US" altLang="en-US" sz="1400">
              <a:solidFill>
                <a:srgbClr val="000000"/>
              </a:solidFill>
            </a:endParaRPr>
          </a:p>
        </p:txBody>
      </p:sp>
      <p:sp>
        <p:nvSpPr>
          <p:cNvPr id="122884" name="Rectangle 7"/>
          <p:cNvSpPr txBox="1">
            <a:spLocks noGrp="1" noChangeArrowheads="1"/>
          </p:cNvSpPr>
          <p:nvPr/>
        </p:nvSpPr>
        <p:spPr>
          <a:xfrm>
            <a:off x="3971255" y="10569308"/>
            <a:ext cx="3037512" cy="554115"/>
          </a:xfrm>
          <a:prstGeom prst="rect">
            <a:avLst/>
          </a:prstGeom>
          <a:noFill/>
          <a:ln w="9525">
            <a:noFill/>
            <a:miter/>
          </a:ln>
        </p:spPr>
        <p:txBody>
          <a:bodyPr lIns="102414" tIns="51210" rIns="102414" bIns="51210" anchor="b"/>
          <a:lstStyle/>
          <a:p>
            <a:pPr algn="r" defTabSz="1022938" latinLnBrk="0">
              <a:spcBef>
                <a:spcPts val="0"/>
              </a:spcBef>
              <a:spcAft>
                <a:spcPts val="0"/>
              </a:spcAft>
              <a:defRPr/>
            </a:pPr>
            <a:fld id="{0A1D4956-23CF-4F73-9873-D23B81E3ECA4}" type="slidenum">
              <a:rPr lang="en-US" altLang="en-US" sz="1400">
                <a:solidFill>
                  <a:srgbClr val="000000"/>
                </a:solidFill>
              </a:rPr>
              <a:pPr algn="r" defTabSz="1022938" latinLnBrk="0">
                <a:spcBef>
                  <a:spcPts val="0"/>
                </a:spcBef>
                <a:spcAft>
                  <a:spcPts val="0"/>
                </a:spcAft>
                <a:defRPr/>
              </a:pPr>
              <a:t>2</a:t>
            </a:fld>
            <a:endParaRPr lang="en-US" altLang="en-US" sz="1400">
              <a:solidFill>
                <a:srgbClr val="000000"/>
              </a:solidFill>
            </a:endParaRPr>
          </a:p>
        </p:txBody>
      </p:sp>
      <p:sp>
        <p:nvSpPr>
          <p:cNvPr id="122885" name="Rectangle 7"/>
          <p:cNvSpPr txBox="1">
            <a:spLocks noGrp="1" noChangeArrowheads="1"/>
          </p:cNvSpPr>
          <p:nvPr/>
        </p:nvSpPr>
        <p:spPr>
          <a:xfrm>
            <a:off x="3971255" y="10569308"/>
            <a:ext cx="3037512" cy="554115"/>
          </a:xfrm>
          <a:prstGeom prst="rect">
            <a:avLst/>
          </a:prstGeom>
          <a:noFill/>
          <a:ln w="9525">
            <a:noFill/>
            <a:miter/>
          </a:ln>
        </p:spPr>
        <p:txBody>
          <a:bodyPr lIns="102414" tIns="51210" rIns="102414" bIns="51210" anchor="b"/>
          <a:lstStyle/>
          <a:p>
            <a:pPr algn="r" defTabSz="1022938" latinLnBrk="0">
              <a:spcBef>
                <a:spcPts val="0"/>
              </a:spcBef>
              <a:spcAft>
                <a:spcPts val="0"/>
              </a:spcAft>
              <a:buClr>
                <a:srgbClr val="EEECE1"/>
              </a:buClr>
              <a:defRPr/>
            </a:pPr>
            <a:fld id="{A0497D0C-C470-4A0E-8F1E-F468A725ED38}" type="slidenum">
              <a:rPr lang="en-US" altLang="en-US" sz="1400">
                <a:solidFill>
                  <a:srgbClr val="000000"/>
                </a:solidFill>
              </a:rPr>
              <a:pPr algn="r" defTabSz="1022938" latinLnBrk="0">
                <a:spcBef>
                  <a:spcPts val="0"/>
                </a:spcBef>
                <a:spcAft>
                  <a:spcPts val="0"/>
                </a:spcAft>
                <a:buClr>
                  <a:srgbClr val="EEECE1"/>
                </a:buClr>
                <a:defRPr/>
              </a:pPr>
              <a:t>2</a:t>
            </a:fld>
            <a:endParaRPr lang="en-US" altLang="en-US" sz="1400">
              <a:solidFill>
                <a:srgbClr val="000000"/>
              </a:solidFill>
            </a:endParaRPr>
          </a:p>
        </p:txBody>
      </p:sp>
      <p:sp>
        <p:nvSpPr>
          <p:cNvPr id="122886" name="Rectangle 7"/>
          <p:cNvSpPr txBox="1">
            <a:spLocks noGrp="1" noChangeArrowheads="1"/>
          </p:cNvSpPr>
          <p:nvPr/>
        </p:nvSpPr>
        <p:spPr>
          <a:xfrm>
            <a:off x="3969609" y="10569308"/>
            <a:ext cx="3039152" cy="554115"/>
          </a:xfrm>
          <a:prstGeom prst="rect">
            <a:avLst/>
          </a:prstGeom>
          <a:noFill/>
          <a:ln w="9525">
            <a:noFill/>
            <a:miter/>
          </a:ln>
        </p:spPr>
        <p:txBody>
          <a:bodyPr lIns="103357" tIns="51675" rIns="103357" bIns="51675" anchor="b"/>
          <a:lstStyle/>
          <a:p>
            <a:pPr algn="r" defTabSz="1029702" latinLnBrk="0">
              <a:spcBef>
                <a:spcPts val="0"/>
              </a:spcBef>
              <a:spcAft>
                <a:spcPts val="0"/>
              </a:spcAft>
              <a:defRPr/>
            </a:pPr>
            <a:fld id="{7665346A-B7BF-41AB-80F4-A7FD2C053937}" type="slidenum">
              <a:rPr lang="en-US" altLang="en-US" sz="1400">
                <a:solidFill>
                  <a:srgbClr val="000000"/>
                </a:solidFill>
              </a:rPr>
              <a:pPr algn="r" defTabSz="1029702" latinLnBrk="0">
                <a:spcBef>
                  <a:spcPts val="0"/>
                </a:spcBef>
                <a:spcAft>
                  <a:spcPts val="0"/>
                </a:spcAft>
                <a:defRPr/>
              </a:pPr>
              <a:t>2</a:t>
            </a:fld>
            <a:endParaRPr lang="en-US" altLang="en-US" sz="1400">
              <a:solidFill>
                <a:srgbClr val="000000"/>
              </a:solidFill>
            </a:endParaRPr>
          </a:p>
        </p:txBody>
      </p:sp>
      <p:sp>
        <p:nvSpPr>
          <p:cNvPr id="122887" name="Rectangle 7"/>
          <p:cNvSpPr txBox="1">
            <a:spLocks noGrp="1" noChangeArrowheads="1"/>
          </p:cNvSpPr>
          <p:nvPr/>
        </p:nvSpPr>
        <p:spPr>
          <a:xfrm>
            <a:off x="3969609" y="10569308"/>
            <a:ext cx="3039152" cy="554115"/>
          </a:xfrm>
          <a:prstGeom prst="rect">
            <a:avLst/>
          </a:prstGeom>
          <a:noFill/>
          <a:ln w="9525">
            <a:noFill/>
            <a:miter/>
          </a:ln>
        </p:spPr>
        <p:txBody>
          <a:bodyPr lIns="98711" tIns="49355" rIns="98711" bIns="49355" anchor="b"/>
          <a:lstStyle/>
          <a:p>
            <a:pPr algn="r" defTabSz="984048" latinLnBrk="0">
              <a:spcBef>
                <a:spcPts val="0"/>
              </a:spcBef>
              <a:spcAft>
                <a:spcPts val="0"/>
              </a:spcAft>
              <a:defRPr/>
            </a:pPr>
            <a:fld id="{21135E53-32FA-4B22-8A10-B4E461150D54}" type="slidenum">
              <a:rPr lang="en-US" altLang="ko-KR" sz="1300">
                <a:solidFill>
                  <a:srgbClr val="000000"/>
                </a:solidFill>
              </a:rPr>
              <a:pPr algn="r" defTabSz="984048" latinLnBrk="0">
                <a:spcBef>
                  <a:spcPts val="0"/>
                </a:spcBef>
                <a:spcAft>
                  <a:spcPts val="0"/>
                </a:spcAft>
                <a:defRPr/>
              </a:pPr>
              <a:t>2</a:t>
            </a:fld>
            <a:endParaRPr lang="en-US" altLang="ko-KR" sz="1300">
              <a:solidFill>
                <a:srgbClr val="000000"/>
              </a:solidFill>
            </a:endParaRPr>
          </a:p>
        </p:txBody>
      </p:sp>
      <p:sp>
        <p:nvSpPr>
          <p:cNvPr id="12288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184150" y="838200"/>
            <a:ext cx="7391400" cy="4159250"/>
          </a:xfrm>
          <a:ln/>
        </p:spPr>
      </p:sp>
      <p:sp>
        <p:nvSpPr>
          <p:cNvPr id="122889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33746" y="5285549"/>
            <a:ext cx="5139646" cy="5006698"/>
          </a:xfrm>
          <a:noFill/>
          <a:ln/>
        </p:spPr>
        <p:txBody>
          <a:bodyPr lIns="98676" tIns="49340" rIns="98676" bIns="49340"/>
          <a:lstStyle/>
          <a:p>
            <a:pPr eaLnBrk="1" hangingPunct="1">
              <a:defRPr/>
            </a:pPr>
            <a:endParaRPr lang="ko-KR" altLang="en-US" dirty="0">
              <a:latin typeface="Arial"/>
              <a:ea typeface="굴림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873792211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ACC74F5-8084-49B8-A0BC-A55A8E77E78D}" type="slidenum">
              <a:rPr lang="ko-KR" altLang="en-US" smtClean="0"/>
              <a:t>11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900747410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ACC74F5-8084-49B8-A0BC-A55A8E77E78D}" type="slidenum">
              <a:rPr lang="ko-KR" altLang="en-US" smtClean="0"/>
              <a:t>12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270484693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>
          <a:xfrm>
            <a:off x="-201613" y="835025"/>
            <a:ext cx="7413626" cy="4170363"/>
          </a:xfrm>
        </p:spPr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7C79F360-8C94-4ECA-B70C-017A3604F7C9}" type="slidenum">
              <a:rPr lang="en-US" smtClean="0"/>
              <a:pPr>
                <a:defRPr/>
              </a:pPr>
              <a:t>1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23561415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>
          <a:xfrm>
            <a:off x="-201613" y="835025"/>
            <a:ext cx="7413626" cy="4170363"/>
          </a:xfrm>
        </p:spPr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C79F360-8C94-4ECA-B70C-017A3604F7C9}" type="slidenum">
              <a:rPr kumimoji="0" lang="en-US" sz="13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en-US" sz="13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0207566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>
          <a:xfrm>
            <a:off x="-201613" y="835025"/>
            <a:ext cx="7413626" cy="4170363"/>
          </a:xfrm>
        </p:spPr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C79F360-8C94-4ECA-B70C-017A3604F7C9}" type="slidenum">
              <a:rPr kumimoji="0" lang="en-US" sz="13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en-US" sz="13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51178279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ACC74F5-8084-49B8-A0BC-A55A8E77E78D}" type="slidenum">
              <a:rPr lang="ko-KR" altLang="en-US" smtClean="0"/>
              <a:t>16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653834581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ACC74F5-8084-49B8-A0BC-A55A8E77E78D}" type="slidenum">
              <a:rPr lang="ko-KR" altLang="en-US" smtClean="0"/>
              <a:t>17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4284431601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ACC74F5-8084-49B8-A0BC-A55A8E77E78D}" type="slidenum">
              <a:rPr lang="ko-KR" altLang="en-US" smtClean="0"/>
              <a:t>18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623863875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ACC74F5-8084-49B8-A0BC-A55A8E77E78D}" type="slidenum">
              <a:rPr lang="ko-KR" altLang="en-US" smtClean="0"/>
              <a:t>19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828223860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ACC74F5-8084-49B8-A0BC-A55A8E77E78D}" type="slidenum">
              <a:rPr lang="ko-KR" altLang="en-US" smtClean="0"/>
              <a:t>21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28230731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-201613" y="835025"/>
            <a:ext cx="7413626" cy="4170363"/>
          </a:xfrm>
        </p:spPr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>
              <a:defRPr/>
            </a:pPr>
            <a:endParaRPr lang="ko-KR" altLang="en-US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7C79F360-8C94-4ECA-B70C-017A3604F7C9}" type="slidenum">
              <a:rPr lang="en-US"/>
              <a:pPr>
                <a:defRPr/>
              </a:pPr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94427162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ACC74F5-8084-49B8-A0BC-A55A8E77E78D}" type="slidenum">
              <a:rPr lang="ko-KR" altLang="en-US" smtClean="0"/>
              <a:t>22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994895607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ACC74F5-8084-49B8-A0BC-A55A8E77E78D}" type="slidenum">
              <a:rPr lang="ko-KR" altLang="en-US" smtClean="0"/>
              <a:t>23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662610374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ACC74F5-8084-49B8-A0BC-A55A8E77E78D}" type="slidenum">
              <a:rPr lang="ko-KR" altLang="en-US" smtClean="0"/>
              <a:t>24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011619216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ACC74F5-8084-49B8-A0BC-A55A8E77E78D}" type="slidenum">
              <a:rPr lang="ko-KR" altLang="en-US" smtClean="0"/>
              <a:t>25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4134243846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ACC74F5-8084-49B8-A0BC-A55A8E77E78D}" type="slidenum">
              <a:rPr lang="ko-KR" altLang="en-US" smtClean="0"/>
              <a:t>27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268306366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ACC74F5-8084-49B8-A0BC-A55A8E77E78D}" type="slidenum">
              <a:rPr lang="ko-KR" altLang="en-US" smtClean="0"/>
              <a:t>28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18231898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ACC74F5-8084-49B8-A0BC-A55A8E77E78D}" type="slidenum">
              <a:rPr lang="ko-KR" altLang="en-US" smtClean="0"/>
              <a:t>29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958999093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ACC74F5-8084-49B8-A0BC-A55A8E77E78D}" type="slidenum">
              <a:rPr lang="ko-KR" altLang="en-US" smtClean="0"/>
              <a:t>30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4217291736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ACC74F5-8084-49B8-A0BC-A55A8E77E78D}" type="slidenum">
              <a:rPr lang="ko-KR" altLang="en-US" smtClean="0"/>
              <a:t>31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683845165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ACC74F5-8084-49B8-A0BC-A55A8E77E78D}" type="slidenum">
              <a:rPr lang="ko-KR" altLang="en-US" smtClean="0"/>
              <a:t>32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69686617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-201613" y="835025"/>
            <a:ext cx="7413626" cy="4170363"/>
          </a:xfrm>
        </p:spPr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>
              <a:defRPr/>
            </a:pPr>
            <a:endParaRPr lang="ko-KR" altLang="en-US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7C79F360-8C94-4ECA-B70C-017A3604F7C9}" type="slidenum">
              <a:rPr lang="en-US"/>
              <a:pPr>
                <a:defRPr/>
              </a:pPr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01884714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ACC74F5-8084-49B8-A0BC-A55A8E77E78D}" type="slidenum">
              <a:rPr lang="ko-KR" altLang="en-US" smtClean="0"/>
              <a:t>33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808420687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ACC74F5-8084-49B8-A0BC-A55A8E77E78D}" type="slidenum">
              <a:rPr lang="ko-KR" altLang="en-US" smtClean="0"/>
              <a:t>34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4189574192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ACC74F5-8084-49B8-A0BC-A55A8E77E78D}" type="slidenum">
              <a:rPr lang="ko-KR" altLang="en-US" smtClean="0"/>
              <a:t>35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254417434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ACC74F5-8084-49B8-A0BC-A55A8E77E78D}" type="slidenum">
              <a:rPr lang="ko-KR" altLang="en-US" smtClean="0"/>
              <a:t>36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618092525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ACC74F5-8084-49B8-A0BC-A55A8E77E78D}" type="slidenum">
              <a:rPr lang="ko-KR" altLang="en-US" smtClean="0"/>
              <a:t>37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756800274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ACC74F5-8084-49B8-A0BC-A55A8E77E78D}" type="slidenum">
              <a:rPr lang="ko-KR" altLang="en-US" smtClean="0"/>
              <a:t>38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433891053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ACC74F5-8084-49B8-A0BC-A55A8E77E78D}" type="slidenum">
              <a:rPr lang="ko-KR" altLang="en-US" smtClean="0"/>
              <a:t>39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572009064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ACC74F5-8084-49B8-A0BC-A55A8E77E78D}" type="slidenum">
              <a:rPr lang="ko-KR" altLang="en-US" smtClean="0"/>
              <a:t>40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75658322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-201613" y="835025"/>
            <a:ext cx="7413626" cy="4170363"/>
          </a:xfrm>
        </p:spPr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>
              <a:defRPr/>
            </a:pPr>
            <a:endParaRPr lang="ko-KR" altLang="en-US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7C79F360-8C94-4ECA-B70C-017A3604F7C9}" type="slidenum">
              <a:rPr lang="en-US"/>
              <a:pPr>
                <a:defRPr/>
              </a:pPr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5835948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-201613" y="835025"/>
            <a:ext cx="7413626" cy="4170363"/>
          </a:xfrm>
        </p:spPr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>
              <a:defRPr/>
            </a:pPr>
            <a:endParaRPr lang="ko-KR" altLang="en-US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7C79F360-8C94-4ECA-B70C-017A3604F7C9}" type="slidenum">
              <a:rPr lang="en-US"/>
              <a:pPr>
                <a:defRPr/>
              </a:pPr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6108510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ACC74F5-8084-49B8-A0BC-A55A8E77E78D}" type="slidenum">
              <a:rPr lang="ko-KR" altLang="en-US" smtClean="0"/>
              <a:t>7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2521152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ACC74F5-8084-49B8-A0BC-A55A8E77E78D}" type="slidenum">
              <a:rPr lang="ko-KR" altLang="en-US" smtClean="0"/>
              <a:t>8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61526724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ACC74F5-8084-49B8-A0BC-A55A8E77E78D}" type="slidenum">
              <a:rPr lang="ko-KR" altLang="en-US" smtClean="0"/>
              <a:t>9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51929041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ACC74F5-8084-49B8-A0BC-A55A8E77E78D}" type="slidenum">
              <a:rPr lang="ko-KR" altLang="en-US" smtClean="0"/>
              <a:t>10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90528787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6.xml"/><Relationship Id="rId4" Type="http://schemas.openxmlformats.org/officeDocument/2006/relationships/tags" Target="../tags/tag5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부제목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ko-KR" altLang="en-US"/>
              <a:t>클릭하여 마스터 부제목 스타일 편집</a:t>
            </a:r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92138A8-5786-4613-B817-CBB926F6B8F9}" type="datetimeFigureOut">
              <a:rPr lang="ko-KR" altLang="en-US" smtClean="0"/>
              <a:t>2023-06-22</a:t>
            </a:fld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1B415F-A452-44AB-A074-A7A2C16B215C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37159471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제목 및 세로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세로 텍스트 개체 틀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ko-KR" altLang="en-US"/>
              <a:t>마스터 텍스트 스타일 편집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92138A8-5786-4613-B817-CBB926F6B8F9}" type="datetimeFigureOut">
              <a:rPr lang="ko-KR" altLang="en-US" smtClean="0"/>
              <a:t>2023-06-22</a:t>
            </a:fld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1B415F-A452-44AB-A074-A7A2C16B215C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58605362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세로 제목 및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세로 제목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세로 텍스트 개체 틀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ko-KR" altLang="en-US"/>
              <a:t>마스터 텍스트 스타일 편집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92138A8-5786-4613-B817-CBB926F6B8F9}" type="datetimeFigureOut">
              <a:rPr lang="ko-KR" altLang="en-US" smtClean="0"/>
              <a:t>2023-06-22</a:t>
            </a:fld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1B415F-A452-44AB-A074-A7A2C16B215C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18334093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.T. Kearney TitleOnly 20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개체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개체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26400" y="804673"/>
            <a:ext cx="11520000" cy="304699"/>
          </a:xfrm>
          <a:prstGeom prst="rect">
            <a:avLst/>
          </a:prstGeom>
          <a:noFill/>
          <a:ln>
            <a:noFill/>
          </a:ln>
        </p:spPr>
        <p:txBody>
          <a:bodyPr rtlCol="0"/>
          <a:lstStyle>
            <a:lvl1pPr>
              <a:defRPr/>
            </a:lvl1pPr>
          </a:lstStyle>
          <a:p>
            <a:r>
              <a:rPr lang="en-US" dirty="0"/>
              <a:t>Headline of maximum two lines here</a:t>
            </a:r>
          </a:p>
        </p:txBody>
      </p:sp>
    </p:spTree>
    <p:extLst>
      <p:ext uri="{BB962C8B-B14F-4D97-AF65-F5344CB8AC3E}">
        <p14:creationId xmlns:p14="http://schemas.microsoft.com/office/powerpoint/2010/main" val="20445260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A.T. Kearney CoverWhite 20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13"/>
          <p:cNvSpPr>
            <a:spLocks noGrp="1"/>
          </p:cNvSpPr>
          <p:nvPr>
            <p:ph type="body" sz="quarter" idx="16" hasCustomPrompt="1"/>
          </p:nvPr>
        </p:nvSpPr>
        <p:spPr>
          <a:xfrm>
            <a:off x="326401" y="6353324"/>
            <a:ext cx="4415367" cy="193899"/>
          </a:xfrm>
        </p:spPr>
        <p:txBody>
          <a:bodyPr anchor="b" anchorCtr="0"/>
          <a:lstStyle>
            <a:lvl1pPr marL="0" indent="0">
              <a:spcBef>
                <a:spcPts val="0"/>
              </a:spcBef>
              <a:buNone/>
              <a:defRPr sz="1400"/>
            </a:lvl1pPr>
            <a:lvl2pPr marL="182880" indent="0">
              <a:buNone/>
              <a:defRPr sz="1000"/>
            </a:lvl2pPr>
            <a:lvl3pPr marL="323238" indent="0">
              <a:buNone/>
              <a:defRPr sz="1000"/>
            </a:lvl3pPr>
            <a:lvl4pPr marL="510840" indent="0">
              <a:buNone/>
              <a:defRPr sz="1000"/>
            </a:lvl4pPr>
            <a:lvl5pPr marL="655200" indent="0">
              <a:buNone/>
              <a:defRPr sz="1000"/>
            </a:lvl5pPr>
          </a:lstStyle>
          <a:p>
            <a:pPr lvl="0"/>
            <a:r>
              <a:rPr lang="en-US" dirty="0"/>
              <a:t>Author(s) her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5" hasCustomPrompt="1"/>
            <p:custDataLst>
              <p:tags r:id="rId1"/>
            </p:custDataLst>
          </p:nvPr>
        </p:nvSpPr>
        <p:spPr>
          <a:xfrm>
            <a:off x="326401" y="5073439"/>
            <a:ext cx="5290556" cy="193899"/>
          </a:xfrm>
          <a:noFill/>
          <a:ln w="6350" cap="flat">
            <a:noFill/>
          </a:ln>
        </p:spPr>
        <p:txBody>
          <a:bodyPr vert="horz" wrap="square" lIns="0" tIns="0" rIns="0" bIns="0" rtlCol="0">
            <a:spAutoFit/>
          </a:bodyPr>
          <a:lstStyle>
            <a:lvl1pPr marL="180000" indent="-180000">
              <a:buNone/>
              <a:defRPr lang="en-US" sz="1400" baseline="0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r>
              <a:rPr lang="en-US" dirty="0"/>
              <a:t>Date here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2" hasCustomPrompt="1"/>
            <p:custDataLst>
              <p:tags r:id="rId2"/>
            </p:custDataLst>
          </p:nvPr>
        </p:nvSpPr>
        <p:spPr>
          <a:xfrm>
            <a:off x="326400" y="4858081"/>
            <a:ext cx="5289117" cy="193899"/>
          </a:xfrm>
          <a:noFill/>
          <a:ln w="6350" cap="flat">
            <a:noFill/>
          </a:ln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400" baseline="0"/>
            </a:lvl1pPr>
          </a:lstStyle>
          <a:p>
            <a:r>
              <a:rPr lang="en-US" dirty="0"/>
              <a:t>Report type here</a:t>
            </a:r>
          </a:p>
        </p:txBody>
      </p:sp>
      <p:sp>
        <p:nvSpPr>
          <p:cNvPr id="3" name="Title 1"/>
          <p:cNvSpPr>
            <a:spLocks noGrp="1"/>
          </p:cNvSpPr>
          <p:nvPr>
            <p:ph type="ctrTitle" hasCustomPrompt="1"/>
            <p:custDataLst>
              <p:tags r:id="rId3"/>
            </p:custDataLst>
          </p:nvPr>
        </p:nvSpPr>
        <p:spPr>
          <a:xfrm>
            <a:off x="326400" y="3685032"/>
            <a:ext cx="11523133" cy="498598"/>
          </a:xfrm>
          <a:prstGeom prst="rect">
            <a:avLst/>
          </a:prstGeom>
          <a:noFill/>
          <a:ln w="6350" cap="flat">
            <a:noFill/>
          </a:ln>
        </p:spPr>
        <p:txBody>
          <a:bodyPr/>
          <a:lstStyle>
            <a:lvl1pPr algn="l">
              <a:lnSpc>
                <a:spcPct val="90000"/>
              </a:lnSpc>
              <a:defRPr sz="3600" b="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/>
              <a:t>Presentation title here</a:t>
            </a:r>
            <a:endParaRPr lang="de-DE" dirty="0"/>
          </a:p>
        </p:txBody>
      </p:sp>
      <p:cxnSp>
        <p:nvCxnSpPr>
          <p:cNvPr id="5" name="Straight Connector 4"/>
          <p:cNvCxnSpPr/>
          <p:nvPr>
            <p:custDataLst>
              <p:tags r:id="rId4"/>
            </p:custDataLst>
          </p:nvPr>
        </p:nvCxnSpPr>
        <p:spPr>
          <a:xfrm>
            <a:off x="0" y="3547872"/>
            <a:ext cx="12192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Subtitle 2"/>
          <p:cNvSpPr>
            <a:spLocks noGrp="1"/>
          </p:cNvSpPr>
          <p:nvPr>
            <p:ph type="subTitle" idx="1" hasCustomPrompt="1"/>
            <p:custDataLst>
              <p:tags r:id="rId5"/>
            </p:custDataLst>
          </p:nvPr>
        </p:nvSpPr>
        <p:spPr>
          <a:xfrm>
            <a:off x="326400" y="3154681"/>
            <a:ext cx="11523133" cy="249299"/>
          </a:xfrm>
          <a:prstGeom prst="rect">
            <a:avLst/>
          </a:prstGeom>
          <a:noFill/>
          <a:ln w="6350" cap="flat">
            <a:noFill/>
          </a:ln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900"/>
              </a:spcBef>
              <a:buNone/>
              <a:defRPr sz="1800" b="1" i="0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Presentation subtitle or client name here</a:t>
            </a:r>
          </a:p>
        </p:txBody>
      </p:sp>
    </p:spTree>
    <p:extLst>
      <p:ext uri="{BB962C8B-B14F-4D97-AF65-F5344CB8AC3E}">
        <p14:creationId xmlns:p14="http://schemas.microsoft.com/office/powerpoint/2010/main" val="359510644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사용자 지정 레이아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58DB5E93-D294-29B6-2B38-A49A314726F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날짜 개체 틀 2">
            <a:extLst>
              <a:ext uri="{FF2B5EF4-FFF2-40B4-BE49-F238E27FC236}">
                <a16:creationId xmlns:a16="http://schemas.microsoft.com/office/drawing/2014/main" id="{A3CC4B7A-6F45-996B-8735-6DE0BDB9E60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92138A8-5786-4613-B817-CBB926F6B8F9}" type="datetimeFigureOut">
              <a:rPr lang="ko-KR" altLang="en-US" smtClean="0"/>
              <a:t>2023-06-22</a:t>
            </a:fld>
            <a:endParaRPr lang="ko-KR" altLang="en-US"/>
          </a:p>
        </p:txBody>
      </p:sp>
      <p:sp>
        <p:nvSpPr>
          <p:cNvPr id="4" name="바닥글 개체 틀 3">
            <a:extLst>
              <a:ext uri="{FF2B5EF4-FFF2-40B4-BE49-F238E27FC236}">
                <a16:creationId xmlns:a16="http://schemas.microsoft.com/office/drawing/2014/main" id="{F312B71A-6144-D3BD-140A-E8124B36ED1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5" name="슬라이드 번호 개체 틀 4">
            <a:extLst>
              <a:ext uri="{FF2B5EF4-FFF2-40B4-BE49-F238E27FC236}">
                <a16:creationId xmlns:a16="http://schemas.microsoft.com/office/drawing/2014/main" id="{6DA7323A-4FD4-7CE6-AC79-78DFA665C30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1B415F-A452-44AB-A074-A7A2C16B215C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58294212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사용자 지정 레이아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92E46542-DE1D-A1CA-96FB-B1A705A605E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날짜 개체 틀 2">
            <a:extLst>
              <a:ext uri="{FF2B5EF4-FFF2-40B4-BE49-F238E27FC236}">
                <a16:creationId xmlns:a16="http://schemas.microsoft.com/office/drawing/2014/main" id="{1190968A-48F0-1213-3957-2C366269187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92138A8-5786-4613-B817-CBB926F6B8F9}" type="datetimeFigureOut">
              <a:rPr lang="ko-KR" altLang="en-US" smtClean="0"/>
              <a:t>2023-06-22</a:t>
            </a:fld>
            <a:endParaRPr lang="ko-KR" altLang="en-US"/>
          </a:p>
        </p:txBody>
      </p:sp>
      <p:sp>
        <p:nvSpPr>
          <p:cNvPr id="4" name="바닥글 개체 틀 3">
            <a:extLst>
              <a:ext uri="{FF2B5EF4-FFF2-40B4-BE49-F238E27FC236}">
                <a16:creationId xmlns:a16="http://schemas.microsoft.com/office/drawing/2014/main" id="{3056DA3D-0125-10AD-7812-096A012A5A5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5" name="슬라이드 번호 개체 틀 4">
            <a:extLst>
              <a:ext uri="{FF2B5EF4-FFF2-40B4-BE49-F238E27FC236}">
                <a16:creationId xmlns:a16="http://schemas.microsoft.com/office/drawing/2014/main" id="{98DE3E4B-AC04-7656-9A6D-1E5DB9FD74D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1B415F-A452-44AB-A074-A7A2C16B215C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62584384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사용자 지정 레이아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511F6C0F-F6D5-45A0-D2A3-544B51A48E0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날짜 개체 틀 2">
            <a:extLst>
              <a:ext uri="{FF2B5EF4-FFF2-40B4-BE49-F238E27FC236}">
                <a16:creationId xmlns:a16="http://schemas.microsoft.com/office/drawing/2014/main" id="{077BF018-FB23-BAB9-6D59-1C969A8139F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92138A8-5786-4613-B817-CBB926F6B8F9}" type="datetimeFigureOut">
              <a:rPr lang="ko-KR" altLang="en-US" smtClean="0"/>
              <a:t>2023-06-22</a:t>
            </a:fld>
            <a:endParaRPr lang="ko-KR" altLang="en-US"/>
          </a:p>
        </p:txBody>
      </p:sp>
      <p:sp>
        <p:nvSpPr>
          <p:cNvPr id="4" name="바닥글 개체 틀 3">
            <a:extLst>
              <a:ext uri="{FF2B5EF4-FFF2-40B4-BE49-F238E27FC236}">
                <a16:creationId xmlns:a16="http://schemas.microsoft.com/office/drawing/2014/main" id="{70E8F184-AB19-7D1D-B478-3FEC4D390D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5" name="슬라이드 번호 개체 틀 4">
            <a:extLst>
              <a:ext uri="{FF2B5EF4-FFF2-40B4-BE49-F238E27FC236}">
                <a16:creationId xmlns:a16="http://schemas.microsoft.com/office/drawing/2014/main" id="{7F9935AA-C300-DB57-F1CA-3EDC0B583CC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1B415F-A452-44AB-A074-A7A2C16B215C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70348984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7982065A-2794-DFC6-A6DB-52FEDA36A03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부제목 2">
            <a:extLst>
              <a:ext uri="{FF2B5EF4-FFF2-40B4-BE49-F238E27FC236}">
                <a16:creationId xmlns:a16="http://schemas.microsoft.com/office/drawing/2014/main" id="{590E1917-D392-019F-67AF-81E0E622036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ko-KR" altLang="en-US"/>
              <a:t>클릭하여 마스터 부제목 스타일 편집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50BCA211-FB3C-298F-C10B-66A0FD00F0A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1F89A4-3244-4CAA-A379-C361998B85F6}" type="datetimeFigureOut">
              <a:rPr lang="ko-KR" altLang="en-US" smtClean="0"/>
              <a:t>2023-06-22</a:t>
            </a:fld>
            <a:endParaRPr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C9656C38-A01C-ADC7-8249-9FA386BAFDF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88425F7C-5BB3-C379-516D-E0B102942E3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DFCBC7-B42B-4BC1-8667-957593CE6D65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51426278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54D63D64-9CEB-87E2-FFEE-AA62352C98A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내용 개체 틀 2">
            <a:extLst>
              <a:ext uri="{FF2B5EF4-FFF2-40B4-BE49-F238E27FC236}">
                <a16:creationId xmlns:a16="http://schemas.microsoft.com/office/drawing/2014/main" id="{95D6131C-FEBC-E5C6-E7EE-B3F6A4430EB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5B6D4FE0-8C86-192B-C8B5-1B8BFCB9600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1F89A4-3244-4CAA-A379-C361998B85F6}" type="datetimeFigureOut">
              <a:rPr lang="ko-KR" altLang="en-US" smtClean="0"/>
              <a:t>2023-06-22</a:t>
            </a:fld>
            <a:endParaRPr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9F6DC9E9-F6A3-36E1-079C-078752096D3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131221E6-61E5-226C-2212-F2BF9C70401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DFCBC7-B42B-4BC1-8667-957593CE6D65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05061253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구역 머리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6E6B0098-9062-6A9B-2FC1-CFD06045784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텍스트 개체 틀 2">
            <a:extLst>
              <a:ext uri="{FF2B5EF4-FFF2-40B4-BE49-F238E27FC236}">
                <a16:creationId xmlns:a16="http://schemas.microsoft.com/office/drawing/2014/main" id="{52C700E7-8458-ED90-0A0E-77ABF9D8A64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AD4386B0-656F-6D59-3C65-64499E0AE19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1F89A4-3244-4CAA-A379-C361998B85F6}" type="datetimeFigureOut">
              <a:rPr lang="ko-KR" altLang="en-US" smtClean="0"/>
              <a:t>2023-06-22</a:t>
            </a:fld>
            <a:endParaRPr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9F72CAD8-A6FC-021C-42E3-EDF5988D92F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B36D6235-9B76-6580-991C-D31A6F2377F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DFCBC7-B42B-4BC1-8667-957593CE6D65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08051557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ko-KR" altLang="en-US"/>
              <a:t>마스터 텍스트 스타일 편집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>
          <a:xfrm>
            <a:off x="838200" y="6492875"/>
            <a:ext cx="1752600" cy="228600"/>
          </a:xfrm>
        </p:spPr>
        <p:txBody>
          <a:bodyPr/>
          <a:lstStyle/>
          <a:p>
            <a:r>
              <a:rPr lang="en-US" altLang="ko-KR" dirty="0"/>
              <a:t>2023-06-01 </a:t>
            </a:r>
            <a:r>
              <a:rPr lang="ko-KR" altLang="en-US" dirty="0"/>
              <a:t>김익성</a:t>
            </a:r>
            <a:r>
              <a:rPr lang="en-US" altLang="ko-KR" dirty="0"/>
              <a:t> </a:t>
            </a:r>
            <a:endParaRPr lang="ko-KR" altLang="en-US" dirty="0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1B415F-A452-44AB-A074-A7A2C16B215C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85359654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콘텐츠 2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02032C87-980C-A66B-671D-59B05932188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내용 개체 틀 2">
            <a:extLst>
              <a:ext uri="{FF2B5EF4-FFF2-40B4-BE49-F238E27FC236}">
                <a16:creationId xmlns:a16="http://schemas.microsoft.com/office/drawing/2014/main" id="{76BDE9C7-1126-1FF2-1160-CAF5BC757E8C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4" name="내용 개체 틀 3">
            <a:extLst>
              <a:ext uri="{FF2B5EF4-FFF2-40B4-BE49-F238E27FC236}">
                <a16:creationId xmlns:a16="http://schemas.microsoft.com/office/drawing/2014/main" id="{79A04FA9-8144-39A2-8EE6-897E5623004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5" name="날짜 개체 틀 4">
            <a:extLst>
              <a:ext uri="{FF2B5EF4-FFF2-40B4-BE49-F238E27FC236}">
                <a16:creationId xmlns:a16="http://schemas.microsoft.com/office/drawing/2014/main" id="{DB8C6CD6-0FFC-6936-FE35-325E79C4E5D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1F89A4-3244-4CAA-A379-C361998B85F6}" type="datetimeFigureOut">
              <a:rPr lang="ko-KR" altLang="en-US" smtClean="0"/>
              <a:t>2023-06-22</a:t>
            </a:fld>
            <a:endParaRPr lang="ko-KR" altLang="en-US"/>
          </a:p>
        </p:txBody>
      </p:sp>
      <p:sp>
        <p:nvSpPr>
          <p:cNvPr id="6" name="바닥글 개체 틀 5">
            <a:extLst>
              <a:ext uri="{FF2B5EF4-FFF2-40B4-BE49-F238E27FC236}">
                <a16:creationId xmlns:a16="http://schemas.microsoft.com/office/drawing/2014/main" id="{91A18343-209D-59DA-B7B4-C9B1DD4E64D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슬라이드 번호 개체 틀 6">
            <a:extLst>
              <a:ext uri="{FF2B5EF4-FFF2-40B4-BE49-F238E27FC236}">
                <a16:creationId xmlns:a16="http://schemas.microsoft.com/office/drawing/2014/main" id="{E8972B66-CCA6-506F-D852-DC7EEC24E0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DFCBC7-B42B-4BC1-8667-957593CE6D65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605032485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비교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F7CE1396-7351-DA7E-AA77-8683D65A6A9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텍스트 개체 틀 2">
            <a:extLst>
              <a:ext uri="{FF2B5EF4-FFF2-40B4-BE49-F238E27FC236}">
                <a16:creationId xmlns:a16="http://schemas.microsoft.com/office/drawing/2014/main" id="{2FAF48C3-B597-61A6-D0A1-19D351D819F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</p:txBody>
      </p:sp>
      <p:sp>
        <p:nvSpPr>
          <p:cNvPr id="4" name="내용 개체 틀 3">
            <a:extLst>
              <a:ext uri="{FF2B5EF4-FFF2-40B4-BE49-F238E27FC236}">
                <a16:creationId xmlns:a16="http://schemas.microsoft.com/office/drawing/2014/main" id="{043C40BC-7F96-9C46-27BD-50E40EFD0F2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5" name="텍스트 개체 틀 4">
            <a:extLst>
              <a:ext uri="{FF2B5EF4-FFF2-40B4-BE49-F238E27FC236}">
                <a16:creationId xmlns:a16="http://schemas.microsoft.com/office/drawing/2014/main" id="{621E4679-D52D-7292-F14A-061388786FD0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</p:txBody>
      </p:sp>
      <p:sp>
        <p:nvSpPr>
          <p:cNvPr id="6" name="내용 개체 틀 5">
            <a:extLst>
              <a:ext uri="{FF2B5EF4-FFF2-40B4-BE49-F238E27FC236}">
                <a16:creationId xmlns:a16="http://schemas.microsoft.com/office/drawing/2014/main" id="{3A028ECA-7909-43EA-7A31-CD5FC473C875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7" name="날짜 개체 틀 6">
            <a:extLst>
              <a:ext uri="{FF2B5EF4-FFF2-40B4-BE49-F238E27FC236}">
                <a16:creationId xmlns:a16="http://schemas.microsoft.com/office/drawing/2014/main" id="{DBE89DC4-13B0-2F1C-DD23-8248CD20BF2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1F89A4-3244-4CAA-A379-C361998B85F6}" type="datetimeFigureOut">
              <a:rPr lang="ko-KR" altLang="en-US" smtClean="0"/>
              <a:t>2023-06-22</a:t>
            </a:fld>
            <a:endParaRPr lang="ko-KR" altLang="en-US"/>
          </a:p>
        </p:txBody>
      </p:sp>
      <p:sp>
        <p:nvSpPr>
          <p:cNvPr id="8" name="바닥글 개체 틀 7">
            <a:extLst>
              <a:ext uri="{FF2B5EF4-FFF2-40B4-BE49-F238E27FC236}">
                <a16:creationId xmlns:a16="http://schemas.microsoft.com/office/drawing/2014/main" id="{BA3DDC8F-B6B0-D342-53F7-9110E77D748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9" name="슬라이드 번호 개체 틀 8">
            <a:extLst>
              <a:ext uri="{FF2B5EF4-FFF2-40B4-BE49-F238E27FC236}">
                <a16:creationId xmlns:a16="http://schemas.microsoft.com/office/drawing/2014/main" id="{59F2F653-ED63-2DC6-AAE6-CD31F1A9ED5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DFCBC7-B42B-4BC1-8667-957593CE6D65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67783462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제목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D3D07DD5-7FA6-50B6-793F-C83D8B01D1E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날짜 개체 틀 2">
            <a:extLst>
              <a:ext uri="{FF2B5EF4-FFF2-40B4-BE49-F238E27FC236}">
                <a16:creationId xmlns:a16="http://schemas.microsoft.com/office/drawing/2014/main" id="{A447FF99-ABB3-7840-F6D1-A00BDC4CF29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1F89A4-3244-4CAA-A379-C361998B85F6}" type="datetimeFigureOut">
              <a:rPr lang="ko-KR" altLang="en-US" smtClean="0"/>
              <a:t>2023-06-22</a:t>
            </a:fld>
            <a:endParaRPr lang="ko-KR" altLang="en-US"/>
          </a:p>
        </p:txBody>
      </p:sp>
      <p:sp>
        <p:nvSpPr>
          <p:cNvPr id="4" name="바닥글 개체 틀 3">
            <a:extLst>
              <a:ext uri="{FF2B5EF4-FFF2-40B4-BE49-F238E27FC236}">
                <a16:creationId xmlns:a16="http://schemas.microsoft.com/office/drawing/2014/main" id="{E075096D-F62B-B737-B484-9850AA0684F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5" name="슬라이드 번호 개체 틀 4">
            <a:extLst>
              <a:ext uri="{FF2B5EF4-FFF2-40B4-BE49-F238E27FC236}">
                <a16:creationId xmlns:a16="http://schemas.microsoft.com/office/drawing/2014/main" id="{27A24A7C-5F0C-FD48-B858-1F44AEE708C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DFCBC7-B42B-4BC1-8667-957593CE6D65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919881777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날짜 개체 틀 1">
            <a:extLst>
              <a:ext uri="{FF2B5EF4-FFF2-40B4-BE49-F238E27FC236}">
                <a16:creationId xmlns:a16="http://schemas.microsoft.com/office/drawing/2014/main" id="{652D6767-D491-5A36-C7FD-EBD51671A9F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1F89A4-3244-4CAA-A379-C361998B85F6}" type="datetimeFigureOut">
              <a:rPr lang="ko-KR" altLang="en-US" smtClean="0"/>
              <a:t>2023-06-22</a:t>
            </a:fld>
            <a:endParaRPr lang="ko-KR" altLang="en-US"/>
          </a:p>
        </p:txBody>
      </p:sp>
      <p:sp>
        <p:nvSpPr>
          <p:cNvPr id="3" name="바닥글 개체 틀 2">
            <a:extLst>
              <a:ext uri="{FF2B5EF4-FFF2-40B4-BE49-F238E27FC236}">
                <a16:creationId xmlns:a16="http://schemas.microsoft.com/office/drawing/2014/main" id="{6A69A3FD-6058-7382-8EA9-F3571758866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CED6A5FC-4B24-CACA-59D0-00DA01CB109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DFCBC7-B42B-4BC1-8667-957593CE6D65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094533670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캡션 있는 콘텐츠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F993CADB-0979-7B84-E5B7-64E0E2A0D17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내용 개체 틀 2">
            <a:extLst>
              <a:ext uri="{FF2B5EF4-FFF2-40B4-BE49-F238E27FC236}">
                <a16:creationId xmlns:a16="http://schemas.microsoft.com/office/drawing/2014/main" id="{C1A21315-AE6C-2C34-DC65-16B46A52F02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4" name="텍스트 개체 틀 3">
            <a:extLst>
              <a:ext uri="{FF2B5EF4-FFF2-40B4-BE49-F238E27FC236}">
                <a16:creationId xmlns:a16="http://schemas.microsoft.com/office/drawing/2014/main" id="{2639CF3C-4359-5B49-1B7B-EE9EF7B8552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</p:txBody>
      </p:sp>
      <p:sp>
        <p:nvSpPr>
          <p:cNvPr id="5" name="날짜 개체 틀 4">
            <a:extLst>
              <a:ext uri="{FF2B5EF4-FFF2-40B4-BE49-F238E27FC236}">
                <a16:creationId xmlns:a16="http://schemas.microsoft.com/office/drawing/2014/main" id="{57A04E8B-944F-384A-FE50-E4C4B24832A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1F89A4-3244-4CAA-A379-C361998B85F6}" type="datetimeFigureOut">
              <a:rPr lang="ko-KR" altLang="en-US" smtClean="0"/>
              <a:t>2023-06-22</a:t>
            </a:fld>
            <a:endParaRPr lang="ko-KR" altLang="en-US"/>
          </a:p>
        </p:txBody>
      </p:sp>
      <p:sp>
        <p:nvSpPr>
          <p:cNvPr id="6" name="바닥글 개체 틀 5">
            <a:extLst>
              <a:ext uri="{FF2B5EF4-FFF2-40B4-BE49-F238E27FC236}">
                <a16:creationId xmlns:a16="http://schemas.microsoft.com/office/drawing/2014/main" id="{C7EB42AD-48DB-CBDD-7CFF-28FDF77550E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슬라이드 번호 개체 틀 6">
            <a:extLst>
              <a:ext uri="{FF2B5EF4-FFF2-40B4-BE49-F238E27FC236}">
                <a16:creationId xmlns:a16="http://schemas.microsoft.com/office/drawing/2014/main" id="{058A3C34-BE0E-572D-2F62-64B11E9AF87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DFCBC7-B42B-4BC1-8667-957593CE6D65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520426532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캡션 있는 그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03BD9334-600A-2C0B-C997-3D4F23632E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그림 개체 틀 2">
            <a:extLst>
              <a:ext uri="{FF2B5EF4-FFF2-40B4-BE49-F238E27FC236}">
                <a16:creationId xmlns:a16="http://schemas.microsoft.com/office/drawing/2014/main" id="{AA0497A9-65BA-57E3-7181-992DF12D7330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ko-KR" altLang="en-US"/>
          </a:p>
        </p:txBody>
      </p:sp>
      <p:sp>
        <p:nvSpPr>
          <p:cNvPr id="4" name="텍스트 개체 틀 3">
            <a:extLst>
              <a:ext uri="{FF2B5EF4-FFF2-40B4-BE49-F238E27FC236}">
                <a16:creationId xmlns:a16="http://schemas.microsoft.com/office/drawing/2014/main" id="{D7201715-53B6-5F9E-3DA4-70AFD490CBE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</p:txBody>
      </p:sp>
      <p:sp>
        <p:nvSpPr>
          <p:cNvPr id="5" name="날짜 개체 틀 4">
            <a:extLst>
              <a:ext uri="{FF2B5EF4-FFF2-40B4-BE49-F238E27FC236}">
                <a16:creationId xmlns:a16="http://schemas.microsoft.com/office/drawing/2014/main" id="{B3E67AF2-5201-55C5-E866-C243E05FE61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1F89A4-3244-4CAA-A379-C361998B85F6}" type="datetimeFigureOut">
              <a:rPr lang="ko-KR" altLang="en-US" smtClean="0"/>
              <a:t>2023-06-22</a:t>
            </a:fld>
            <a:endParaRPr lang="ko-KR" altLang="en-US"/>
          </a:p>
        </p:txBody>
      </p:sp>
      <p:sp>
        <p:nvSpPr>
          <p:cNvPr id="6" name="바닥글 개체 틀 5">
            <a:extLst>
              <a:ext uri="{FF2B5EF4-FFF2-40B4-BE49-F238E27FC236}">
                <a16:creationId xmlns:a16="http://schemas.microsoft.com/office/drawing/2014/main" id="{734DEFDB-88F5-829F-56BD-5A2F29D8382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슬라이드 번호 개체 틀 6">
            <a:extLst>
              <a:ext uri="{FF2B5EF4-FFF2-40B4-BE49-F238E27FC236}">
                <a16:creationId xmlns:a16="http://schemas.microsoft.com/office/drawing/2014/main" id="{EC2EFBA0-7F70-9D51-909A-BFA2AF4C32E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DFCBC7-B42B-4BC1-8667-957593CE6D65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06929317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제목 및 세로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1BBA3256-3416-DF56-B0AD-9161C8F7181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세로 텍스트 개체 틀 2">
            <a:extLst>
              <a:ext uri="{FF2B5EF4-FFF2-40B4-BE49-F238E27FC236}">
                <a16:creationId xmlns:a16="http://schemas.microsoft.com/office/drawing/2014/main" id="{680A43CA-F3E3-9E68-28B1-3D4DF73F721B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756BD672-2F16-5BAE-67D7-DE3E7245384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1F89A4-3244-4CAA-A379-C361998B85F6}" type="datetimeFigureOut">
              <a:rPr lang="ko-KR" altLang="en-US" smtClean="0"/>
              <a:t>2023-06-22</a:t>
            </a:fld>
            <a:endParaRPr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9BF173F6-6CF7-3A70-007D-59A90EA3770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77DCFE41-5D3A-D8E3-9595-184D191984E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DFCBC7-B42B-4BC1-8667-957593CE6D65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023947154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세로 제목 및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세로 제목 1">
            <a:extLst>
              <a:ext uri="{FF2B5EF4-FFF2-40B4-BE49-F238E27FC236}">
                <a16:creationId xmlns:a16="http://schemas.microsoft.com/office/drawing/2014/main" id="{94FDF81A-4706-1EF6-F472-8310E380B1CA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세로 텍스트 개체 틀 2">
            <a:extLst>
              <a:ext uri="{FF2B5EF4-FFF2-40B4-BE49-F238E27FC236}">
                <a16:creationId xmlns:a16="http://schemas.microsoft.com/office/drawing/2014/main" id="{1342C5B4-2916-6C85-06BA-0DD8D5CFCF7E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D6900673-A90E-144D-467C-D7ABE949D07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1F89A4-3244-4CAA-A379-C361998B85F6}" type="datetimeFigureOut">
              <a:rPr lang="ko-KR" altLang="en-US" smtClean="0"/>
              <a:t>2023-06-22</a:t>
            </a:fld>
            <a:endParaRPr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3E7978DE-C7FA-0299-3A38-04BC43FD908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C2FC2234-89DB-127F-815C-7A40E771351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DFCBC7-B42B-4BC1-8667-957593CE6D65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87461232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구역 머리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ko-KR" altLang="en-US"/>
              <a:t>마스터 텍스트 스타일 편집</a:t>
            </a:r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92138A8-5786-4613-B817-CBB926F6B8F9}" type="datetimeFigureOut">
              <a:rPr lang="ko-KR" altLang="en-US" smtClean="0"/>
              <a:t>2023-06-22</a:t>
            </a:fld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1B415F-A452-44AB-A074-A7A2C16B215C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77268184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콘텐츠 2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내용 개체 틀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ko-KR" altLang="en-US"/>
              <a:t>마스터 텍스트 스타일 편집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4" name="내용 개체 틀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ko-KR" altLang="en-US"/>
              <a:t>마스터 텍스트 스타일 편집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5" name="날짜 개체 틀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92138A8-5786-4613-B817-CBB926F6B8F9}" type="datetimeFigureOut">
              <a:rPr lang="ko-KR" altLang="en-US" smtClean="0"/>
              <a:t>2023-06-22</a:t>
            </a:fld>
            <a:endParaRPr lang="ko-KR" altLang="en-US"/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1B415F-A452-44AB-A074-A7A2C16B215C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37430103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비교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/>
              <a:t>마스터 텍스트 스타일 편집</a:t>
            </a:r>
          </a:p>
        </p:txBody>
      </p:sp>
      <p:sp>
        <p:nvSpPr>
          <p:cNvPr id="4" name="내용 개체 틀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ko-KR" altLang="en-US"/>
              <a:t>마스터 텍스트 스타일 편집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5" name="텍스트 개체 틀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/>
              <a:t>마스터 텍스트 스타일 편집</a:t>
            </a:r>
          </a:p>
        </p:txBody>
      </p:sp>
      <p:sp>
        <p:nvSpPr>
          <p:cNvPr id="6" name="내용 개체 틀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ko-KR" altLang="en-US"/>
              <a:t>마스터 텍스트 스타일 편집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7" name="날짜 개체 틀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92138A8-5786-4613-B817-CBB926F6B8F9}" type="datetimeFigureOut">
              <a:rPr lang="ko-KR" altLang="en-US" smtClean="0"/>
              <a:t>2023-06-22</a:t>
            </a:fld>
            <a:endParaRPr lang="ko-KR" altLang="en-US"/>
          </a:p>
        </p:txBody>
      </p:sp>
      <p:sp>
        <p:nvSpPr>
          <p:cNvPr id="8" name="바닥글 개체 틀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9" name="슬라이드 번호 개체 틀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1B415F-A452-44AB-A074-A7A2C16B215C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69390738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제목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날짜 개체 틀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92138A8-5786-4613-B817-CBB926F6B8F9}" type="datetimeFigureOut">
              <a:rPr lang="ko-KR" altLang="en-US" smtClean="0"/>
              <a:t>2023-06-22</a:t>
            </a:fld>
            <a:endParaRPr lang="ko-KR" altLang="en-US"/>
          </a:p>
        </p:txBody>
      </p:sp>
      <p:sp>
        <p:nvSpPr>
          <p:cNvPr id="4" name="바닥글 개체 틀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5" name="슬라이드 번호 개체 틀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1B415F-A452-44AB-A074-A7A2C16B215C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51770231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날짜 개체 틀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92138A8-5786-4613-B817-CBB926F6B8F9}" type="datetimeFigureOut">
              <a:rPr lang="ko-KR" altLang="en-US" smtClean="0"/>
              <a:t>2023-06-22</a:t>
            </a:fld>
            <a:endParaRPr lang="ko-KR" altLang="en-US"/>
          </a:p>
        </p:txBody>
      </p:sp>
      <p:sp>
        <p:nvSpPr>
          <p:cNvPr id="3" name="바닥글 개체 틀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1B415F-A452-44AB-A074-A7A2C16B215C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47678927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캡션 있는 콘텐츠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ko-KR" altLang="en-US"/>
              <a:t>마스터 텍스트 스타일 편집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4" name="텍스트 개체 틀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ko-KR" altLang="en-US"/>
              <a:t>마스터 텍스트 스타일 편집</a:t>
            </a:r>
          </a:p>
        </p:txBody>
      </p:sp>
      <p:sp>
        <p:nvSpPr>
          <p:cNvPr id="5" name="날짜 개체 틀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92138A8-5786-4613-B817-CBB926F6B8F9}" type="datetimeFigureOut">
              <a:rPr lang="ko-KR" altLang="en-US" smtClean="0"/>
              <a:t>2023-06-22</a:t>
            </a:fld>
            <a:endParaRPr lang="ko-KR" altLang="en-US"/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1B415F-A452-44AB-A074-A7A2C16B215C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92393898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캡션 있는 그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그림 개체 틀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ko-KR" altLang="en-US"/>
          </a:p>
        </p:txBody>
      </p:sp>
      <p:sp>
        <p:nvSpPr>
          <p:cNvPr id="4" name="텍스트 개체 틀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ko-KR" altLang="en-US"/>
              <a:t>마스터 텍스트 스타일 편집</a:t>
            </a:r>
          </a:p>
        </p:txBody>
      </p:sp>
      <p:sp>
        <p:nvSpPr>
          <p:cNvPr id="5" name="날짜 개체 틀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92138A8-5786-4613-B817-CBB926F6B8F9}" type="datetimeFigureOut">
              <a:rPr lang="ko-KR" altLang="en-US" smtClean="0"/>
              <a:t>2023-06-22</a:t>
            </a:fld>
            <a:endParaRPr lang="ko-KR" altLang="en-US"/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1B415F-A452-44AB-A074-A7A2C16B215C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20736534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4.xml"/><Relationship Id="rId3" Type="http://schemas.openxmlformats.org/officeDocument/2006/relationships/slideLayout" Target="../slideLayouts/slideLayout19.xml"/><Relationship Id="rId7" Type="http://schemas.openxmlformats.org/officeDocument/2006/relationships/slideLayout" Target="../slideLayouts/slideLayout23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8.xml"/><Relationship Id="rId1" Type="http://schemas.openxmlformats.org/officeDocument/2006/relationships/slideLayout" Target="../slideLayouts/slideLayout17.xml"/><Relationship Id="rId6" Type="http://schemas.openxmlformats.org/officeDocument/2006/relationships/slideLayout" Target="../slideLayouts/slideLayout22.xml"/><Relationship Id="rId11" Type="http://schemas.openxmlformats.org/officeDocument/2006/relationships/slideLayout" Target="../slideLayouts/slideLayout27.xml"/><Relationship Id="rId5" Type="http://schemas.openxmlformats.org/officeDocument/2006/relationships/slideLayout" Target="../slideLayouts/slideLayout21.xml"/><Relationship Id="rId10" Type="http://schemas.openxmlformats.org/officeDocument/2006/relationships/slideLayout" Target="../slideLayouts/slideLayout26.xml"/><Relationship Id="rId4" Type="http://schemas.openxmlformats.org/officeDocument/2006/relationships/slideLayout" Target="../slideLayouts/slideLayout20.xml"/><Relationship Id="rId9" Type="http://schemas.openxmlformats.org/officeDocument/2006/relationships/slideLayout" Target="../slideLayouts/slideLayout2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개체 틀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ko-KR" altLang="en-US"/>
              <a:t>마스터 텍스트 스타일 편집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92138A8-5786-4613-B817-CBB926F6B8F9}" type="datetimeFigureOut">
              <a:rPr lang="ko-KR" altLang="en-US" smtClean="0"/>
              <a:t>2023-06-22</a:t>
            </a:fld>
            <a:endParaRPr lang="ko-KR" altLang="en-US" dirty="0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91B415F-A452-44AB-A074-A7A2C16B215C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92972277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4" r:id="rId13"/>
    <p:sldLayoutId id="2147483681" r:id="rId14"/>
    <p:sldLayoutId id="2147483682" r:id="rId15"/>
    <p:sldLayoutId id="2147483683" r:id="rId16"/>
  </p:sldLayoutIdLst>
  <p:txStyles>
    <p:titleStyle>
      <a:lvl1pPr algn="l" defTabSz="914400" rtl="0" eaLnBrk="1" latinLnBrk="1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1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개체 틀 1">
            <a:extLst>
              <a:ext uri="{FF2B5EF4-FFF2-40B4-BE49-F238E27FC236}">
                <a16:creationId xmlns:a16="http://schemas.microsoft.com/office/drawing/2014/main" id="{B1A244AB-DB22-0D03-EF26-45BC57CFEA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텍스트 개체 틀 2">
            <a:extLst>
              <a:ext uri="{FF2B5EF4-FFF2-40B4-BE49-F238E27FC236}">
                <a16:creationId xmlns:a16="http://schemas.microsoft.com/office/drawing/2014/main" id="{87756831-6E12-59EF-136F-8D5EE5AF770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C3920867-F660-6902-611A-691C72D556C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B1F89A4-3244-4CAA-A379-C361998B85F6}" type="datetimeFigureOut">
              <a:rPr lang="ko-KR" altLang="en-US" smtClean="0"/>
              <a:t>2023-06-22</a:t>
            </a:fld>
            <a:endParaRPr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D562906B-5D5F-B107-A1B0-AC8677033CD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ko-KR" alt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1A6544CC-1CD7-0B13-A97D-3946787616D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3DFCBC7-B42B-4BC1-8667-957593CE6D65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422216171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5" r:id="rId1"/>
    <p:sldLayoutId id="2147483686" r:id="rId2"/>
    <p:sldLayoutId id="2147483687" r:id="rId3"/>
    <p:sldLayoutId id="2147483688" r:id="rId4"/>
    <p:sldLayoutId id="2147483689" r:id="rId5"/>
    <p:sldLayoutId id="2147483690" r:id="rId6"/>
    <p:sldLayoutId id="2147483691" r:id="rId7"/>
    <p:sldLayoutId id="2147483692" r:id="rId8"/>
    <p:sldLayoutId id="2147483693" r:id="rId9"/>
    <p:sldLayoutId id="2147483694" r:id="rId10"/>
    <p:sldLayoutId id="2147483695" r:id="rId11"/>
  </p:sldLayoutIdLst>
  <p:txStyles>
    <p:titleStyle>
      <a:lvl1pPr algn="l" defTabSz="914400" rtl="0" eaLnBrk="1" latinLnBrk="1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1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13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5.xml"/><Relationship Id="rId3" Type="http://schemas.openxmlformats.org/officeDocument/2006/relationships/slideLayout" Target="../slideLayouts/slideLayout12.xml"/><Relationship Id="rId7" Type="http://schemas.openxmlformats.org/officeDocument/2006/relationships/diagramData" Target="../diagrams/data5.xml"/><Relationship Id="rId12" Type="http://schemas.openxmlformats.org/officeDocument/2006/relationships/image" Target="../media/image7.png"/><Relationship Id="rId2" Type="http://schemas.openxmlformats.org/officeDocument/2006/relationships/tags" Target="../tags/tag11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3.emf"/><Relationship Id="rId11" Type="http://schemas.microsoft.com/office/2007/relationships/diagramDrawing" Target="../diagrams/drawing5.xml"/><Relationship Id="rId5" Type="http://schemas.openxmlformats.org/officeDocument/2006/relationships/oleObject" Target="../embeddings/oleObject7.bin"/><Relationship Id="rId10" Type="http://schemas.openxmlformats.org/officeDocument/2006/relationships/diagramColors" Target="../diagrams/colors5.xml"/><Relationship Id="rId4" Type="http://schemas.openxmlformats.org/officeDocument/2006/relationships/notesSlide" Target="../notesSlides/notesSlide12.xml"/><Relationship Id="rId9" Type="http://schemas.openxmlformats.org/officeDocument/2006/relationships/diagramQuickStyle" Target="../diagrams/quickStyle5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6.xml"/><Relationship Id="rId3" Type="http://schemas.openxmlformats.org/officeDocument/2006/relationships/slideLayout" Target="../slideLayouts/slideLayout12.xml"/><Relationship Id="rId7" Type="http://schemas.openxmlformats.org/officeDocument/2006/relationships/diagramData" Target="../diagrams/data6.xml"/><Relationship Id="rId2" Type="http://schemas.openxmlformats.org/officeDocument/2006/relationships/tags" Target="../tags/tag12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3.emf"/><Relationship Id="rId11" Type="http://schemas.microsoft.com/office/2007/relationships/diagramDrawing" Target="../diagrams/drawing6.xml"/><Relationship Id="rId5" Type="http://schemas.openxmlformats.org/officeDocument/2006/relationships/oleObject" Target="../embeddings/oleObject8.bin"/><Relationship Id="rId10" Type="http://schemas.openxmlformats.org/officeDocument/2006/relationships/diagramColors" Target="../diagrams/colors6.xml"/><Relationship Id="rId4" Type="http://schemas.openxmlformats.org/officeDocument/2006/relationships/notesSlide" Target="../notesSlides/notesSlide13.xml"/><Relationship Id="rId9" Type="http://schemas.openxmlformats.org/officeDocument/2006/relationships/diagramQuickStyle" Target="../diagrams/quickStyle6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10.png"/><Relationship Id="rId2" Type="http://schemas.openxmlformats.org/officeDocument/2006/relationships/tags" Target="../tags/tag13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9.bin"/><Relationship Id="rId4" Type="http://schemas.openxmlformats.org/officeDocument/2006/relationships/notesSlide" Target="../notesSlides/notesSlide14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ciokorea.com/news/37023#csidx77c7764c88f502b9aaad5ab45e29be9" TargetMode="External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1.gif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gif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.xml"/><Relationship Id="rId4" Type="http://schemas.openxmlformats.org/officeDocument/2006/relationships/hyperlink" Target="https://www.ciokorea.com/news/37023#csidx064853071267fc398bba37eb4085558" TargetMode="Externa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7.xml"/><Relationship Id="rId7" Type="http://schemas.microsoft.com/office/2007/relationships/diagramDrawing" Target="../diagrams/drawing7.xml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7.xml"/><Relationship Id="rId5" Type="http://schemas.openxmlformats.org/officeDocument/2006/relationships/diagramQuickStyle" Target="../diagrams/quickStyle7.xml"/><Relationship Id="rId4" Type="http://schemas.openxmlformats.org/officeDocument/2006/relationships/diagramLayout" Target="../diagrams/layout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2.xml"/><Relationship Id="rId1" Type="http://schemas.openxmlformats.org/officeDocument/2006/relationships/vmlDrawing" Target="../drawings/vmlDrawing2.vml"/><Relationship Id="rId4" Type="http://schemas.openxmlformats.org/officeDocument/2006/relationships/oleObject" Target="../embeddings/oleObject2.bin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9.xml"/><Relationship Id="rId3" Type="http://schemas.openxmlformats.org/officeDocument/2006/relationships/diagramLayout" Target="../diagrams/layout8.xml"/><Relationship Id="rId7" Type="http://schemas.openxmlformats.org/officeDocument/2006/relationships/diagramData" Target="../diagrams/data9.xml"/><Relationship Id="rId2" Type="http://schemas.openxmlformats.org/officeDocument/2006/relationships/diagramData" Target="../diagrams/data8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8.xml"/><Relationship Id="rId11" Type="http://schemas.microsoft.com/office/2007/relationships/diagramDrawing" Target="../diagrams/drawing9.xml"/><Relationship Id="rId5" Type="http://schemas.openxmlformats.org/officeDocument/2006/relationships/diagramColors" Target="../diagrams/colors8.xml"/><Relationship Id="rId10" Type="http://schemas.openxmlformats.org/officeDocument/2006/relationships/diagramColors" Target="../diagrams/colors9.xml"/><Relationship Id="rId4" Type="http://schemas.openxmlformats.org/officeDocument/2006/relationships/diagramQuickStyle" Target="../diagrams/quickStyle8.xml"/><Relationship Id="rId9" Type="http://schemas.openxmlformats.org/officeDocument/2006/relationships/diagramQuickStyle" Target="../diagrams/quickStyle9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8" Type="http://schemas.microsoft.com/office/2007/relationships/diagramDrawing" Target="../diagrams/drawing10.xml"/><Relationship Id="rId3" Type="http://schemas.openxmlformats.org/officeDocument/2006/relationships/image" Target="../media/image11.gif"/><Relationship Id="rId7" Type="http://schemas.openxmlformats.org/officeDocument/2006/relationships/diagramColors" Target="../diagrams/colors10.xml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2.xml"/><Relationship Id="rId6" Type="http://schemas.openxmlformats.org/officeDocument/2006/relationships/diagramQuickStyle" Target="../diagrams/quickStyle10.xml"/><Relationship Id="rId5" Type="http://schemas.openxmlformats.org/officeDocument/2006/relationships/diagramLayout" Target="../diagrams/layout10.xml"/><Relationship Id="rId4" Type="http://schemas.openxmlformats.org/officeDocument/2006/relationships/diagramData" Target="../diagrams/data10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gif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1.xml"/><Relationship Id="rId7" Type="http://schemas.microsoft.com/office/2007/relationships/diagramDrawing" Target="../diagrams/drawing11.xml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11.xml"/><Relationship Id="rId5" Type="http://schemas.openxmlformats.org/officeDocument/2006/relationships/diagramQuickStyle" Target="../diagrams/quickStyle11.xml"/><Relationship Id="rId4" Type="http://schemas.openxmlformats.org/officeDocument/2006/relationships/diagramLayout" Target="../diagrams/layout11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8" Type="http://schemas.openxmlformats.org/officeDocument/2006/relationships/diagramData" Target="../diagrams/data13.xml"/><Relationship Id="rId3" Type="http://schemas.openxmlformats.org/officeDocument/2006/relationships/diagramData" Target="../diagrams/data12.xml"/><Relationship Id="rId7" Type="http://schemas.microsoft.com/office/2007/relationships/diagramDrawing" Target="../diagrams/drawing12.xml"/><Relationship Id="rId12" Type="http://schemas.microsoft.com/office/2007/relationships/diagramDrawing" Target="../diagrams/drawing13.xml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12.xml"/><Relationship Id="rId11" Type="http://schemas.openxmlformats.org/officeDocument/2006/relationships/diagramColors" Target="../diagrams/colors13.xml"/><Relationship Id="rId5" Type="http://schemas.openxmlformats.org/officeDocument/2006/relationships/diagramQuickStyle" Target="../diagrams/quickStyle12.xml"/><Relationship Id="rId10" Type="http://schemas.openxmlformats.org/officeDocument/2006/relationships/diagramQuickStyle" Target="../diagrams/quickStyle13.xml"/><Relationship Id="rId4" Type="http://schemas.openxmlformats.org/officeDocument/2006/relationships/diagramLayout" Target="../diagrams/layout12.xml"/><Relationship Id="rId9" Type="http://schemas.openxmlformats.org/officeDocument/2006/relationships/diagramLayout" Target="../diagrams/layout13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4.xml"/><Relationship Id="rId7" Type="http://schemas.microsoft.com/office/2007/relationships/diagramDrawing" Target="../diagrams/drawing14.xml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14.xml"/><Relationship Id="rId5" Type="http://schemas.openxmlformats.org/officeDocument/2006/relationships/diagramQuickStyle" Target="../diagrams/quickStyle14.xml"/><Relationship Id="rId4" Type="http://schemas.openxmlformats.org/officeDocument/2006/relationships/diagramLayout" Target="../diagrams/layout14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5.xml"/><Relationship Id="rId7" Type="http://schemas.microsoft.com/office/2007/relationships/diagramDrawing" Target="../diagrams/drawing15.xml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15.xml"/><Relationship Id="rId5" Type="http://schemas.openxmlformats.org/officeDocument/2006/relationships/diagramQuickStyle" Target="../diagrams/quickStyle15.xml"/><Relationship Id="rId4" Type="http://schemas.openxmlformats.org/officeDocument/2006/relationships/diagramLayout" Target="../diagrams/layout15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1.xml"/><Relationship Id="rId3" Type="http://schemas.openxmlformats.org/officeDocument/2006/relationships/slideLayout" Target="../slideLayouts/slideLayout12.xml"/><Relationship Id="rId7" Type="http://schemas.openxmlformats.org/officeDocument/2006/relationships/diagramData" Target="../diagrams/data1.xml"/><Relationship Id="rId2" Type="http://schemas.openxmlformats.org/officeDocument/2006/relationships/tags" Target="../tags/tag7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emf"/><Relationship Id="rId11" Type="http://schemas.microsoft.com/office/2007/relationships/diagramDrawing" Target="../diagrams/drawing1.xml"/><Relationship Id="rId5" Type="http://schemas.openxmlformats.org/officeDocument/2006/relationships/oleObject" Target="../embeddings/oleObject3.bin"/><Relationship Id="rId10" Type="http://schemas.openxmlformats.org/officeDocument/2006/relationships/diagramColors" Target="../diagrams/colors1.xml"/><Relationship Id="rId4" Type="http://schemas.openxmlformats.org/officeDocument/2006/relationships/notesSlide" Target="../notesSlides/notesSlide2.xml"/><Relationship Id="rId9" Type="http://schemas.openxmlformats.org/officeDocument/2006/relationships/diagramQuickStyle" Target="../diagrams/quickStyle1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6.xml"/><Relationship Id="rId7" Type="http://schemas.microsoft.com/office/2007/relationships/diagramDrawing" Target="../diagrams/drawing16.xml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16.xml"/><Relationship Id="rId5" Type="http://schemas.openxmlformats.org/officeDocument/2006/relationships/diagramQuickStyle" Target="../diagrams/quickStyle16.xml"/><Relationship Id="rId4" Type="http://schemas.openxmlformats.org/officeDocument/2006/relationships/diagramLayout" Target="../diagrams/layout16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7.xml"/><Relationship Id="rId7" Type="http://schemas.microsoft.com/office/2007/relationships/diagramDrawing" Target="../diagrams/drawing17.xml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17.xml"/><Relationship Id="rId5" Type="http://schemas.openxmlformats.org/officeDocument/2006/relationships/diagramQuickStyle" Target="../diagrams/quickStyle17.xml"/><Relationship Id="rId4" Type="http://schemas.openxmlformats.org/officeDocument/2006/relationships/diagramLayout" Target="../diagrams/layout17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8.xml"/><Relationship Id="rId7" Type="http://schemas.microsoft.com/office/2007/relationships/diagramDrawing" Target="../diagrams/drawing18.xml"/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18.xml"/><Relationship Id="rId5" Type="http://schemas.openxmlformats.org/officeDocument/2006/relationships/diagramQuickStyle" Target="../diagrams/quickStyle18.xml"/><Relationship Id="rId4" Type="http://schemas.openxmlformats.org/officeDocument/2006/relationships/diagramLayout" Target="../diagrams/layout18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9.xml"/><Relationship Id="rId7" Type="http://schemas.microsoft.com/office/2007/relationships/diagramDrawing" Target="../diagrams/drawing19.xml"/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19.xml"/><Relationship Id="rId5" Type="http://schemas.openxmlformats.org/officeDocument/2006/relationships/diagramQuickStyle" Target="../diagrams/quickStyle19.xml"/><Relationship Id="rId4" Type="http://schemas.openxmlformats.org/officeDocument/2006/relationships/diagramLayout" Target="../diagrams/layout19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2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2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20.xml"/><Relationship Id="rId7" Type="http://schemas.microsoft.com/office/2007/relationships/diagramDrawing" Target="../diagrams/drawing20.xml"/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20.xml"/><Relationship Id="rId5" Type="http://schemas.openxmlformats.org/officeDocument/2006/relationships/diagramQuickStyle" Target="../diagrams/quickStyle20.xml"/><Relationship Id="rId4" Type="http://schemas.openxmlformats.org/officeDocument/2006/relationships/diagramLayout" Target="../diagrams/layout20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21.xml"/><Relationship Id="rId7" Type="http://schemas.microsoft.com/office/2007/relationships/diagramDrawing" Target="../diagrams/drawing21.xml"/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21.xml"/><Relationship Id="rId5" Type="http://schemas.openxmlformats.org/officeDocument/2006/relationships/diagramQuickStyle" Target="../diagrams/quickStyle21.xml"/><Relationship Id="rId4" Type="http://schemas.openxmlformats.org/officeDocument/2006/relationships/diagramLayout" Target="../diagrams/layout21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22.xml"/><Relationship Id="rId7" Type="http://schemas.microsoft.com/office/2007/relationships/diagramDrawing" Target="../diagrams/drawing22.xml"/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22.xml"/><Relationship Id="rId5" Type="http://schemas.openxmlformats.org/officeDocument/2006/relationships/diagramQuickStyle" Target="../diagrams/quickStyle22.xml"/><Relationship Id="rId4" Type="http://schemas.openxmlformats.org/officeDocument/2006/relationships/diagramLayout" Target="../diagrams/layout22.xml"/></Relationships>
</file>

<file path=ppt/slides/_rels/slide39.xml.rels><?xml version="1.0" encoding="UTF-8" standalone="yes"?>
<Relationships xmlns="http://schemas.openxmlformats.org/package/2006/relationships"><Relationship Id="rId8" Type="http://schemas.openxmlformats.org/officeDocument/2006/relationships/hyperlink" Target="https://namu.wiki/w/%ED%94%84%EB%A1%9C%EA%B7%B8%EB%9E%A8" TargetMode="External"/><Relationship Id="rId3" Type="http://schemas.openxmlformats.org/officeDocument/2006/relationships/diagramData" Target="../diagrams/data23.xml"/><Relationship Id="rId7" Type="http://schemas.microsoft.com/office/2007/relationships/diagramDrawing" Target="../diagrams/drawing23.xml"/><Relationship Id="rId2" Type="http://schemas.openxmlformats.org/officeDocument/2006/relationships/notesSlide" Target="../notesSlides/notesSlide36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23.xml"/><Relationship Id="rId5" Type="http://schemas.openxmlformats.org/officeDocument/2006/relationships/diagramQuickStyle" Target="../diagrams/quickStyle23.xml"/><Relationship Id="rId4" Type="http://schemas.openxmlformats.org/officeDocument/2006/relationships/diagramLayout" Target="../diagrams/layout23.xml"/><Relationship Id="rId9" Type="http://schemas.openxmlformats.org/officeDocument/2006/relationships/hyperlink" Target="https://namu.wiki/w/%EB%AF%B8%EC%85%98" TargetMode="Externa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2.xml"/><Relationship Id="rId3" Type="http://schemas.openxmlformats.org/officeDocument/2006/relationships/slideLayout" Target="../slideLayouts/slideLayout12.xml"/><Relationship Id="rId7" Type="http://schemas.openxmlformats.org/officeDocument/2006/relationships/diagramData" Target="../diagrams/data2.xml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3.emf"/><Relationship Id="rId11" Type="http://schemas.microsoft.com/office/2007/relationships/diagramDrawing" Target="../diagrams/drawing2.xml"/><Relationship Id="rId5" Type="http://schemas.openxmlformats.org/officeDocument/2006/relationships/oleObject" Target="../embeddings/oleObject4.bin"/><Relationship Id="rId10" Type="http://schemas.openxmlformats.org/officeDocument/2006/relationships/diagramColors" Target="../diagrams/colors2.xml"/><Relationship Id="rId4" Type="http://schemas.openxmlformats.org/officeDocument/2006/relationships/notesSlide" Target="../notesSlides/notesSlide3.xml"/><Relationship Id="rId9" Type="http://schemas.openxmlformats.org/officeDocument/2006/relationships/diagramQuickStyle" Target="../diagrams/quickStyle2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24.xml"/><Relationship Id="rId7" Type="http://schemas.microsoft.com/office/2007/relationships/diagramDrawing" Target="../diagrams/drawing24.xml"/><Relationship Id="rId2" Type="http://schemas.openxmlformats.org/officeDocument/2006/relationships/notesSlide" Target="../notesSlides/notesSlide37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24.xml"/><Relationship Id="rId5" Type="http://schemas.openxmlformats.org/officeDocument/2006/relationships/diagramQuickStyle" Target="../diagrams/quickStyle24.xml"/><Relationship Id="rId4" Type="http://schemas.openxmlformats.org/officeDocument/2006/relationships/diagramLayout" Target="../diagrams/layout24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hyperlink" Target="https://academic.naver.com/article.naver?doc_id=927333077" TargetMode="External"/><Relationship Id="rId13" Type="http://schemas.openxmlformats.org/officeDocument/2006/relationships/hyperlink" Target="https://riss.kr/search/detail/DetailView.do?p_mat_type=3a11008f85f7c51d&amp;control_no=da3665fade0695c8ffe0bdc3ef48d419" TargetMode="External"/><Relationship Id="rId18" Type="http://schemas.openxmlformats.org/officeDocument/2006/relationships/hyperlink" Target="https://riss.kr/search/detail/DetailView.do?p_mat_type=3a11008f85f7c51d&amp;control_no=5c997dafdf7a78a3ffe0bdc3ef48d419" TargetMode="External"/><Relationship Id="rId26" Type="http://schemas.openxmlformats.org/officeDocument/2006/relationships/hyperlink" Target="https://riss.kr/search/detail/DetailView.do?p_mat_type=1a0202e37d52c72d&amp;control_no=fecb6316d136ffe647de9c1710b0298d&amp;keyword=" TargetMode="External"/><Relationship Id="rId3" Type="http://schemas.openxmlformats.org/officeDocument/2006/relationships/slideLayout" Target="../slideLayouts/slideLayout12.xml"/><Relationship Id="rId21" Type="http://schemas.openxmlformats.org/officeDocument/2006/relationships/hyperlink" Target="https://riss.kr/search/Search.do?isDetailSearch=Y&amp;searchGubun=true&amp;queryText=znPublisher,%EA%B3%BC%ED%95%99%EA%B8%B0%EC%88%A0%EC%A0%95%EC%B1%85%EC%97%B0%EA%B5%AC%EC%9B%90&amp;colName=re_a_kor" TargetMode="External"/><Relationship Id="rId7" Type="http://schemas.openxmlformats.org/officeDocument/2006/relationships/hyperlink" Target="https://www.bing.com/ck/a?!&amp;&amp;p=cfc2fe17d4786556JmltdHM9MTY4NTgzNjgwMCZpZ3VpZD0xYzNmNmNlZS0wM2MwLTY5NzgtMTE2NC02MjVlMDI4YjY4YjQmaW5zaWQ9NTAwOA&amp;ptn=3&amp;hsh=3&amp;fclid=1c3f6cee-03c0-6978-1164-625e028b68b4&amp;u=a1aHR0cHM6Ly9tLnRlY2hmb3J1bS5jby5rci9nb29kcy8yNTY1NQ&amp;ntb=1" TargetMode="External"/><Relationship Id="rId12" Type="http://schemas.openxmlformats.org/officeDocument/2006/relationships/hyperlink" Target="https://riss.kr/search/Search.do?isDetailSearch=Y&amp;searchGubun=true&amp;queryText=znPublisher,%EC%A4%91%EC%86%8C%EB%B2%A4%EC%B2%98%EA%B8%B0%EC%97%85%EC%97%B0%EA%B5%AC%EC%9B%90&amp;colName=re_a_kor" TargetMode="External"/><Relationship Id="rId17" Type="http://schemas.openxmlformats.org/officeDocument/2006/relationships/hyperlink" Target="https://riss.kr/search/Search.do?isDetailSearch=Y&amp;searchGubun=true&amp;queryText=znPublisher,%ED%95%9C%EA%B5%AD%ED%92%88%EC%A7%88%EA%B2%BD%EC%98%81%ED%95%99%ED%9A%8C&amp;colName=re_a_kor" TargetMode="External"/><Relationship Id="rId25" Type="http://schemas.openxmlformats.org/officeDocument/2006/relationships/hyperlink" Target="https://academic.naver.com/article.naver?doc_id=949575203" TargetMode="External"/><Relationship Id="rId2" Type="http://schemas.openxmlformats.org/officeDocument/2006/relationships/tags" Target="../tags/tag9.xml"/><Relationship Id="rId16" Type="http://schemas.openxmlformats.org/officeDocument/2006/relationships/hyperlink" Target="https://riss.kr/search/Search.do?isDetailSearch=Y&amp;searchGubun=true&amp;queryText=znCreator,%EA%B9%80%EC%9D%BC%EC%A4%91&amp;colName=re_a_kor" TargetMode="External"/><Relationship Id="rId20" Type="http://schemas.openxmlformats.org/officeDocument/2006/relationships/hyperlink" Target="https://riss.kr/search/detail/DetailView.do?p_mat_type=1a0202e37d52c72d&amp;control_no=e309de41a40f44b07ecd42904f0c5d65&amp;keyword=%EC%A4%91%EC%86%8C%EA%B8%B0%EC%97%85%EC%9D%98%20%EC%9D%B8%EA%B3%B5%EC%A7%80%EB%8A%A5%20%ED%99%9C%EC%9A%A9" TargetMode="External"/><Relationship Id="rId29" Type="http://schemas.openxmlformats.org/officeDocument/2006/relationships/hyperlink" Target="https://riss.kr/search/detail/DetailView.do?p_mat_type=3a11008f85f7c51d&amp;control_no=183947ddac715757&amp;v_control_no=24a00c47560405b6" TargetMode="External"/><Relationship Id="rId1" Type="http://schemas.openxmlformats.org/officeDocument/2006/relationships/vmlDrawing" Target="../drawings/vmlDrawing5.vml"/><Relationship Id="rId6" Type="http://schemas.openxmlformats.org/officeDocument/2006/relationships/image" Target="../media/image3.emf"/><Relationship Id="rId11" Type="http://schemas.openxmlformats.org/officeDocument/2006/relationships/hyperlink" Target="https://riss.kr/search/Search.do?isDetailSearch=Y&amp;searchGubun=true&amp;queryText=znCreator,%EC%84%B1%EC%84%A0%EC%A7%84&amp;colName=re_a_kor" TargetMode="External"/><Relationship Id="rId24" Type="http://schemas.openxmlformats.org/officeDocument/2006/relationships/hyperlink" Target="https://www.bing.com/ck/a?!&amp;&amp;p=831567a43076f76dJmltdHM9MTY4NTgzNjgwMCZpZ3VpZD0xYzNmNmNlZS0wM2MwLTY5NzgtMTE2NC02MjVlMDI4YjY4YjQmaW5zaWQ9NTE3NQ&amp;ptn=3&amp;hsh=3&amp;fclid=1c3f6cee-03c0-6978-1164-625e028b68b4&amp;psq=%ec%9d%b8%ea%b3%b5%ec%a7%80%eb%8a%a5++AI%ec%9c%b5%ed%95%a9%ea%b4%80%eb%a0%a8+%ea%b5%90%ec%9c%a1&amp;u=a1aHR0cHM6Ly9oYXBweWVkdS5tb2UuZ28ua3IvaGFwcHkvYmJzL3NlbGVjdEhhcHB5QXJ0aWNsZUltZy5kbz9iYnNJZD1CQlNNU1RSXzAwMDAwMDAwMDE5MSZudHRJZD0xMDExOQ&amp;ntb=1" TargetMode="External"/><Relationship Id="rId5" Type="http://schemas.openxmlformats.org/officeDocument/2006/relationships/oleObject" Target="../embeddings/oleObject5.bin"/><Relationship Id="rId15" Type="http://schemas.openxmlformats.org/officeDocument/2006/relationships/hyperlink" Target="https://riss.kr/search/detail/DetailView.do?p_mat_type=1a0202e37d52c72d&amp;control_no=263e8bab210824b9c85d2949c297615a&amp;keyword=%EC%A4%91%EC%86%8C%EA%B8%B0%EC%97%85%20AI" TargetMode="External"/><Relationship Id="rId23" Type="http://schemas.openxmlformats.org/officeDocument/2006/relationships/hyperlink" Target="https://riss.kr/search/detail/DetailView.do?p_mat_type=3a11008f85f7c51d&amp;control_no=79f81895562f1778ffe0bdc3ef48d419&amp;v_control_no=ba8a3a7261af0527" TargetMode="External"/><Relationship Id="rId28" Type="http://schemas.openxmlformats.org/officeDocument/2006/relationships/hyperlink" Target="https://riss.kr/search/detail/DetailView.do?p_mat_type=3a11008f85f7c51d&amp;control_no=183947ddac715757" TargetMode="External"/><Relationship Id="rId10" Type="http://schemas.openxmlformats.org/officeDocument/2006/relationships/hyperlink" Target="https://riss.kr/search/detail/DetailView.do?p_mat_type=1a0202e37d52c72d&amp;control_no=509bd948c16e607b7f7a54760bb41745&amp;keyword=%EC%A4%91%EC%86%8C%EA%B8%B0%EC%97%85%20AI" TargetMode="External"/><Relationship Id="rId19" Type="http://schemas.openxmlformats.org/officeDocument/2006/relationships/hyperlink" Target="https://riss.kr/search/detail/DetailView.do?p_mat_type=3a11008f85f7c51d&amp;control_no=5c997dafdf7a78a3ffe0bdc3ef48d419&amp;v_control_no=3b23934a353bac95ffe0bdc3ef48d419" TargetMode="External"/><Relationship Id="rId4" Type="http://schemas.openxmlformats.org/officeDocument/2006/relationships/notesSlide" Target="../notesSlides/notesSlide4.xml"/><Relationship Id="rId9" Type="http://schemas.openxmlformats.org/officeDocument/2006/relationships/hyperlink" Target="https://academic.naver.com/journal.naver?journal_id=3494129" TargetMode="External"/><Relationship Id="rId14" Type="http://schemas.openxmlformats.org/officeDocument/2006/relationships/hyperlink" Target="https://riss.kr/search/detail/DetailView.do?p_mat_type=3a11008f85f7c51d&amp;control_no=da3665fade0695c8ffe0bdc3ef48d419&amp;v_control_no=68f499a368a91ca5" TargetMode="External"/><Relationship Id="rId22" Type="http://schemas.openxmlformats.org/officeDocument/2006/relationships/hyperlink" Target="https://riss.kr/search/detail/DetailView.do?p_mat_type=3a11008f85f7c51d&amp;control_no=79f81895562f1778ffe0bdc3ef48d419" TargetMode="External"/><Relationship Id="rId27" Type="http://schemas.openxmlformats.org/officeDocument/2006/relationships/hyperlink" Target="https://riss.kr/search/Search.do?isDetailSearch=Y&amp;searchGubun=true&amp;queryText=znPublisher,%ED%95%9C%EA%B5%AD%EC%A0%95%EC%B1%85%EC%97%B0%EA%B5%AC%EC%9B%90&amp;colName=re_a_kor" TargetMode="Externa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3.xml"/><Relationship Id="rId3" Type="http://schemas.openxmlformats.org/officeDocument/2006/relationships/slideLayout" Target="../slideLayouts/slideLayout12.xml"/><Relationship Id="rId7" Type="http://schemas.openxmlformats.org/officeDocument/2006/relationships/diagramData" Target="../diagrams/data3.xml"/><Relationship Id="rId2" Type="http://schemas.openxmlformats.org/officeDocument/2006/relationships/tags" Target="../tags/tag10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3.emf"/><Relationship Id="rId11" Type="http://schemas.microsoft.com/office/2007/relationships/diagramDrawing" Target="../diagrams/drawing3.xml"/><Relationship Id="rId5" Type="http://schemas.openxmlformats.org/officeDocument/2006/relationships/oleObject" Target="../embeddings/oleObject6.bin"/><Relationship Id="rId10" Type="http://schemas.openxmlformats.org/officeDocument/2006/relationships/diagramColors" Target="../diagrams/colors3.xml"/><Relationship Id="rId4" Type="http://schemas.openxmlformats.org/officeDocument/2006/relationships/notesSlide" Target="../notesSlides/notesSlide5.xml"/><Relationship Id="rId9" Type="http://schemas.openxmlformats.org/officeDocument/2006/relationships/diagramQuickStyle" Target="../diagrams/quickStyle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1.png"/><Relationship Id="rId4" Type="http://schemas.openxmlformats.org/officeDocument/2006/relationships/customXml" Target="../ink/ink1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4.xml"/><Relationship Id="rId7" Type="http://schemas.microsoft.com/office/2007/relationships/diagramDrawing" Target="../diagrams/drawing4.xml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4.xml"/><Relationship Id="rId5" Type="http://schemas.openxmlformats.org/officeDocument/2006/relationships/diagramQuickStyle" Target="../diagrams/quickStyle4.xml"/><Relationship Id="rId4" Type="http://schemas.openxmlformats.org/officeDocument/2006/relationships/diagramLayout" Target="../diagrams/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제목 4"/>
          <p:cNvSpPr>
            <a:spLocks noGrp="1"/>
          </p:cNvSpPr>
          <p:nvPr>
            <p:ph type="ctrTitle"/>
          </p:nvPr>
        </p:nvSpPr>
        <p:spPr>
          <a:xfrm>
            <a:off x="1776663" y="306712"/>
            <a:ext cx="8892989" cy="1662988"/>
          </a:xfrm>
          <a:solidFill>
            <a:srgbClr val="0070C0"/>
          </a:solidFill>
        </p:spPr>
        <p:txBody>
          <a:bodyPr>
            <a:normAutofit fontScale="90000"/>
          </a:bodyPr>
          <a:lstStyle/>
          <a:p>
            <a:pPr marL="0" marR="0" indent="0" algn="ctr" fontAlgn="base" latinLnBrk="0">
              <a:lnSpc>
                <a:spcPct val="16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ko-KR" sz="4800" dirty="0">
                <a:solidFill>
                  <a:schemeClr val="bg1"/>
                </a:solidFill>
              </a:rPr>
              <a:t/>
            </a:r>
            <a:br>
              <a:rPr lang="en-US" altLang="ko-KR" sz="4800" dirty="0">
                <a:solidFill>
                  <a:schemeClr val="bg1"/>
                </a:solidFill>
              </a:rPr>
            </a:br>
            <a:r>
              <a:rPr lang="ko-KR" altLang="en-US" sz="3100" b="1" kern="0" spc="0" dirty="0">
                <a:solidFill>
                  <a:schemeClr val="bg1"/>
                </a:solidFill>
                <a:effectLst/>
                <a:ea typeface="굴림" panose="020B0600000101010101" pitchFamily="50" charset="-127"/>
              </a:rPr>
              <a:t>유통산업 내 </a:t>
            </a:r>
            <a:r>
              <a:rPr lang="en-US" altLang="ko-KR" sz="3100" b="1" kern="0" spc="0" dirty="0">
                <a:solidFill>
                  <a:schemeClr val="bg1"/>
                </a:solidFill>
                <a:effectLst/>
                <a:latin typeface="굴림" panose="020B0600000101010101" pitchFamily="50" charset="-127"/>
              </a:rPr>
              <a:t>AI </a:t>
            </a:r>
            <a:r>
              <a:rPr lang="ko-KR" altLang="en-US" sz="3100" b="1" kern="0" spc="0" dirty="0">
                <a:solidFill>
                  <a:schemeClr val="bg1"/>
                </a:solidFill>
                <a:effectLst/>
                <a:ea typeface="굴림" panose="020B0600000101010101" pitchFamily="50" charset="-127"/>
              </a:rPr>
              <a:t>활용 전략과 정책시사점</a:t>
            </a:r>
            <a:r>
              <a:rPr lang="ko-KR" altLang="en-US" sz="1800" b="1" kern="0" spc="0" dirty="0">
                <a:solidFill>
                  <a:schemeClr val="bg1"/>
                </a:solidFill>
                <a:effectLst/>
              </a:rPr>
              <a:t/>
            </a:r>
            <a:br>
              <a:rPr lang="ko-KR" altLang="en-US" sz="1800" b="1" kern="0" spc="0" dirty="0">
                <a:solidFill>
                  <a:schemeClr val="bg1"/>
                </a:solidFill>
                <a:effectLst/>
              </a:rPr>
            </a:br>
            <a:r>
              <a:rPr lang="en-US" altLang="ko-KR" sz="1800" b="1" kern="0" spc="0" dirty="0">
                <a:solidFill>
                  <a:schemeClr val="bg1"/>
                </a:solidFill>
                <a:effectLst/>
                <a:latin typeface="굴림" panose="020B0600000101010101" pitchFamily="50" charset="-127"/>
              </a:rPr>
              <a:t> Strategies and Policy Implications for Utilizing Artificial Intelligence in the Korean Distribution Industry</a:t>
            </a:r>
            <a:r>
              <a:rPr lang="en-US" altLang="ko-KR" sz="1800" b="1" kern="0" spc="0" dirty="0">
                <a:solidFill>
                  <a:srgbClr val="000000"/>
                </a:solidFill>
                <a:effectLst/>
              </a:rPr>
              <a:t/>
            </a:r>
            <a:br>
              <a:rPr lang="en-US" altLang="ko-KR" sz="1800" b="1" kern="0" spc="0" dirty="0">
                <a:solidFill>
                  <a:srgbClr val="000000"/>
                </a:solidFill>
                <a:effectLst/>
              </a:rPr>
            </a:br>
            <a:endParaRPr lang="ko-KR" altLang="en-US" sz="5400" dirty="0">
              <a:solidFill>
                <a:schemeClr val="bg1"/>
              </a:solidFill>
              <a:latin typeface="+mj-ea"/>
            </a:endParaRPr>
          </a:p>
        </p:txBody>
      </p:sp>
      <p:sp>
        <p:nvSpPr>
          <p:cNvPr id="3" name="TextBox 1"/>
          <p:cNvSpPr txBox="1">
            <a:spLocks noChangeArrowheads="1"/>
          </p:cNvSpPr>
          <p:nvPr/>
        </p:nvSpPr>
        <p:spPr>
          <a:xfrm>
            <a:off x="1776663" y="2388409"/>
            <a:ext cx="8892989" cy="675954"/>
          </a:xfrm>
          <a:prstGeom prst="rect">
            <a:avLst/>
          </a:prstGeom>
          <a:solidFill>
            <a:srgbClr val="92D050"/>
          </a:solidFill>
          <a:ln>
            <a:noFill/>
          </a:ln>
        </p:spPr>
        <p:txBody>
          <a:bodyPr wrap="square">
            <a:spAutoFit/>
          </a:bodyPr>
          <a:lstStyle>
            <a:lvl1pPr>
              <a:defRPr kumimoji="1" sz="1200">
                <a:solidFill>
                  <a:schemeClr val="tx1"/>
                </a:solidFill>
                <a:latin typeface="가는각진제목체"/>
                <a:ea typeface="가는각진제목체"/>
                <a:cs typeface="가는각진제목체"/>
              </a:defRPr>
            </a:lvl1pPr>
            <a:lvl2pPr marL="742950" indent="-285750">
              <a:defRPr kumimoji="1" sz="1200">
                <a:solidFill>
                  <a:schemeClr val="tx1"/>
                </a:solidFill>
                <a:latin typeface="가는각진제목체"/>
                <a:ea typeface="가는각진제목체"/>
                <a:cs typeface="가는각진제목체"/>
              </a:defRPr>
            </a:lvl2pPr>
            <a:lvl3pPr marL="1143000" indent="-228600">
              <a:defRPr kumimoji="1" sz="1200">
                <a:solidFill>
                  <a:schemeClr val="tx1"/>
                </a:solidFill>
                <a:latin typeface="가는각진제목체"/>
                <a:ea typeface="가는각진제목체"/>
                <a:cs typeface="가는각진제목체"/>
              </a:defRPr>
            </a:lvl3pPr>
            <a:lvl4pPr marL="1600200" indent="-228600">
              <a:defRPr kumimoji="1" sz="1200">
                <a:solidFill>
                  <a:schemeClr val="tx1"/>
                </a:solidFill>
                <a:latin typeface="가는각진제목체"/>
                <a:ea typeface="가는각진제목체"/>
                <a:cs typeface="가는각진제목체"/>
              </a:defRPr>
            </a:lvl4pPr>
            <a:lvl5pPr marL="2057400" indent="-228600">
              <a:defRPr kumimoji="1" sz="1200">
                <a:solidFill>
                  <a:schemeClr val="tx1"/>
                </a:solidFill>
                <a:latin typeface="가는각진제목체"/>
                <a:ea typeface="가는각진제목체"/>
                <a:cs typeface="가는각진제목체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가는각진제목체"/>
                <a:ea typeface="가는각진제목체"/>
                <a:cs typeface="가는각진제목체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가는각진제목체"/>
                <a:ea typeface="가는각진제목체"/>
                <a:cs typeface="가는각진제목체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가는각진제목체"/>
                <a:ea typeface="가는각진제목체"/>
                <a:cs typeface="가는각진제목체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가는각진제목체"/>
                <a:ea typeface="가는각진제목체"/>
                <a:cs typeface="가는각진제목체"/>
              </a:defRPr>
            </a:lvl9pPr>
          </a:lstStyle>
          <a:p>
            <a:pPr algn="ctr">
              <a:lnSpc>
                <a:spcPct val="150000"/>
              </a:lnSpc>
              <a:defRPr/>
            </a:pPr>
            <a:r>
              <a:rPr lang="en-US" altLang="ko-KR" sz="2800" dirty="0">
                <a:latin typeface="휴먼엑스포"/>
                <a:ea typeface="휴먼엑스포"/>
              </a:rPr>
              <a:t>2023  </a:t>
            </a:r>
            <a:r>
              <a:rPr lang="ko-KR" altLang="en-US" sz="2800" dirty="0">
                <a:latin typeface="휴먼엑스포"/>
                <a:ea typeface="휴먼엑스포"/>
              </a:rPr>
              <a:t>한국유통학회 하계 융합학술대회</a:t>
            </a:r>
            <a:endParaRPr lang="en-US" altLang="ko-KR" sz="2800" dirty="0">
              <a:latin typeface="휴먼엑스포"/>
              <a:ea typeface="휴먼엑스포"/>
            </a:endParaRPr>
          </a:p>
        </p:txBody>
      </p:sp>
      <p:sp>
        <p:nvSpPr>
          <p:cNvPr id="4" name="Rectangle 4"/>
          <p:cNvSpPr>
            <a:spLocks noChangeArrowheads="1"/>
          </p:cNvSpPr>
          <p:nvPr/>
        </p:nvSpPr>
        <p:spPr>
          <a:xfrm>
            <a:off x="4233672" y="5587115"/>
            <a:ext cx="7504176" cy="867732"/>
          </a:xfrm>
          <a:prstGeom prst="rect">
            <a:avLst/>
          </a:prstGeom>
          <a:noFill/>
          <a:ln>
            <a:noFill/>
          </a:ln>
          <a:effectLst/>
        </p:spPr>
        <p:txBody>
          <a:bodyPr lIns="92075" tIns="46038" rIns="92075" bIns="46038"/>
          <a:lstStyle/>
          <a:p>
            <a:pPr algn="ctr">
              <a:lnSpc>
                <a:spcPct val="95000"/>
              </a:lnSpc>
              <a:spcBef>
                <a:spcPct val="20000"/>
              </a:spcBef>
              <a:buClr>
                <a:srgbClr val="FFCC66"/>
              </a:buClr>
              <a:buSzPct val="75000"/>
              <a:buFont typeface="Wingdings"/>
              <a:buNone/>
              <a:defRPr/>
            </a:pPr>
            <a:r>
              <a:rPr lang="ko-KR" altLang="en-US" sz="2400" b="1" dirty="0">
                <a:solidFill>
                  <a:srgbClr val="003366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휴먼엑스포"/>
                <a:ea typeface="휴먼엑스포"/>
              </a:rPr>
              <a:t>전 동덕여자대학교 교수 김익성  </a:t>
            </a:r>
          </a:p>
          <a:p>
            <a:pPr algn="ctr">
              <a:lnSpc>
                <a:spcPct val="95000"/>
              </a:lnSpc>
              <a:spcBef>
                <a:spcPct val="20000"/>
              </a:spcBef>
              <a:buClr>
                <a:srgbClr val="FFCC66"/>
              </a:buClr>
              <a:buSzPct val="75000"/>
              <a:buFont typeface="Wingdings"/>
              <a:buNone/>
              <a:defRPr/>
            </a:pPr>
            <a:endParaRPr lang="en-US" altLang="ko-KR" sz="1900" b="1" dirty="0">
              <a:solidFill>
                <a:srgbClr val="003366"/>
              </a:solidFill>
              <a:latin typeface="휴먼엑스포"/>
              <a:ea typeface="휴먼엑스포"/>
            </a:endParaRPr>
          </a:p>
        </p:txBody>
      </p:sp>
      <p:sp>
        <p:nvSpPr>
          <p:cNvPr id="2" name="직사각형 1"/>
          <p:cNvSpPr/>
          <p:nvPr/>
        </p:nvSpPr>
        <p:spPr>
          <a:xfrm>
            <a:off x="6437376" y="3838456"/>
            <a:ext cx="4377162" cy="1058859"/>
          </a:xfrm>
          <a:prstGeom prst="rect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vert="horz" wrap="square" lIns="73152" tIns="73152" rIns="73152" bIns="73152" anchor="ctr" anchorCtr="0">
            <a:prstTxWarp prst="textNoShape">
              <a:avLst/>
            </a:prstTxWarp>
            <a:noAutofit/>
          </a:bodyPr>
          <a:lstStyle/>
          <a:p>
            <a:pPr algn="ctr">
              <a:lnSpc>
                <a:spcPct val="150000"/>
              </a:lnSpc>
              <a:defRPr/>
            </a:pPr>
            <a:r>
              <a:rPr lang="ko-KR" altLang="en-US" sz="2000" dirty="0">
                <a:solidFill>
                  <a:schemeClr val="tx1"/>
                </a:solidFill>
                <a:latin typeface="HY헤드라인M"/>
                <a:ea typeface="HY헤드라인M"/>
              </a:rPr>
              <a:t>일자 </a:t>
            </a:r>
            <a:r>
              <a:rPr lang="en-US" altLang="ko-KR" sz="2000" dirty="0">
                <a:solidFill>
                  <a:schemeClr val="tx1"/>
                </a:solidFill>
                <a:latin typeface="HY헤드라인M"/>
                <a:ea typeface="HY헤드라인M"/>
              </a:rPr>
              <a:t>: 2023. 08.17.</a:t>
            </a:r>
          </a:p>
          <a:p>
            <a:pPr algn="ctr">
              <a:lnSpc>
                <a:spcPct val="150000"/>
              </a:lnSpc>
              <a:defRPr/>
            </a:pPr>
            <a:r>
              <a:rPr lang="en-US" altLang="ko-KR" sz="2000" dirty="0">
                <a:solidFill>
                  <a:schemeClr val="tx1"/>
                </a:solidFill>
                <a:latin typeface="HY헤드라인M"/>
                <a:ea typeface="HY헤드라인M"/>
              </a:rPr>
              <a:t> </a:t>
            </a:r>
            <a:r>
              <a:rPr lang="ko-KR" altLang="en-US" sz="2000" dirty="0">
                <a:solidFill>
                  <a:schemeClr val="tx1"/>
                </a:solidFill>
                <a:latin typeface="HY헤드라인M"/>
                <a:ea typeface="HY헤드라인M"/>
              </a:rPr>
              <a:t>장소 </a:t>
            </a:r>
            <a:r>
              <a:rPr lang="en-US" altLang="ko-KR" sz="2000" dirty="0">
                <a:solidFill>
                  <a:schemeClr val="tx1"/>
                </a:solidFill>
                <a:latin typeface="HY헤드라인M"/>
                <a:ea typeface="HY헤드라인M"/>
              </a:rPr>
              <a:t>:  </a:t>
            </a:r>
            <a:r>
              <a:rPr lang="ko-KR" altLang="en-US" sz="2000" dirty="0">
                <a:solidFill>
                  <a:schemeClr val="tx1"/>
                </a:solidFill>
                <a:latin typeface="HY헤드라인M"/>
                <a:ea typeface="HY헤드라인M"/>
              </a:rPr>
              <a:t>부산  </a:t>
            </a:r>
            <a:r>
              <a:rPr lang="en-US" altLang="ko-KR" sz="2000" dirty="0">
                <a:solidFill>
                  <a:schemeClr val="tx1"/>
                </a:solidFill>
                <a:latin typeface="HY헤드라인M"/>
                <a:ea typeface="HY헤드라인M"/>
              </a:rPr>
              <a:t>BEXCO</a:t>
            </a:r>
            <a:r>
              <a:rPr lang="ko-KR" altLang="en-US" sz="2000" dirty="0">
                <a:solidFill>
                  <a:schemeClr val="tx1"/>
                </a:solidFill>
                <a:latin typeface="HY헤드라인M"/>
                <a:ea typeface="HY헤드라인M"/>
              </a:rPr>
              <a:t> 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A5CD10D-A5A6-BCA0-834C-AF47359E1892}"/>
              </a:ext>
            </a:extLst>
          </p:cNvPr>
          <p:cNvSpPr txBox="1"/>
          <p:nvPr/>
        </p:nvSpPr>
        <p:spPr>
          <a:xfrm>
            <a:off x="3050309" y="3034206"/>
            <a:ext cx="6100618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ko-KR" altLang="en-US" sz="1800" b="1" kern="0" spc="0" dirty="0">
                <a:solidFill>
                  <a:schemeClr val="bg1"/>
                </a:solidFill>
                <a:effectLst/>
                <a:ea typeface="굴림" panose="020B0600000101010101" pitchFamily="50" charset="-127"/>
              </a:rPr>
              <a:t>유통산업 내 </a:t>
            </a:r>
            <a:r>
              <a:rPr lang="en-US" altLang="ko-KR" sz="1800" b="1" kern="0" spc="0" dirty="0">
                <a:solidFill>
                  <a:schemeClr val="bg1"/>
                </a:solidFill>
                <a:effectLst/>
                <a:latin typeface="굴림" panose="020B0600000101010101" pitchFamily="50" charset="-127"/>
              </a:rPr>
              <a:t>AI </a:t>
            </a:r>
            <a:r>
              <a:rPr lang="ko-KR" altLang="en-US" sz="1800" b="1" kern="0" spc="0" dirty="0">
                <a:solidFill>
                  <a:schemeClr val="bg1"/>
                </a:solidFill>
                <a:effectLst/>
                <a:ea typeface="굴림" panose="020B0600000101010101" pitchFamily="50" charset="-127"/>
              </a:rPr>
              <a:t>활용 전략과 정책시사점</a:t>
            </a:r>
            <a:endParaRPr lang="ko-KR" altLang="en-US" dirty="0"/>
          </a:p>
        </p:txBody>
      </p:sp>
      <p:pic>
        <p:nvPicPr>
          <p:cNvPr id="9" name="Picture 8" descr="https://www.sciencetimes.co.kr/wp-content/uploads/2020/06/data-folder-digital-data-big-data-cloud-computing-1-480x319.jpg">
            <a:extLst>
              <a:ext uri="{FF2B5EF4-FFF2-40B4-BE49-F238E27FC236}">
                <a16:creationId xmlns:a16="http://schemas.microsoft.com/office/drawing/2014/main" id="{2D27A9F9-7579-7984-0F8A-4DD996AE325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4152" y="3512812"/>
            <a:ext cx="4572000" cy="30384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/>
    </mc:Choice>
    <mc:Fallback xmlns="" xmlns:c="http://schemas.openxmlformats.org/drawingml/2006/chart" xmlns:dgm="http://schemas.openxmlformats.org/drawingml/2006/diagram" xmlns:dsp="http://schemas.microsoft.com/office/drawing/2008/diagram">
      <p:transition/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날짜 개체 틀 2">
            <a:extLst>
              <a:ext uri="{FF2B5EF4-FFF2-40B4-BE49-F238E27FC236}">
                <a16:creationId xmlns:a16="http://schemas.microsoft.com/office/drawing/2014/main" id="{8BEC0EEF-E580-1F75-2490-8A8B2F4D11C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FC9B95B-9606-41FD-9410-F2B308BBF263}" type="datetime1">
              <a:rPr lang="en-US" altLang="ko-KR" smtClean="0"/>
              <a:t>6/22/2023</a:t>
            </a:fld>
            <a:endParaRPr lang="en-US" dirty="0"/>
          </a:p>
        </p:txBody>
      </p:sp>
      <p:sp>
        <p:nvSpPr>
          <p:cNvPr id="6" name="TextBox 5"/>
          <p:cNvSpPr txBox="1"/>
          <p:nvPr/>
        </p:nvSpPr>
        <p:spPr>
          <a:xfrm>
            <a:off x="685800" y="1302706"/>
            <a:ext cx="4788074" cy="461665"/>
          </a:xfrm>
          <a:prstGeom prst="rect">
            <a:avLst/>
          </a:prstGeom>
          <a:solidFill>
            <a:srgbClr val="002060"/>
          </a:solidFill>
        </p:spPr>
        <p:txBody>
          <a:bodyPr wrap="square" rtlCol="0">
            <a:spAutoFit/>
          </a:bodyPr>
          <a:lstStyle/>
          <a:p>
            <a:r>
              <a:rPr lang="ko-KR" altLang="en-US" sz="2400" dirty="0" err="1">
                <a:solidFill>
                  <a:schemeClr val="bg1"/>
                </a:solidFill>
              </a:rPr>
              <a:t>빅데이터</a:t>
            </a:r>
            <a:r>
              <a:rPr lang="ko-KR" altLang="en-US" sz="2400" dirty="0">
                <a:solidFill>
                  <a:schemeClr val="bg1"/>
                </a:solidFill>
              </a:rPr>
              <a:t> 형태와 특성 </a:t>
            </a:r>
          </a:p>
        </p:txBody>
      </p:sp>
      <p:graphicFrame>
        <p:nvGraphicFramePr>
          <p:cNvPr id="4" name="표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58895648"/>
              </p:ext>
            </p:extLst>
          </p:nvPr>
        </p:nvGraphicFramePr>
        <p:xfrm>
          <a:off x="685800" y="2035175"/>
          <a:ext cx="10913300" cy="4572000"/>
        </p:xfrm>
        <a:graphic>
          <a:graphicData uri="http://schemas.openxmlformats.org/drawingml/2006/table">
            <a:tbl>
              <a:tblPr firstRow="1" bandRow="1">
                <a:effectLst>
                  <a:innerShdw blurRad="63500" dist="50800" dir="16200000">
                    <a:prstClr val="black">
                      <a:alpha val="50000"/>
                    </a:prstClr>
                  </a:innerShdw>
                </a:effectLst>
                <a:tableStyleId>{073A0DAA-6AF3-43AB-8588-CEC1D06C72B9}</a:tableStyleId>
              </a:tblPr>
              <a:tblGrid>
                <a:gridCol w="272832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72832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72832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728325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140208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2400" dirty="0"/>
                        <a:t>  </a:t>
                      </a:r>
                      <a:r>
                        <a:rPr lang="ko-KR" altLang="en-US" sz="2400" dirty="0"/>
                        <a:t>표 시 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2400" dirty="0"/>
                        <a:t> 가치 정보 </a:t>
                      </a:r>
                    </a:p>
                  </a:txBody>
                  <a:tcPr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2400" dirty="0"/>
                        <a:t>매개 수단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2400" dirty="0"/>
                        <a:t>목적</a:t>
                      </a:r>
                      <a:r>
                        <a:rPr lang="en-US" altLang="ko-KR" sz="2400" dirty="0"/>
                        <a:t>/</a:t>
                      </a:r>
                      <a:r>
                        <a:rPr lang="ko-KR" altLang="en-US" sz="2400" dirty="0"/>
                        <a:t>필요</a:t>
                      </a:r>
                      <a:r>
                        <a:rPr lang="en-US" altLang="ko-KR" sz="2400" dirty="0"/>
                        <a:t>&gt; </a:t>
                      </a:r>
                      <a:r>
                        <a:rPr lang="ko-KR" altLang="en-US" sz="2400" dirty="0"/>
                        <a:t>변화 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080309">
                <a:tc>
                  <a:txBody>
                    <a:bodyPr/>
                    <a:lstStyle/>
                    <a:p>
                      <a:pPr marL="285750" indent="-285750" latinLnBrk="1">
                        <a:buFont typeface="Arial" panose="020B0604020202020204" pitchFamily="34" charset="0"/>
                        <a:buChar char="•"/>
                      </a:pPr>
                      <a:r>
                        <a:rPr lang="ko-KR" altLang="en-US" sz="2400" dirty="0"/>
                        <a:t>수치</a:t>
                      </a:r>
                      <a:endParaRPr lang="en-US" altLang="ko-KR" sz="2400" dirty="0"/>
                    </a:p>
                    <a:p>
                      <a:pPr marL="285750" indent="-285750" latinLnBrk="1">
                        <a:buFont typeface="Arial" panose="020B0604020202020204" pitchFamily="34" charset="0"/>
                        <a:buChar char="•"/>
                      </a:pPr>
                      <a:r>
                        <a:rPr lang="ko-KR" altLang="en-US" sz="2400" dirty="0"/>
                        <a:t>파일</a:t>
                      </a:r>
                      <a:endParaRPr lang="en-US" altLang="ko-KR" sz="2400" dirty="0"/>
                    </a:p>
                    <a:p>
                      <a:pPr marL="285750" indent="-285750" latinLnBrk="1">
                        <a:buFont typeface="Arial" panose="020B0604020202020204" pitchFamily="34" charset="0"/>
                        <a:buChar char="•"/>
                      </a:pPr>
                      <a:r>
                        <a:rPr lang="ko-KR" altLang="en-US" sz="2400" dirty="0"/>
                        <a:t>기호</a:t>
                      </a:r>
                      <a:r>
                        <a:rPr lang="en-US" altLang="ko-KR" sz="2400" dirty="0"/>
                        <a:t>/</a:t>
                      </a:r>
                      <a:r>
                        <a:rPr lang="ko-KR" altLang="en-US" sz="2400" dirty="0"/>
                        <a:t>파장</a:t>
                      </a:r>
                      <a:endParaRPr lang="en-US" altLang="ko-KR" sz="2400" dirty="0"/>
                    </a:p>
                    <a:p>
                      <a:pPr marL="285750" indent="-285750" latinLnBrk="1">
                        <a:buFont typeface="Arial" panose="020B0604020202020204" pitchFamily="34" charset="0"/>
                        <a:buChar char="•"/>
                      </a:pPr>
                      <a:r>
                        <a:rPr lang="ko-KR" altLang="en-US" sz="2400" dirty="0"/>
                        <a:t>언어</a:t>
                      </a:r>
                      <a:r>
                        <a:rPr lang="en-US" altLang="ko-KR" sz="2400" dirty="0"/>
                        <a:t>/</a:t>
                      </a:r>
                      <a:r>
                        <a:rPr lang="ko-KR" altLang="en-US" sz="2400" dirty="0"/>
                        <a:t>문자</a:t>
                      </a:r>
                      <a:endParaRPr lang="en-US" altLang="ko-KR" sz="2400" dirty="0"/>
                    </a:p>
                    <a:p>
                      <a:pPr marL="285750" indent="-285750" latinLnBrk="1">
                        <a:buFont typeface="Arial" panose="020B0604020202020204" pitchFamily="34" charset="0"/>
                        <a:buChar char="•"/>
                      </a:pPr>
                      <a:r>
                        <a:rPr lang="ko-KR" altLang="en-US" sz="2400" dirty="0"/>
                        <a:t>표</a:t>
                      </a:r>
                      <a:endParaRPr lang="en-US" altLang="ko-KR" sz="2400" dirty="0"/>
                    </a:p>
                    <a:p>
                      <a:pPr marL="285750" indent="-285750" latinLnBrk="1">
                        <a:buFont typeface="Arial" panose="020B0604020202020204" pitchFamily="34" charset="0"/>
                        <a:buChar char="•"/>
                      </a:pPr>
                      <a:r>
                        <a:rPr lang="ko-KR" altLang="en-US" sz="2400" dirty="0"/>
                        <a:t>그림</a:t>
                      </a:r>
                      <a:endParaRPr lang="en-US" altLang="ko-KR" sz="2400" dirty="0"/>
                    </a:p>
                    <a:p>
                      <a:pPr marL="285750" indent="-285750" latinLnBrk="1">
                        <a:buFont typeface="Arial" panose="020B0604020202020204" pitchFamily="34" charset="0"/>
                        <a:buChar char="•"/>
                      </a:pPr>
                      <a:r>
                        <a:rPr lang="ko-KR" altLang="en-US" sz="2400" dirty="0"/>
                        <a:t>사진</a:t>
                      </a:r>
                      <a:endParaRPr lang="en-US" altLang="ko-KR" sz="2400" dirty="0"/>
                    </a:p>
                    <a:p>
                      <a:pPr marL="285750" indent="-285750" latinLnBrk="1">
                        <a:buFont typeface="Arial" panose="020B0604020202020204" pitchFamily="34" charset="0"/>
                        <a:buChar char="•"/>
                      </a:pPr>
                      <a:r>
                        <a:rPr lang="ko-KR" altLang="en-US" sz="2400" dirty="0"/>
                        <a:t>영상</a:t>
                      </a:r>
                      <a:endParaRPr lang="en-US" altLang="ko-KR" sz="2400" dirty="0"/>
                    </a:p>
                    <a:p>
                      <a:pPr marL="285750" indent="-285750" latinLnBrk="1">
                        <a:buFont typeface="Arial" panose="020B0604020202020204" pitchFamily="34" charset="0"/>
                        <a:buChar char="•"/>
                      </a:pPr>
                      <a:r>
                        <a:rPr lang="ko-KR" altLang="en-US" sz="2400" dirty="0"/>
                        <a:t>음성</a:t>
                      </a:r>
                      <a:r>
                        <a:rPr lang="en-US" altLang="ko-KR" sz="2400" dirty="0"/>
                        <a:t>/</a:t>
                      </a:r>
                      <a:r>
                        <a:rPr lang="ko-KR" altLang="en-US" sz="2400" dirty="0" err="1"/>
                        <a:t>음원</a:t>
                      </a:r>
                      <a:endParaRPr lang="en-US" altLang="ko-KR" sz="2400" dirty="0"/>
                    </a:p>
                    <a:p>
                      <a:pPr marL="285750" indent="-285750" latinLnBrk="1">
                        <a:buFont typeface="Arial" panose="020B0604020202020204" pitchFamily="34" charset="0"/>
                        <a:buChar char="•"/>
                      </a:pPr>
                      <a:r>
                        <a:rPr lang="ko-KR" altLang="en-US" sz="2400" dirty="0"/>
                        <a:t>악보</a:t>
                      </a:r>
                      <a:r>
                        <a:rPr lang="en-US" altLang="ko-KR" sz="2400" dirty="0"/>
                        <a:t>..</a:t>
                      </a:r>
                      <a:r>
                        <a:rPr lang="ko-KR" altLang="en-US" sz="2400" dirty="0"/>
                        <a:t> 등 </a:t>
                      </a:r>
                      <a:endParaRPr lang="en-US" altLang="ko-KR" sz="2400" dirty="0"/>
                    </a:p>
                    <a:p>
                      <a:pPr marL="0" indent="0" latinLnBrk="1">
                        <a:buFont typeface="Arial" panose="020B0604020202020204" pitchFamily="34" charset="0"/>
                        <a:buNone/>
                      </a:pPr>
                      <a:endParaRPr lang="ko-KR" altLang="en-US" sz="24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285750" indent="-285750" latinLnBrk="1">
                        <a:buFont typeface="Arial" panose="020B0604020202020204" pitchFamily="34" charset="0"/>
                        <a:buChar char="•"/>
                      </a:pPr>
                      <a:r>
                        <a:rPr lang="ko-KR" altLang="en-US" sz="2400" dirty="0"/>
                        <a:t>통계</a:t>
                      </a:r>
                      <a:endParaRPr lang="en-US" altLang="ko-KR" sz="2400" dirty="0"/>
                    </a:p>
                    <a:p>
                      <a:pPr marL="285750" indent="-285750" latinLnBrk="1">
                        <a:buFont typeface="Arial" panose="020B0604020202020204" pitchFamily="34" charset="0"/>
                        <a:buChar char="•"/>
                      </a:pPr>
                      <a:r>
                        <a:rPr lang="ko-KR" altLang="en-US" sz="2400" dirty="0"/>
                        <a:t>지식 </a:t>
                      </a:r>
                      <a:endParaRPr lang="en-US" altLang="ko-KR" sz="2400" dirty="0"/>
                    </a:p>
                    <a:p>
                      <a:pPr marL="285750" indent="-285750" latinLnBrk="1">
                        <a:buFont typeface="Arial" panose="020B0604020202020204" pitchFamily="34" charset="0"/>
                        <a:buChar char="•"/>
                      </a:pPr>
                      <a:r>
                        <a:rPr lang="ko-KR" altLang="en-US" sz="2400" dirty="0"/>
                        <a:t>기술</a:t>
                      </a:r>
                      <a:endParaRPr lang="en-US" altLang="ko-KR" sz="2400" dirty="0"/>
                    </a:p>
                    <a:p>
                      <a:pPr marL="285750" indent="-285750" latinLnBrk="1">
                        <a:buFont typeface="Arial" panose="020B0604020202020204" pitchFamily="34" charset="0"/>
                        <a:buChar char="•"/>
                      </a:pPr>
                      <a:r>
                        <a:rPr lang="ko-KR" altLang="en-US" sz="2400" dirty="0"/>
                        <a:t>거래</a:t>
                      </a:r>
                      <a:endParaRPr lang="en-US" altLang="ko-KR" sz="2400" dirty="0"/>
                    </a:p>
                    <a:p>
                      <a:pPr marL="285750" indent="-285750" latinLnBrk="1">
                        <a:buFont typeface="Arial" panose="020B0604020202020204" pitchFamily="34" charset="0"/>
                        <a:buChar char="•"/>
                      </a:pPr>
                      <a:r>
                        <a:rPr lang="ko-KR" altLang="en-US" sz="2400" dirty="0"/>
                        <a:t>문학</a:t>
                      </a:r>
                      <a:endParaRPr lang="en-US" altLang="ko-KR" sz="2400" dirty="0"/>
                    </a:p>
                    <a:p>
                      <a:pPr marL="285750" indent="-285750" latinLnBrk="1">
                        <a:buFont typeface="Arial" panose="020B0604020202020204" pitchFamily="34" charset="0"/>
                        <a:buChar char="•"/>
                      </a:pPr>
                      <a:r>
                        <a:rPr lang="ko-KR" altLang="en-US" sz="2400" dirty="0"/>
                        <a:t>음악</a:t>
                      </a:r>
                      <a:endParaRPr lang="en-US" altLang="ko-KR" sz="2400" dirty="0"/>
                    </a:p>
                    <a:p>
                      <a:pPr marL="285750" indent="-285750" latinLnBrk="1">
                        <a:buFont typeface="Arial" panose="020B0604020202020204" pitchFamily="34" charset="0"/>
                        <a:buChar char="•"/>
                      </a:pPr>
                      <a:r>
                        <a:rPr lang="ko-KR" altLang="en-US" sz="2400" dirty="0"/>
                        <a:t>회화</a:t>
                      </a:r>
                      <a:endParaRPr lang="en-US" altLang="ko-KR" sz="2400" dirty="0"/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US" altLang="ko-KR" sz="2400" dirty="0">
                        <a:solidFill>
                          <a:schemeClr val="tx1"/>
                        </a:solidFill>
                        <a:latin typeface="AppleSDGothicNeo-Light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altLang="ko-KR" sz="2400" dirty="0">
                          <a:solidFill>
                            <a:schemeClr val="tx1"/>
                          </a:solidFill>
                          <a:latin typeface="AppleSDGothicNeo-Light"/>
                        </a:rPr>
                        <a:t>*</a:t>
                      </a:r>
                      <a:r>
                        <a:rPr lang="ko-KR" altLang="en-US" sz="2400" dirty="0">
                          <a:solidFill>
                            <a:schemeClr val="tx1"/>
                          </a:solidFill>
                          <a:latin typeface="AppleSDGothicNeo-Light"/>
                        </a:rPr>
                        <a:t>우리사회에 존재하는  비유형적  모든   현상</a:t>
                      </a:r>
                      <a:endParaRPr lang="ko-KR" altLang="en-US" sz="24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2400" b="1" dirty="0">
                          <a:solidFill>
                            <a:schemeClr val="tx1"/>
                          </a:solidFill>
                        </a:rPr>
                        <a:t>New</a:t>
                      </a:r>
                      <a:r>
                        <a:rPr lang="ko-KR" altLang="en-US" sz="2400" b="1" dirty="0">
                          <a:solidFill>
                            <a:schemeClr val="tx1"/>
                          </a:solidFill>
                        </a:rPr>
                        <a:t>  </a:t>
                      </a:r>
                      <a:endParaRPr lang="en-US" altLang="ko-KR" sz="2400" b="1" dirty="0">
                        <a:solidFill>
                          <a:schemeClr val="tx1"/>
                        </a:solidFill>
                      </a:endParaRPr>
                    </a:p>
                    <a:p>
                      <a:pPr algn="ctr" latinLnBrk="1"/>
                      <a:r>
                        <a:rPr lang="en-US" altLang="ko-KR" sz="2400" b="1" dirty="0">
                          <a:solidFill>
                            <a:schemeClr val="tx1"/>
                          </a:solidFill>
                        </a:rPr>
                        <a:t>Technology </a:t>
                      </a:r>
                    </a:p>
                    <a:p>
                      <a:pPr algn="ctr" latinLnBrk="1"/>
                      <a:r>
                        <a:rPr lang="en-US" altLang="ko-KR" sz="2400" b="1" dirty="0">
                          <a:solidFill>
                            <a:schemeClr val="tx1"/>
                          </a:solidFill>
                        </a:rPr>
                        <a:t>SW &amp; HW</a:t>
                      </a:r>
                    </a:p>
                    <a:p>
                      <a:pPr latinLnBrk="1"/>
                      <a:endParaRPr lang="en-US" altLang="ko-KR" sz="2400" dirty="0"/>
                    </a:p>
                    <a:p>
                      <a:pPr latinLnBrk="1"/>
                      <a:endParaRPr lang="ko-KR" altLang="en-US" sz="24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285750" indent="-285750" latinLnBrk="1">
                        <a:buFont typeface="Arial" panose="020B0604020202020204" pitchFamily="34" charset="0"/>
                        <a:buChar char="•"/>
                      </a:pPr>
                      <a:r>
                        <a:rPr lang="ko-KR" altLang="en-US" sz="2400" dirty="0"/>
                        <a:t>구조화</a:t>
                      </a:r>
                      <a:endParaRPr lang="en-US" altLang="ko-KR" sz="2400" dirty="0"/>
                    </a:p>
                    <a:p>
                      <a:pPr marL="285750" indent="-285750" latinLnBrk="1">
                        <a:buFont typeface="Arial" panose="020B0604020202020204" pitchFamily="34" charset="0"/>
                        <a:buChar char="•"/>
                      </a:pPr>
                      <a:r>
                        <a:rPr lang="ko-KR" altLang="en-US" sz="2400" dirty="0" err="1"/>
                        <a:t>그룹핑</a:t>
                      </a:r>
                      <a:endParaRPr lang="en-US" altLang="ko-KR" sz="2400" dirty="0"/>
                    </a:p>
                    <a:p>
                      <a:pPr marL="285750" indent="-285750" latinLnBrk="1">
                        <a:buFont typeface="Arial" panose="020B0604020202020204" pitchFamily="34" charset="0"/>
                        <a:buChar char="•"/>
                      </a:pPr>
                      <a:r>
                        <a:rPr lang="ko-KR" altLang="en-US" sz="2400" dirty="0"/>
                        <a:t>실시간</a:t>
                      </a:r>
                      <a:endParaRPr lang="en-US" altLang="ko-KR" sz="2400" dirty="0"/>
                    </a:p>
                    <a:p>
                      <a:pPr marL="285750" indent="-285750" latinLnBrk="1">
                        <a:buFont typeface="Arial" panose="020B0604020202020204" pitchFamily="34" charset="0"/>
                        <a:buChar char="•"/>
                      </a:pPr>
                      <a:r>
                        <a:rPr lang="ko-KR" altLang="en-US" sz="2400" dirty="0"/>
                        <a:t>정형</a:t>
                      </a:r>
                      <a:r>
                        <a:rPr lang="en-US" altLang="ko-KR" sz="2400" dirty="0"/>
                        <a:t>/</a:t>
                      </a:r>
                      <a:r>
                        <a:rPr lang="ko-KR" altLang="en-US" sz="2400" dirty="0"/>
                        <a:t>비정형 </a:t>
                      </a:r>
                      <a:r>
                        <a:rPr lang="ko-KR" altLang="en-US" sz="2400" dirty="0" err="1"/>
                        <a:t>융복합</a:t>
                      </a:r>
                      <a:r>
                        <a:rPr lang="ko-KR" altLang="en-US" sz="2400" dirty="0"/>
                        <a:t> </a:t>
                      </a:r>
                      <a:endParaRPr lang="en-US" altLang="ko-KR" sz="2400" dirty="0"/>
                    </a:p>
                    <a:p>
                      <a:pPr marL="285750" indent="-285750" latinLnBrk="1">
                        <a:buFont typeface="Arial" panose="020B0604020202020204" pitchFamily="34" charset="0"/>
                        <a:buChar char="•"/>
                      </a:pPr>
                      <a:endParaRPr lang="en-US" altLang="ko-KR" sz="2400" dirty="0"/>
                    </a:p>
                    <a:p>
                      <a:pPr marL="285750" indent="-285750" latinLnBrk="1">
                        <a:buFont typeface="Arial" panose="020B0604020202020204" pitchFamily="34" charset="0"/>
                        <a:buChar char="•"/>
                      </a:pPr>
                      <a:endParaRPr lang="en-US" altLang="ko-KR" sz="24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8" name="TextBox 7"/>
          <p:cNvSpPr txBox="1"/>
          <p:nvPr/>
        </p:nvSpPr>
        <p:spPr>
          <a:xfrm>
            <a:off x="6644097" y="4199054"/>
            <a:ext cx="1846659" cy="2254685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eaVert" wrap="square" rtlCol="0">
            <a:spAutoFit/>
          </a:bodyPr>
          <a:lstStyle/>
          <a:p>
            <a:pPr lvl="0" algn="ctr" latinLnBrk="1"/>
            <a:r>
              <a:rPr lang="ko-KR" altLang="en-US" b="1" dirty="0">
                <a:solidFill>
                  <a:srgbClr val="222222"/>
                </a:solidFill>
                <a:latin typeface="AppleSDGothicNeo-Light"/>
              </a:rPr>
              <a:t>발굴</a:t>
            </a:r>
            <a:endParaRPr lang="en-US" altLang="ko-KR" b="1" dirty="0">
              <a:solidFill>
                <a:srgbClr val="222222"/>
              </a:solidFill>
              <a:latin typeface="AppleSDGothicNeo-Light"/>
            </a:endParaRPr>
          </a:p>
          <a:p>
            <a:pPr lvl="0" algn="ctr" latinLnBrk="1"/>
            <a:r>
              <a:rPr lang="ko-KR" altLang="en-US" b="1" dirty="0">
                <a:solidFill>
                  <a:srgbClr val="222222"/>
                </a:solidFill>
                <a:latin typeface="AppleSDGothicNeo-Light"/>
              </a:rPr>
              <a:t>저장</a:t>
            </a:r>
            <a:r>
              <a:rPr lang="en-US" altLang="ko-KR" b="1" dirty="0">
                <a:solidFill>
                  <a:srgbClr val="222222"/>
                </a:solidFill>
                <a:latin typeface="AppleSDGothicNeo-Light"/>
              </a:rPr>
              <a:t>/</a:t>
            </a:r>
            <a:r>
              <a:rPr lang="ko-KR" altLang="en-US" b="1" dirty="0">
                <a:solidFill>
                  <a:srgbClr val="222222"/>
                </a:solidFill>
                <a:latin typeface="AppleSDGothicNeo-Light"/>
              </a:rPr>
              <a:t>관리</a:t>
            </a:r>
            <a:r>
              <a:rPr lang="en-US" altLang="ko-KR" b="1" dirty="0">
                <a:solidFill>
                  <a:srgbClr val="222222"/>
                </a:solidFill>
                <a:latin typeface="AppleSDGothicNeo-Light"/>
              </a:rPr>
              <a:t>/</a:t>
            </a:r>
          </a:p>
          <a:p>
            <a:pPr lvl="0" algn="ctr" latinLnBrk="1"/>
            <a:r>
              <a:rPr lang="ko-KR" altLang="en-US" b="1" dirty="0">
                <a:solidFill>
                  <a:srgbClr val="222222"/>
                </a:solidFill>
                <a:latin typeface="AppleSDGothicNeo-Light"/>
              </a:rPr>
              <a:t>분석</a:t>
            </a:r>
            <a:r>
              <a:rPr lang="en-US" altLang="ko-KR" b="1" dirty="0">
                <a:solidFill>
                  <a:srgbClr val="222222"/>
                </a:solidFill>
                <a:latin typeface="AppleSDGothicNeo-Light"/>
              </a:rPr>
              <a:t>&gt; </a:t>
            </a:r>
          </a:p>
          <a:p>
            <a:pPr lvl="0" algn="ctr" latinLnBrk="1"/>
            <a:r>
              <a:rPr lang="ko-KR" altLang="en-US" b="1" dirty="0">
                <a:solidFill>
                  <a:srgbClr val="222222"/>
                </a:solidFill>
                <a:latin typeface="AppleSDGothicNeo-Light"/>
              </a:rPr>
              <a:t>표현 전달</a:t>
            </a:r>
            <a:endParaRPr lang="en-US" altLang="ko-KR" b="1" dirty="0">
              <a:solidFill>
                <a:srgbClr val="222222"/>
              </a:solidFill>
              <a:latin typeface="AppleSDGothicNeo-Light"/>
            </a:endParaRPr>
          </a:p>
          <a:p>
            <a:pPr lvl="0" algn="ctr" latinLnBrk="1"/>
            <a:r>
              <a:rPr lang="ko-KR" altLang="en-US" b="1" dirty="0" err="1">
                <a:solidFill>
                  <a:srgbClr val="222222"/>
                </a:solidFill>
                <a:latin typeface="AppleSDGothicNeo-Light"/>
              </a:rPr>
              <a:t>프로세스별</a:t>
            </a:r>
            <a:endParaRPr lang="ko-KR" altLang="en-US" sz="1600" dirty="0"/>
          </a:p>
          <a:p>
            <a:pPr algn="ctr"/>
            <a:r>
              <a:rPr lang="en-US" altLang="ko-KR" dirty="0"/>
              <a:t> </a:t>
            </a:r>
            <a:endParaRPr lang="ko-KR" altLang="en-US" dirty="0"/>
          </a:p>
        </p:txBody>
      </p:sp>
      <p:sp>
        <p:nvSpPr>
          <p:cNvPr id="5" name="왼쪽 화살표 4"/>
          <p:cNvSpPr/>
          <p:nvPr/>
        </p:nvSpPr>
        <p:spPr>
          <a:xfrm>
            <a:off x="6561043" y="3807373"/>
            <a:ext cx="1600200" cy="853440"/>
          </a:xfrm>
          <a:prstGeom prst="leftArrow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9" name="제목 1">
            <a:extLst>
              <a:ext uri="{FF2B5EF4-FFF2-40B4-BE49-F238E27FC236}">
                <a16:creationId xmlns:a16="http://schemas.microsoft.com/office/drawing/2014/main" id="{2D2B4B54-02A0-4DE0-D8E1-DFEDCF4DCE24}"/>
              </a:ext>
            </a:extLst>
          </p:cNvPr>
          <p:cNvSpPr txBox="1">
            <a:spLocks/>
          </p:cNvSpPr>
          <p:nvPr/>
        </p:nvSpPr>
        <p:spPr>
          <a:xfrm>
            <a:off x="339798" y="100362"/>
            <a:ext cx="11558160" cy="1047718"/>
          </a:xfrm>
          <a:prstGeom prst="rect">
            <a:avLst/>
          </a:prstGeom>
          <a:solidFill>
            <a:srgbClr val="0070C0"/>
          </a:solidFill>
        </p:spPr>
        <p:txBody>
          <a:bodyPr vert="horz" lIns="91440" tIns="45720" rIns="91440" bIns="45720" rtlCol="0" anchor="ctr">
            <a:normAutofit fontScale="82500" lnSpcReduction="20000"/>
          </a:bodyPr>
          <a:lstStyle>
            <a:lvl1pPr algn="l" defTabSz="914400" rtl="0" eaLnBrk="1" latinLnBrk="1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altLang="ko-KR" sz="3600" b="1" kern="0">
                <a:latin typeface="+mj-ea"/>
              </a:rPr>
              <a:t> </a:t>
            </a:r>
            <a:br>
              <a:rPr lang="en-US" altLang="ko-KR" sz="3600" b="1" kern="0">
                <a:latin typeface="+mj-ea"/>
              </a:rPr>
            </a:br>
            <a:r>
              <a:rPr lang="en-US" altLang="ko-KR" sz="3600" b="1" kern="0">
                <a:latin typeface="+mj-ea"/>
              </a:rPr>
              <a:t> </a:t>
            </a:r>
            <a:r>
              <a:rPr lang="en-US" altLang="ko-KR" sz="3600" b="1" kern="0">
                <a:solidFill>
                  <a:schemeClr val="bg1"/>
                </a:solidFill>
                <a:latin typeface="+mj-ea"/>
              </a:rPr>
              <a:t>II. </a:t>
            </a:r>
            <a:r>
              <a:rPr lang="ko-KR" altLang="en-US" sz="3600" b="1">
                <a:solidFill>
                  <a:schemeClr val="bg1"/>
                </a:solidFill>
                <a:latin typeface="+mj-ea"/>
              </a:rPr>
              <a:t>빅데이터</a:t>
            </a:r>
            <a:r>
              <a:rPr lang="en-US" altLang="ko-KR" sz="3600" b="1">
                <a:solidFill>
                  <a:schemeClr val="bg1"/>
                </a:solidFill>
                <a:latin typeface="+mj-ea"/>
              </a:rPr>
              <a:t> &amp; AI</a:t>
            </a:r>
            <a:r>
              <a:rPr lang="ko-KR" altLang="en-US" sz="3600" b="1">
                <a:solidFill>
                  <a:schemeClr val="bg1"/>
                </a:solidFill>
                <a:latin typeface="+mj-ea"/>
              </a:rPr>
              <a:t>의 의미와 산업사회의 변화</a:t>
            </a:r>
            <a:r>
              <a:rPr lang="en-US" altLang="ko-KR" sz="3100" b="1">
                <a:solidFill>
                  <a:schemeClr val="bg1"/>
                </a:solidFill>
                <a:latin typeface="+mj-ea"/>
              </a:rPr>
              <a:t/>
            </a:r>
            <a:br>
              <a:rPr lang="en-US" altLang="ko-KR" sz="3100" b="1">
                <a:solidFill>
                  <a:schemeClr val="bg1"/>
                </a:solidFill>
                <a:latin typeface="+mj-ea"/>
              </a:rPr>
            </a:br>
            <a:endParaRPr lang="ko-KR" altLang="en-US" sz="3100" b="1" dirty="0">
              <a:solidFill>
                <a:schemeClr val="bg1"/>
              </a:solidFill>
              <a:latin typeface="HY강B" panose="02030600000101010101" pitchFamily="18" charset="-127"/>
              <a:ea typeface="HY강B" panose="02030600000101010101" pitchFamily="18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8807242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날짜 개체 틀 2">
            <a:extLst>
              <a:ext uri="{FF2B5EF4-FFF2-40B4-BE49-F238E27FC236}">
                <a16:creationId xmlns:a16="http://schemas.microsoft.com/office/drawing/2014/main" id="{8BEC0EEF-E580-1F75-2490-8A8B2F4D11C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FC9B95B-9606-41FD-9410-F2B308BBF263}" type="datetime1">
              <a:rPr lang="en-US" altLang="ko-KR" smtClean="0"/>
              <a:t>6/22/2023</a:t>
            </a:fld>
            <a:endParaRPr lang="en-US" dirty="0"/>
          </a:p>
        </p:txBody>
      </p:sp>
      <p:sp>
        <p:nvSpPr>
          <p:cNvPr id="6" name="TextBox 5"/>
          <p:cNvSpPr txBox="1"/>
          <p:nvPr/>
        </p:nvSpPr>
        <p:spPr>
          <a:xfrm>
            <a:off x="339798" y="1272594"/>
            <a:ext cx="4373880" cy="461665"/>
          </a:xfrm>
          <a:prstGeom prst="rect">
            <a:avLst/>
          </a:prstGeom>
          <a:solidFill>
            <a:srgbClr val="002060"/>
          </a:solidFill>
        </p:spPr>
        <p:txBody>
          <a:bodyPr wrap="square" rtlCol="0">
            <a:spAutoFit/>
          </a:bodyPr>
          <a:lstStyle/>
          <a:p>
            <a:r>
              <a:rPr lang="ko-KR" altLang="en-US" sz="2400" dirty="0" err="1">
                <a:solidFill>
                  <a:schemeClr val="bg1"/>
                </a:solidFill>
              </a:rPr>
              <a:t>빅데이터</a:t>
            </a:r>
            <a:r>
              <a:rPr lang="ko-KR" altLang="en-US" sz="2400" dirty="0">
                <a:solidFill>
                  <a:schemeClr val="bg1"/>
                </a:solidFill>
              </a:rPr>
              <a:t> </a:t>
            </a:r>
            <a:r>
              <a:rPr lang="en-US" altLang="ko-KR" sz="2400" dirty="0">
                <a:solidFill>
                  <a:schemeClr val="bg1"/>
                </a:solidFill>
              </a:rPr>
              <a:t>&amp; </a:t>
            </a:r>
            <a:r>
              <a:rPr lang="ko-KR" altLang="en-US" sz="2400" dirty="0">
                <a:solidFill>
                  <a:schemeClr val="bg1"/>
                </a:solidFill>
              </a:rPr>
              <a:t> </a:t>
            </a:r>
            <a:r>
              <a:rPr lang="en-US" altLang="ko-KR" sz="2400" dirty="0">
                <a:solidFill>
                  <a:schemeClr val="bg1"/>
                </a:solidFill>
              </a:rPr>
              <a:t>AI  </a:t>
            </a:r>
            <a:r>
              <a:rPr lang="ko-KR" altLang="en-US" sz="2400" dirty="0">
                <a:solidFill>
                  <a:schemeClr val="bg1"/>
                </a:solidFill>
              </a:rPr>
              <a:t>생태현황</a:t>
            </a:r>
            <a:r>
              <a:rPr lang="en-US" altLang="ko-KR" sz="2400" dirty="0">
                <a:solidFill>
                  <a:schemeClr val="bg1"/>
                </a:solidFill>
              </a:rPr>
              <a:t> </a:t>
            </a:r>
            <a:r>
              <a:rPr lang="ko-KR" altLang="en-US" sz="2400" dirty="0">
                <a:solidFill>
                  <a:schemeClr val="bg1"/>
                </a:solidFill>
              </a:rPr>
              <a:t> </a:t>
            </a:r>
            <a:endParaRPr lang="ko-KR" altLang="en-US" dirty="0">
              <a:solidFill>
                <a:schemeClr val="bg1"/>
              </a:solidFill>
            </a:endParaRPr>
          </a:p>
        </p:txBody>
      </p:sp>
      <p:sp>
        <p:nvSpPr>
          <p:cNvPr id="4" name="직사각형 3"/>
          <p:cNvSpPr/>
          <p:nvPr/>
        </p:nvSpPr>
        <p:spPr>
          <a:xfrm>
            <a:off x="262886" y="3163172"/>
            <a:ext cx="7489928" cy="34778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l"/>
            </a:pPr>
            <a:r>
              <a:rPr lang="ko-KR" altLang="en-US" sz="2000" b="1" i="1" dirty="0">
                <a:solidFill>
                  <a:srgbClr val="676763"/>
                </a:solidFill>
                <a:latin typeface="NanumGothic" panose="020D0604000000000000" pitchFamily="50" charset="-127"/>
                <a:ea typeface="NanumGothic" panose="020D0604000000000000" pitchFamily="50" charset="-127"/>
              </a:rPr>
              <a:t>세계경제포럼</a:t>
            </a:r>
            <a:r>
              <a:rPr lang="en-US" altLang="ko-KR" sz="2000" b="1" i="1" dirty="0">
                <a:solidFill>
                  <a:srgbClr val="676763"/>
                </a:solidFill>
                <a:latin typeface="NanumGothic" panose="020D0604000000000000" pitchFamily="50" charset="-127"/>
                <a:ea typeface="NanumGothic" panose="020D0604000000000000" pitchFamily="50" charset="-127"/>
              </a:rPr>
              <a:t>(WEF)</a:t>
            </a:r>
            <a:r>
              <a:rPr lang="ko-KR" altLang="en-US" sz="2000" b="1" i="1" dirty="0">
                <a:solidFill>
                  <a:srgbClr val="676763"/>
                </a:solidFill>
                <a:latin typeface="NanumGothic" panose="020D0604000000000000" pitchFamily="50" charset="-127"/>
                <a:ea typeface="NanumGothic" panose="020D0604000000000000" pitchFamily="50" charset="-127"/>
              </a:rPr>
              <a:t>에서 발표된 </a:t>
            </a:r>
            <a:r>
              <a:rPr lang="ko-KR" altLang="en-US" sz="2000" b="1" i="1" dirty="0">
                <a:solidFill>
                  <a:srgbClr val="676763"/>
                </a:solidFill>
                <a:latin typeface="NanumGothic" panose="020D0604000000000000" pitchFamily="50" charset="-127"/>
              </a:rPr>
              <a:t>‘</a:t>
            </a:r>
            <a:r>
              <a:rPr lang="ko-KR" altLang="en-US" sz="2000" b="1" i="1" dirty="0">
                <a:solidFill>
                  <a:srgbClr val="676763"/>
                </a:solidFill>
                <a:latin typeface="NanumGothic" panose="020D0604000000000000" pitchFamily="50" charset="-127"/>
                <a:ea typeface="NanumGothic" panose="020D0604000000000000" pitchFamily="50" charset="-127"/>
              </a:rPr>
              <a:t>글로벌 </a:t>
            </a:r>
            <a:r>
              <a:rPr lang="en-US" altLang="ko-KR" sz="2000" b="1" i="1" dirty="0">
                <a:solidFill>
                  <a:srgbClr val="676763"/>
                </a:solidFill>
                <a:latin typeface="NanumGothic" panose="020D0604000000000000" pitchFamily="50" charset="-127"/>
                <a:ea typeface="NanumGothic" panose="020D0604000000000000" pitchFamily="50" charset="-127"/>
              </a:rPr>
              <a:t>AI</a:t>
            </a:r>
            <a:r>
              <a:rPr lang="ko-KR" altLang="en-US" sz="2000" b="1" i="1" dirty="0">
                <a:solidFill>
                  <a:srgbClr val="676763"/>
                </a:solidFill>
                <a:latin typeface="NanumGothic" panose="020D0604000000000000" pitchFamily="50" charset="-127"/>
                <a:ea typeface="NanumGothic" panose="020D0604000000000000" pitchFamily="50" charset="-127"/>
              </a:rPr>
              <a:t>인덱스</a:t>
            </a:r>
            <a:r>
              <a:rPr lang="ko-KR" altLang="en-US" sz="2000" b="1" i="1" dirty="0">
                <a:solidFill>
                  <a:srgbClr val="676763"/>
                </a:solidFill>
                <a:latin typeface="NanumGothic" panose="020D0604000000000000" pitchFamily="50" charset="-127"/>
              </a:rPr>
              <a:t>’</a:t>
            </a:r>
            <a:endParaRPr lang="en-US" altLang="ko-KR" sz="2000" b="1" i="1" dirty="0">
              <a:solidFill>
                <a:srgbClr val="676763"/>
              </a:solidFill>
              <a:latin typeface="NanumGothic" panose="020D0604000000000000" pitchFamily="50" charset="-127"/>
              <a:ea typeface="NanumGothic" panose="020D0604000000000000" pitchFamily="50" charset="-127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ko-KR" altLang="en-US" b="1" dirty="0">
                <a:solidFill>
                  <a:srgbClr val="676763"/>
                </a:solidFill>
                <a:latin typeface="NanumGothic" panose="020D0604000000000000" pitchFamily="50" charset="-127"/>
                <a:ea typeface="NanumGothic" panose="020D0604000000000000" pitchFamily="50" charset="-127"/>
              </a:rPr>
              <a:t>한국  </a:t>
            </a:r>
            <a:r>
              <a:rPr lang="en-US" altLang="ko-KR" b="1" dirty="0">
                <a:solidFill>
                  <a:srgbClr val="676763"/>
                </a:solidFill>
                <a:latin typeface="NanumGothic" panose="020D0604000000000000" pitchFamily="50" charset="-127"/>
                <a:ea typeface="NanumGothic" panose="020D0604000000000000" pitchFamily="50" charset="-127"/>
              </a:rPr>
              <a:t>54</a:t>
            </a:r>
            <a:r>
              <a:rPr lang="ko-KR" altLang="en-US" b="1" dirty="0">
                <a:solidFill>
                  <a:srgbClr val="676763"/>
                </a:solidFill>
                <a:latin typeface="NanumGothic" panose="020D0604000000000000" pitchFamily="50" charset="-127"/>
                <a:ea typeface="NanumGothic" panose="020D0604000000000000" pitchFamily="50" charset="-127"/>
              </a:rPr>
              <a:t>개국 중 종합순위 </a:t>
            </a:r>
            <a:r>
              <a:rPr lang="en-US" altLang="ko-KR" b="1" dirty="0">
                <a:solidFill>
                  <a:srgbClr val="676763"/>
                </a:solidFill>
                <a:latin typeface="NanumGothic" panose="020D0604000000000000" pitchFamily="50" charset="-127"/>
                <a:ea typeface="NanumGothic" panose="020D0604000000000000" pitchFamily="50" charset="-127"/>
              </a:rPr>
              <a:t>8</a:t>
            </a:r>
            <a:r>
              <a:rPr lang="ko-KR" altLang="en-US" b="1" dirty="0">
                <a:solidFill>
                  <a:srgbClr val="676763"/>
                </a:solidFill>
                <a:latin typeface="NanumGothic" panose="020D0604000000000000" pitchFamily="50" charset="-127"/>
                <a:ea typeface="NanumGothic" panose="020D0604000000000000" pitchFamily="50" charset="-127"/>
              </a:rPr>
              <a:t>위를 기록 </a:t>
            </a:r>
            <a:endParaRPr lang="en-US" altLang="ko-KR" b="1" dirty="0">
              <a:solidFill>
                <a:srgbClr val="676763"/>
              </a:solidFill>
              <a:latin typeface="NanumGothic" panose="020D0604000000000000" pitchFamily="50" charset="-127"/>
              <a:ea typeface="NanumGothic" panose="020D0604000000000000" pitchFamily="50" charset="-127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ko-KR" b="1" dirty="0"/>
              <a:t>5</a:t>
            </a:r>
            <a:r>
              <a:rPr lang="ko-KR" altLang="en-US" b="1" dirty="0"/>
              <a:t>년 안에 로봇이 인간을 대체해 </a:t>
            </a:r>
            <a:r>
              <a:rPr lang="en-US" altLang="ko-KR" b="1" dirty="0"/>
              <a:t>8500</a:t>
            </a:r>
            <a:r>
              <a:rPr lang="ko-KR" altLang="en-US" b="1" dirty="0"/>
              <a:t>만개 일자리를 소멸</a:t>
            </a:r>
            <a:endParaRPr lang="en-US" altLang="ko-KR" b="1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ko-KR" altLang="en-US" b="1" dirty="0"/>
              <a:t>반면 </a:t>
            </a:r>
            <a:r>
              <a:rPr lang="en-US" altLang="ko-KR" b="1" dirty="0"/>
              <a:t>AI</a:t>
            </a:r>
            <a:r>
              <a:rPr lang="ko-KR" altLang="en-US" b="1" dirty="0"/>
              <a:t>와 </a:t>
            </a:r>
            <a:r>
              <a:rPr lang="ko-KR" altLang="en-US" b="1" dirty="0" err="1"/>
              <a:t>빅데이터</a:t>
            </a:r>
            <a:r>
              <a:rPr lang="en-US" altLang="ko-KR" b="1" dirty="0"/>
              <a:t>,</a:t>
            </a:r>
            <a:r>
              <a:rPr lang="ko-KR" altLang="en-US" b="1" dirty="0"/>
              <a:t> 메타버스와 </a:t>
            </a:r>
            <a:r>
              <a:rPr lang="ko-KR" altLang="en-US" b="1" dirty="0" err="1"/>
              <a:t>콘텐츠</a:t>
            </a:r>
            <a:r>
              <a:rPr lang="ko-KR" altLang="en-US" b="1" dirty="0"/>
              <a:t> 창출 분야에서 </a:t>
            </a:r>
            <a:r>
              <a:rPr lang="en-US" altLang="ko-KR" b="1" dirty="0"/>
              <a:t>9700</a:t>
            </a:r>
            <a:r>
              <a:rPr lang="ko-KR" altLang="en-US" b="1" dirty="0"/>
              <a:t>만개 새 일자리 등장</a:t>
            </a:r>
            <a:endParaRPr lang="en-US" altLang="ko-KR" b="1" dirty="0"/>
          </a:p>
          <a:p>
            <a:pPr marL="285750" indent="-285750">
              <a:buFont typeface="Wingdings" panose="05000000000000000000" pitchFamily="2" charset="2"/>
              <a:buChar char="l"/>
            </a:pPr>
            <a:r>
              <a:rPr lang="ko-KR" altLang="en-US" b="1" dirty="0"/>
              <a:t>윤 대통령</a:t>
            </a:r>
            <a:r>
              <a:rPr lang="en-US" altLang="ko-KR" b="1" dirty="0"/>
              <a:t>:</a:t>
            </a:r>
            <a:r>
              <a:rPr lang="ko-KR" altLang="en-US" b="1" dirty="0"/>
              <a:t> 글로벌 인공지능 경쟁력을 세계 </a:t>
            </a:r>
            <a:r>
              <a:rPr lang="en-US" altLang="ko-KR" b="1" dirty="0"/>
              <a:t>3</a:t>
            </a:r>
            <a:r>
              <a:rPr lang="ko-KR" altLang="en-US" b="1" dirty="0"/>
              <a:t>위 수준  목표</a:t>
            </a:r>
            <a:r>
              <a:rPr lang="en-US" altLang="ko-KR" b="1" dirty="0"/>
              <a:t>,              </a:t>
            </a:r>
            <a:r>
              <a:rPr lang="ko-KR" altLang="en-US" b="1" dirty="0"/>
              <a:t>데이터 시장 규모를 </a:t>
            </a:r>
            <a:r>
              <a:rPr lang="en-US" altLang="ko-KR" b="1" dirty="0"/>
              <a:t>50</a:t>
            </a:r>
            <a:r>
              <a:rPr lang="ko-KR" altLang="en-US" b="1" dirty="0"/>
              <a:t>조 원 이상 확대지원 </a:t>
            </a:r>
            <a:endParaRPr lang="en-US" altLang="ko-KR" b="1" dirty="0"/>
          </a:p>
          <a:p>
            <a:pPr marL="285750" indent="-285750">
              <a:buFont typeface="Wingdings" panose="05000000000000000000" pitchFamily="2" charset="2"/>
              <a:buChar char="l"/>
            </a:pPr>
            <a:endParaRPr lang="en-US" altLang="ko-KR" dirty="0">
              <a:solidFill>
                <a:srgbClr val="676763"/>
              </a:solidFill>
              <a:latin typeface="NanumGothic" panose="020D0604000000000000" pitchFamily="50" charset="-127"/>
              <a:ea typeface="NanumGothic" panose="020D0604000000000000" pitchFamily="50" charset="-127"/>
            </a:endParaRPr>
          </a:p>
          <a:p>
            <a:pPr marL="285750" indent="-285750">
              <a:buFont typeface="Wingdings" panose="05000000000000000000" pitchFamily="2" charset="2"/>
              <a:buChar char="l"/>
            </a:pPr>
            <a:r>
              <a:rPr lang="en-US" altLang="ko-KR" sz="2000" b="1" i="1" dirty="0"/>
              <a:t>KDI 2020 </a:t>
            </a:r>
            <a:r>
              <a:rPr lang="ko-KR" altLang="en-US" sz="2000" b="1" i="1" dirty="0"/>
              <a:t>설문조사</a:t>
            </a:r>
            <a:r>
              <a:rPr lang="en-US" altLang="ko-KR" sz="2000" b="1" i="1" dirty="0"/>
              <a:t> </a:t>
            </a:r>
            <a:r>
              <a:rPr lang="ko-KR" altLang="en-US" sz="2000" b="1" i="1" dirty="0"/>
              <a:t>결과</a:t>
            </a:r>
            <a:r>
              <a:rPr lang="en-US" altLang="ko-KR" sz="2000" b="1" i="1" dirty="0"/>
              <a:t>(91% </a:t>
            </a:r>
            <a:r>
              <a:rPr lang="ko-KR" altLang="en-US" sz="2000" b="1" i="1" dirty="0"/>
              <a:t>대기업 </a:t>
            </a:r>
            <a:r>
              <a:rPr lang="en-US" altLang="ko-KR" sz="2000" b="1" i="1" dirty="0"/>
              <a:t>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ko-KR" altLang="en-US" b="1" dirty="0"/>
              <a:t>기업체 </a:t>
            </a:r>
            <a:r>
              <a:rPr lang="en-US" altLang="ko-KR" b="1" dirty="0"/>
              <a:t>3.6%</a:t>
            </a:r>
            <a:r>
              <a:rPr lang="ko-KR" altLang="en-US" b="1" dirty="0"/>
              <a:t>만이 </a:t>
            </a:r>
            <a:r>
              <a:rPr lang="en-US" altLang="ko-KR" b="1" dirty="0"/>
              <a:t>AI</a:t>
            </a:r>
            <a:r>
              <a:rPr lang="ko-KR" altLang="en-US" b="1" dirty="0"/>
              <a:t>기술 및 솔루션을 도입</a:t>
            </a:r>
            <a:r>
              <a:rPr lang="en-US" altLang="ko-KR" b="1" dirty="0"/>
              <a:t>, </a:t>
            </a:r>
            <a:r>
              <a:rPr lang="ko-KR" altLang="en-US" b="1" dirty="0"/>
              <a:t>적용분야와 활용기술도 </a:t>
            </a:r>
            <a:r>
              <a:rPr lang="en-US" altLang="ko-KR" b="1" dirty="0"/>
              <a:t>＇IT </a:t>
            </a:r>
            <a:r>
              <a:rPr lang="ko-KR" altLang="en-US" b="1" dirty="0"/>
              <a:t>자동화 및 사이버 보안</a:t>
            </a:r>
            <a:r>
              <a:rPr lang="en-US" altLang="ko-KR" b="1" dirty="0"/>
              <a:t>(44.4%)/</a:t>
            </a:r>
            <a:r>
              <a:rPr lang="ko-KR" altLang="en-US" b="1" dirty="0"/>
              <a:t>품질관리에 한정 </a:t>
            </a:r>
            <a:endParaRPr lang="en-US" altLang="ko-KR" b="1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ko-KR" b="1" dirty="0"/>
              <a:t>AI</a:t>
            </a:r>
            <a:r>
              <a:rPr lang="ko-KR" altLang="en-US" b="1" dirty="0"/>
              <a:t>기술을 도입기업 </a:t>
            </a:r>
            <a:r>
              <a:rPr lang="en-US" altLang="ko-KR" b="1" dirty="0"/>
              <a:t>77.8%</a:t>
            </a:r>
            <a:r>
              <a:rPr lang="ko-KR" altLang="en-US" b="1" dirty="0"/>
              <a:t>가 경영 및 성과에 도움</a:t>
            </a:r>
            <a:r>
              <a:rPr lang="en-US" altLang="ko-KR" b="1" dirty="0"/>
              <a:t>&gt; P↓</a:t>
            </a:r>
            <a:r>
              <a:rPr lang="ko-KR" altLang="en-US" b="1" dirty="0"/>
              <a:t>매출 </a:t>
            </a:r>
            <a:r>
              <a:rPr lang="en-US" altLang="ko-KR" b="1" dirty="0"/>
              <a:t>50%</a:t>
            </a:r>
            <a:r>
              <a:rPr lang="ko-KR" altLang="en-US" b="1" dirty="0"/>
              <a:t> 인력</a:t>
            </a:r>
            <a:r>
              <a:rPr lang="en-US" altLang="ko-KR" b="1" dirty="0"/>
              <a:t>41%</a:t>
            </a:r>
            <a:r>
              <a:rPr lang="ko-KR" altLang="en-US" b="1" dirty="0"/>
              <a:t> </a:t>
            </a:r>
            <a:endParaRPr lang="ko-KR" altLang="en-US" dirty="0"/>
          </a:p>
        </p:txBody>
      </p:sp>
      <p:sp>
        <p:nvSpPr>
          <p:cNvPr id="7" name="TextBox 6"/>
          <p:cNvSpPr txBox="1"/>
          <p:nvPr/>
        </p:nvSpPr>
        <p:spPr>
          <a:xfrm>
            <a:off x="339798" y="1962843"/>
            <a:ext cx="9760517" cy="1200329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ko-KR" altLang="en-US" b="1" dirty="0" err="1"/>
              <a:t>빅데이터와</a:t>
            </a:r>
            <a:r>
              <a:rPr lang="ko-KR" altLang="en-US" b="1" dirty="0"/>
              <a:t> 인공지능은 상호 필수 보완 관계</a:t>
            </a:r>
            <a:endParaRPr lang="en-US" altLang="ko-KR" b="1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ko-KR" b="1" dirty="0"/>
              <a:t>AI</a:t>
            </a:r>
            <a:r>
              <a:rPr lang="ko-KR" altLang="en-US" b="1" dirty="0"/>
              <a:t>가 갖는 </a:t>
            </a:r>
            <a:r>
              <a:rPr lang="en-US" altLang="ko-KR" b="1" dirty="0"/>
              <a:t>'</a:t>
            </a:r>
            <a:r>
              <a:rPr lang="ko-KR" altLang="en-US" b="1" dirty="0"/>
              <a:t>생성 능력</a:t>
            </a:r>
            <a:r>
              <a:rPr lang="en-US" altLang="ko-KR" b="1" dirty="0"/>
              <a:t>'</a:t>
            </a:r>
            <a:r>
              <a:rPr lang="ko-KR" altLang="en-US" b="1" dirty="0"/>
              <a:t>은 결국 제공되는 데이터의 양과 범위</a:t>
            </a:r>
            <a:r>
              <a:rPr lang="en-US" altLang="ko-KR" b="1" dirty="0"/>
              <a:t>, </a:t>
            </a:r>
            <a:r>
              <a:rPr lang="ko-KR" altLang="en-US" b="1" dirty="0"/>
              <a:t>그리고 품질에 좌우</a:t>
            </a:r>
            <a:endParaRPr lang="en-US" altLang="ko-KR" b="1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ko-KR" altLang="en-US" b="1" dirty="0" err="1"/>
              <a:t>빅데이터</a:t>
            </a:r>
            <a:r>
              <a:rPr lang="ko-KR" altLang="en-US" b="1" dirty="0"/>
              <a:t> </a:t>
            </a:r>
            <a:r>
              <a:rPr lang="en-US" altLang="ko-KR" b="1" dirty="0"/>
              <a:t>75% </a:t>
            </a:r>
            <a:r>
              <a:rPr lang="ko-KR" altLang="en-US" b="1" dirty="0"/>
              <a:t>와 </a:t>
            </a:r>
            <a:r>
              <a:rPr lang="en-US" altLang="ko-KR" b="1" dirty="0"/>
              <a:t> AI 25%  </a:t>
            </a:r>
            <a:r>
              <a:rPr lang="ko-KR" altLang="en-US" b="1" dirty="0"/>
              <a:t>프로세스</a:t>
            </a:r>
            <a:r>
              <a:rPr lang="en-US" altLang="ko-KR" b="1" dirty="0"/>
              <a:t>  </a:t>
            </a:r>
            <a:r>
              <a:rPr lang="ko-KR" altLang="en-US" b="1" dirty="0"/>
              <a:t>기능</a:t>
            </a:r>
            <a:r>
              <a:rPr lang="en-US" altLang="ko-KR" b="1" dirty="0"/>
              <a:t> &gt; </a:t>
            </a:r>
            <a:r>
              <a:rPr lang="ko-KR" altLang="en-US" b="1" dirty="0"/>
              <a:t>편의적 혜택 제공이 가능</a:t>
            </a:r>
            <a:endParaRPr lang="en-US" altLang="ko-KR" b="1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ko-KR" altLang="en-US" b="1" dirty="0"/>
              <a:t> </a:t>
            </a:r>
            <a:r>
              <a:rPr lang="en-US" altLang="ko-KR" b="1" dirty="0" err="1"/>
              <a:t>ChatGPT</a:t>
            </a:r>
            <a:r>
              <a:rPr lang="ko-KR" altLang="en-US" b="1" dirty="0"/>
              <a:t>도 </a:t>
            </a:r>
            <a:r>
              <a:rPr lang="ko-KR" altLang="en-US" b="1" dirty="0" err="1"/>
              <a:t>머신러닝과</a:t>
            </a:r>
            <a:r>
              <a:rPr lang="ko-KR" altLang="en-US" b="1" dirty="0"/>
              <a:t> </a:t>
            </a:r>
            <a:r>
              <a:rPr lang="ko-KR" altLang="en-US" b="1" dirty="0" err="1"/>
              <a:t>딥러닝</a:t>
            </a:r>
            <a:r>
              <a:rPr lang="ko-KR" altLang="en-US" b="1" dirty="0"/>
              <a:t> 알고리즘을 사용해 </a:t>
            </a:r>
            <a:r>
              <a:rPr lang="ko-KR" altLang="en-US" b="1" dirty="0" err="1"/>
              <a:t>빅데이터를</a:t>
            </a:r>
            <a:r>
              <a:rPr lang="ko-KR" altLang="en-US" b="1" dirty="0"/>
              <a:t> 학습하여 훈련해야 성과 확대</a:t>
            </a:r>
          </a:p>
        </p:txBody>
      </p:sp>
      <p:pic>
        <p:nvPicPr>
          <p:cNvPr id="9" name="그림 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345254" y="3297177"/>
            <a:ext cx="4983480" cy="2975742"/>
          </a:xfrm>
          <a:prstGeom prst="rect">
            <a:avLst/>
          </a:prstGeom>
        </p:spPr>
      </p:pic>
      <p:sp>
        <p:nvSpPr>
          <p:cNvPr id="2" name="제목 1">
            <a:extLst>
              <a:ext uri="{FF2B5EF4-FFF2-40B4-BE49-F238E27FC236}">
                <a16:creationId xmlns:a16="http://schemas.microsoft.com/office/drawing/2014/main" id="{9BDA1BF7-BB72-77B2-0FDE-22BA8D8D7EB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9798" y="100362"/>
            <a:ext cx="11558160" cy="1047718"/>
          </a:xfrm>
          <a:solidFill>
            <a:srgbClr val="0070C0"/>
          </a:solidFill>
        </p:spPr>
        <p:txBody>
          <a:bodyPr>
            <a:normAutofit fontScale="90000"/>
          </a:bodyPr>
          <a:lstStyle/>
          <a:p>
            <a:r>
              <a:rPr lang="en-US" altLang="ko-KR" sz="3600" b="1" kern="0" dirty="0">
                <a:latin typeface="+mj-ea"/>
              </a:rPr>
              <a:t> </a:t>
            </a:r>
            <a:br>
              <a:rPr lang="en-US" altLang="ko-KR" sz="3600" b="1" kern="0" dirty="0">
                <a:latin typeface="+mj-ea"/>
              </a:rPr>
            </a:br>
            <a:r>
              <a:rPr lang="en-US" altLang="ko-KR" sz="3600" b="1" kern="0" dirty="0">
                <a:latin typeface="+mj-ea"/>
              </a:rPr>
              <a:t> </a:t>
            </a:r>
            <a:r>
              <a:rPr kumimoji="0" lang="en-US" altLang="ko-KR" sz="3600" b="1" kern="0" dirty="0">
                <a:solidFill>
                  <a:schemeClr val="bg1"/>
                </a:solidFill>
                <a:latin typeface="+mj-ea"/>
                <a:ea typeface="+mj-ea"/>
              </a:rPr>
              <a:t>II. </a:t>
            </a:r>
            <a:r>
              <a:rPr lang="ko-KR" altLang="en-US" sz="3600" b="1" dirty="0">
                <a:solidFill>
                  <a:schemeClr val="bg1"/>
                </a:solidFill>
                <a:latin typeface="+mj-ea"/>
                <a:ea typeface="+mj-ea"/>
              </a:rPr>
              <a:t>빅데이터</a:t>
            </a:r>
            <a:r>
              <a:rPr lang="en-US" altLang="ko-KR" sz="3600" b="1" dirty="0">
                <a:solidFill>
                  <a:schemeClr val="bg1"/>
                </a:solidFill>
                <a:latin typeface="+mj-ea"/>
                <a:ea typeface="+mj-ea"/>
              </a:rPr>
              <a:t> &amp; AI</a:t>
            </a:r>
            <a:r>
              <a:rPr lang="ko-KR" altLang="en-US" sz="3600" b="1" dirty="0">
                <a:solidFill>
                  <a:schemeClr val="bg1"/>
                </a:solidFill>
                <a:latin typeface="+mj-ea"/>
                <a:ea typeface="+mj-ea"/>
              </a:rPr>
              <a:t>의 의미와 산업사회의 변화</a:t>
            </a:r>
            <a:r>
              <a:rPr lang="en-US" altLang="ko-KR" sz="3100" b="1" dirty="0">
                <a:solidFill>
                  <a:schemeClr val="bg1"/>
                </a:solidFill>
                <a:latin typeface="+mj-ea"/>
              </a:rPr>
              <a:t/>
            </a:r>
            <a:br>
              <a:rPr lang="en-US" altLang="ko-KR" sz="3100" b="1" dirty="0">
                <a:solidFill>
                  <a:schemeClr val="bg1"/>
                </a:solidFill>
                <a:latin typeface="+mj-ea"/>
              </a:rPr>
            </a:br>
            <a:endParaRPr lang="ko-KR" altLang="en-US" sz="3100" b="1" dirty="0">
              <a:solidFill>
                <a:schemeClr val="bg1"/>
              </a:solidFill>
              <a:latin typeface="HY강B" panose="02030600000101010101" pitchFamily="18" charset="-127"/>
              <a:ea typeface="HY강B" panose="02030600000101010101" pitchFamily="18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01205485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날짜 개체 틀 2">
            <a:extLst>
              <a:ext uri="{FF2B5EF4-FFF2-40B4-BE49-F238E27FC236}">
                <a16:creationId xmlns:a16="http://schemas.microsoft.com/office/drawing/2014/main" id="{8BEC0EEF-E580-1F75-2490-8A8B2F4D11C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FC9B95B-9606-41FD-9410-F2B308BBF263}" type="datetime1">
              <a:rPr lang="en-US" altLang="ko-KR" smtClean="0"/>
              <a:t>6/22/2023</a:t>
            </a:fld>
            <a:endParaRPr lang="en-US" dirty="0"/>
          </a:p>
        </p:txBody>
      </p:sp>
      <p:sp>
        <p:nvSpPr>
          <p:cNvPr id="6" name="TextBox 5"/>
          <p:cNvSpPr txBox="1"/>
          <p:nvPr/>
        </p:nvSpPr>
        <p:spPr>
          <a:xfrm>
            <a:off x="291030" y="1267968"/>
            <a:ext cx="3854250" cy="523220"/>
          </a:xfrm>
          <a:prstGeom prst="rect">
            <a:avLst/>
          </a:prstGeom>
          <a:solidFill>
            <a:srgbClr val="0070C0"/>
          </a:solidFill>
        </p:spPr>
        <p:txBody>
          <a:bodyPr wrap="square" rtlCol="0">
            <a:spAutoFit/>
          </a:bodyPr>
          <a:lstStyle/>
          <a:p>
            <a:r>
              <a:rPr lang="ko-KR" altLang="en-US" sz="2800" b="1" spc="-20" dirty="0">
                <a:solidFill>
                  <a:schemeClr val="bg1"/>
                </a:solidFill>
                <a:latin typeface="HY신문명조"/>
                <a:ea typeface="dotum" panose="020B0600000101010101" pitchFamily="50" charset="-127"/>
              </a:rPr>
              <a:t> </a:t>
            </a:r>
            <a:r>
              <a:rPr lang="en-US" altLang="ko-KR" sz="2800" b="1" spc="-20" dirty="0">
                <a:solidFill>
                  <a:schemeClr val="bg1"/>
                </a:solidFill>
                <a:latin typeface="HY신문명조"/>
                <a:ea typeface="dotum" panose="020B0600000101010101" pitchFamily="50" charset="-127"/>
              </a:rPr>
              <a:t>AI </a:t>
            </a:r>
            <a:r>
              <a:rPr lang="ko-KR" altLang="en-US" sz="2800" b="1" spc="-20" dirty="0">
                <a:solidFill>
                  <a:schemeClr val="bg1"/>
                </a:solidFill>
                <a:latin typeface="HY신문명조"/>
                <a:ea typeface="dotum" panose="020B0600000101010101" pitchFamily="50" charset="-127"/>
              </a:rPr>
              <a:t>시장 생태계의 성장 </a:t>
            </a:r>
            <a:endParaRPr lang="ko-KR" altLang="en-US" sz="2800" dirty="0">
              <a:solidFill>
                <a:schemeClr val="bg1"/>
              </a:solidFill>
            </a:endParaRPr>
          </a:p>
        </p:txBody>
      </p:sp>
      <p:sp>
        <p:nvSpPr>
          <p:cNvPr id="4" name="직사각형 3"/>
          <p:cNvSpPr/>
          <p:nvPr/>
        </p:nvSpPr>
        <p:spPr>
          <a:xfrm>
            <a:off x="201499" y="2072181"/>
            <a:ext cx="11789001" cy="4401205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marL="349250" marR="63500" indent="-285750">
              <a:buFont typeface="Wingdings" panose="05000000000000000000" pitchFamily="2" charset="2"/>
              <a:buChar char="l"/>
            </a:pPr>
            <a:r>
              <a:rPr lang="ko-KR" altLang="en-US" sz="2000" b="1" spc="-20" dirty="0">
                <a:latin typeface="HY신문명조"/>
                <a:ea typeface="dotum" panose="020B0600000101010101" pitchFamily="50" charset="-127"/>
              </a:rPr>
              <a:t>미국의 시장조사기관 </a:t>
            </a:r>
            <a:r>
              <a:rPr lang="ko-KR" altLang="en-US" sz="2000" b="1" spc="-20" dirty="0" err="1">
                <a:latin typeface="HY신문명조"/>
                <a:ea typeface="dotum" panose="020B0600000101010101" pitchFamily="50" charset="-127"/>
              </a:rPr>
              <a:t>그랜드뷰리서치</a:t>
            </a:r>
            <a:r>
              <a:rPr lang="ko-KR" altLang="en-US" sz="2000" b="1" spc="-20" dirty="0">
                <a:latin typeface="HY신문명조"/>
                <a:ea typeface="dotum" panose="020B0600000101010101" pitchFamily="50" charset="-127"/>
              </a:rPr>
              <a:t> </a:t>
            </a:r>
            <a:r>
              <a:rPr lang="en-US" altLang="ko-KR" sz="2000" spc="-20" dirty="0">
                <a:solidFill>
                  <a:srgbClr val="3B342A"/>
                </a:solidFill>
                <a:latin typeface="HY신문명조"/>
                <a:ea typeface="dotum" panose="020B0600000101010101" pitchFamily="50" charset="-127"/>
              </a:rPr>
              <a:t>2022</a:t>
            </a:r>
            <a:r>
              <a:rPr lang="ko-KR" altLang="en-US" sz="2000" spc="-20" dirty="0">
                <a:solidFill>
                  <a:srgbClr val="3B342A"/>
                </a:solidFill>
                <a:latin typeface="HY신문명조"/>
                <a:ea typeface="dotum" panose="020B0600000101010101" pitchFamily="50" charset="-127"/>
              </a:rPr>
              <a:t>년부터 연평균 </a:t>
            </a:r>
            <a:r>
              <a:rPr lang="en-US" altLang="ko-KR" sz="2000" b="1" spc="-20" dirty="0">
                <a:solidFill>
                  <a:srgbClr val="3B342A"/>
                </a:solidFill>
                <a:latin typeface="HY신문명조"/>
                <a:ea typeface="dotum" panose="020B0600000101010101" pitchFamily="50" charset="-127"/>
              </a:rPr>
              <a:t>34.6% </a:t>
            </a:r>
            <a:r>
              <a:rPr lang="ko-KR" altLang="en-US" sz="2000" b="1" spc="-20" dirty="0">
                <a:solidFill>
                  <a:srgbClr val="3B342A"/>
                </a:solidFill>
                <a:latin typeface="HY신문명조"/>
                <a:ea typeface="dotum" panose="020B0600000101010101" pitchFamily="50" charset="-127"/>
              </a:rPr>
              <a:t>성장 </a:t>
            </a:r>
            <a:r>
              <a:rPr lang="ko-KR" altLang="en-US" sz="2000" spc="-20" dirty="0">
                <a:solidFill>
                  <a:srgbClr val="3B342A"/>
                </a:solidFill>
                <a:latin typeface="HY신문명조"/>
                <a:ea typeface="dotum" panose="020B0600000101010101" pitchFamily="50" charset="-127"/>
              </a:rPr>
              <a:t> </a:t>
            </a:r>
            <a:r>
              <a:rPr lang="en-US" altLang="ko-KR" sz="2000" spc="-20" dirty="0">
                <a:solidFill>
                  <a:srgbClr val="3B342A"/>
                </a:solidFill>
                <a:latin typeface="HY신문명조"/>
                <a:ea typeface="dotum" panose="020B0600000101010101" pitchFamily="50" charset="-127"/>
              </a:rPr>
              <a:t>2030</a:t>
            </a:r>
            <a:r>
              <a:rPr lang="ko-KR" altLang="en-US" sz="2000" spc="-20" dirty="0">
                <a:solidFill>
                  <a:srgbClr val="3B342A"/>
                </a:solidFill>
                <a:latin typeface="HY신문명조"/>
                <a:ea typeface="dotum" panose="020B0600000101010101" pitchFamily="50" charset="-127"/>
              </a:rPr>
              <a:t>년 </a:t>
            </a:r>
            <a:r>
              <a:rPr lang="en-US" altLang="ko-KR" sz="2000" spc="-20" dirty="0">
                <a:solidFill>
                  <a:srgbClr val="3B342A"/>
                </a:solidFill>
                <a:latin typeface="HY신문명조"/>
                <a:ea typeface="dotum" panose="020B0600000101010101" pitchFamily="50" charset="-127"/>
              </a:rPr>
              <a:t>1,093</a:t>
            </a:r>
            <a:r>
              <a:rPr lang="ko-KR" altLang="en-US" sz="2000" spc="-20" dirty="0">
                <a:solidFill>
                  <a:srgbClr val="3B342A"/>
                </a:solidFill>
                <a:latin typeface="HY신문명조"/>
                <a:ea typeface="dotum" panose="020B0600000101010101" pitchFamily="50" charset="-127"/>
              </a:rPr>
              <a:t>억 </a:t>
            </a:r>
            <a:r>
              <a:rPr lang="en-US" altLang="ko-KR" sz="2000" spc="-20" dirty="0">
                <a:solidFill>
                  <a:srgbClr val="3B342A"/>
                </a:solidFill>
                <a:latin typeface="HY신문명조"/>
                <a:ea typeface="dotum" panose="020B0600000101010101" pitchFamily="50" charset="-127"/>
              </a:rPr>
              <a:t>7,000</a:t>
            </a:r>
            <a:r>
              <a:rPr lang="ko-KR" altLang="en-US" sz="2000" spc="-20" dirty="0">
                <a:solidFill>
                  <a:srgbClr val="3B342A"/>
                </a:solidFill>
                <a:latin typeface="HY신문명조"/>
                <a:ea typeface="dotum" panose="020B0600000101010101" pitchFamily="50" charset="-127"/>
              </a:rPr>
              <a:t>만 달러</a:t>
            </a:r>
            <a:r>
              <a:rPr lang="en-US" altLang="ko-KR" sz="2000" b="1" spc="-20" dirty="0">
                <a:solidFill>
                  <a:srgbClr val="3B342A"/>
                </a:solidFill>
                <a:latin typeface="HY신문명조"/>
                <a:ea typeface="dotum" panose="020B0600000101010101" pitchFamily="50" charset="-127"/>
              </a:rPr>
              <a:t>(</a:t>
            </a:r>
            <a:r>
              <a:rPr lang="ko-KR" altLang="en-US" sz="2000" b="1" spc="-20" dirty="0">
                <a:solidFill>
                  <a:srgbClr val="3B342A"/>
                </a:solidFill>
                <a:latin typeface="HY신문명조"/>
                <a:ea typeface="dotum" panose="020B0600000101010101" pitchFamily="50" charset="-127"/>
              </a:rPr>
              <a:t>약 </a:t>
            </a:r>
            <a:r>
              <a:rPr lang="en-US" altLang="ko-KR" sz="2000" b="1" spc="-20" dirty="0">
                <a:solidFill>
                  <a:srgbClr val="3B342A"/>
                </a:solidFill>
                <a:latin typeface="HY신문명조"/>
                <a:ea typeface="dotum" panose="020B0600000101010101" pitchFamily="50" charset="-127"/>
              </a:rPr>
              <a:t>136</a:t>
            </a:r>
            <a:r>
              <a:rPr lang="ko-KR" altLang="en-US" sz="2000" b="1" spc="-20" dirty="0">
                <a:solidFill>
                  <a:srgbClr val="3B342A"/>
                </a:solidFill>
                <a:latin typeface="HY신문명조"/>
                <a:ea typeface="dotum" panose="020B0600000101010101" pitchFamily="50" charset="-127"/>
              </a:rPr>
              <a:t>조 </a:t>
            </a:r>
            <a:r>
              <a:rPr lang="en-US" altLang="ko-KR" sz="2000" b="1" spc="-20" dirty="0">
                <a:solidFill>
                  <a:srgbClr val="3B342A"/>
                </a:solidFill>
                <a:latin typeface="HY신문명조"/>
                <a:ea typeface="dotum" panose="020B0600000101010101" pitchFamily="50" charset="-127"/>
              </a:rPr>
              <a:t>5,000</a:t>
            </a:r>
            <a:r>
              <a:rPr lang="ko-KR" altLang="en-US" sz="2000" b="1" spc="-20" dirty="0">
                <a:solidFill>
                  <a:srgbClr val="3B342A"/>
                </a:solidFill>
                <a:latin typeface="HY신문명조"/>
                <a:ea typeface="dotum" panose="020B0600000101010101" pitchFamily="50" charset="-127"/>
              </a:rPr>
              <a:t>억 원</a:t>
            </a:r>
            <a:r>
              <a:rPr lang="en-US" altLang="ko-KR" sz="2000" b="1" spc="-20" dirty="0">
                <a:solidFill>
                  <a:srgbClr val="3B342A"/>
                </a:solidFill>
                <a:latin typeface="HY신문명조"/>
                <a:ea typeface="dotum" panose="020B0600000101010101" pitchFamily="50" charset="-127"/>
              </a:rPr>
              <a:t>)</a:t>
            </a:r>
            <a:r>
              <a:rPr lang="ko-KR" altLang="en-US" sz="2000" b="1" spc="-20" dirty="0">
                <a:solidFill>
                  <a:srgbClr val="3B342A"/>
                </a:solidFill>
                <a:latin typeface="HY신문명조"/>
                <a:ea typeface="dotum" panose="020B0600000101010101" pitchFamily="50" charset="-127"/>
              </a:rPr>
              <a:t> </a:t>
            </a:r>
            <a:endParaRPr lang="en-US" altLang="ko-KR" sz="2000" b="1" spc="-20" dirty="0">
              <a:solidFill>
                <a:srgbClr val="3B342A"/>
              </a:solidFill>
              <a:latin typeface="HY신문명조"/>
              <a:ea typeface="dotum" panose="020B0600000101010101" pitchFamily="50" charset="-127"/>
            </a:endParaRPr>
          </a:p>
          <a:p>
            <a:pPr marL="349250" marR="63500" indent="-285750">
              <a:buFont typeface="Wingdings" panose="05000000000000000000" pitchFamily="2" charset="2"/>
              <a:buChar char="l"/>
            </a:pPr>
            <a:r>
              <a:rPr lang="ko-KR" altLang="en-US" sz="2000" b="1" spc="-20" dirty="0" err="1">
                <a:solidFill>
                  <a:srgbClr val="3B342A"/>
                </a:solidFill>
                <a:latin typeface="HY신문명조"/>
                <a:ea typeface="dotum" panose="020B0600000101010101" pitchFamily="50" charset="-127"/>
              </a:rPr>
              <a:t>가트너는</a:t>
            </a:r>
            <a:r>
              <a:rPr lang="ko-KR" altLang="en-US" sz="2000" b="1" spc="-20" dirty="0">
                <a:solidFill>
                  <a:srgbClr val="3B342A"/>
                </a:solidFill>
                <a:latin typeface="HY신문명조"/>
                <a:ea typeface="dotum" panose="020B0600000101010101" pitchFamily="50" charset="-127"/>
              </a:rPr>
              <a:t> </a:t>
            </a:r>
            <a:r>
              <a:rPr lang="en-US" altLang="ko-KR" sz="2000" b="1" spc="-20" dirty="0">
                <a:solidFill>
                  <a:srgbClr val="3B342A"/>
                </a:solidFill>
                <a:latin typeface="HY신문명조"/>
                <a:ea typeface="dotum" panose="020B0600000101010101" pitchFamily="50" charset="-127"/>
              </a:rPr>
              <a:t>2025</a:t>
            </a:r>
            <a:r>
              <a:rPr lang="ko-KR" altLang="en-US" sz="2000" b="1" spc="-20" dirty="0">
                <a:solidFill>
                  <a:srgbClr val="3B342A"/>
                </a:solidFill>
                <a:latin typeface="HY신문명조"/>
                <a:ea typeface="dotum" panose="020B0600000101010101" pitchFamily="50" charset="-127"/>
              </a:rPr>
              <a:t>년까지 대기업에서 내보내는 메시지의 </a:t>
            </a:r>
            <a:r>
              <a:rPr lang="en-US" altLang="ko-KR" sz="2000" b="1" spc="-20" dirty="0">
                <a:solidFill>
                  <a:srgbClr val="3B342A"/>
                </a:solidFill>
                <a:latin typeface="HY신문명조"/>
                <a:ea typeface="dotum" panose="020B0600000101010101" pitchFamily="50" charset="-127"/>
              </a:rPr>
              <a:t>30%</a:t>
            </a:r>
            <a:r>
              <a:rPr lang="ko-KR" altLang="en-US" sz="2000" b="1" spc="-20" dirty="0">
                <a:solidFill>
                  <a:srgbClr val="3B342A"/>
                </a:solidFill>
                <a:latin typeface="HY신문명조"/>
                <a:ea typeface="dotum" panose="020B0600000101010101" pitchFamily="50" charset="-127"/>
              </a:rPr>
              <a:t>가 생성 </a:t>
            </a:r>
            <a:r>
              <a:rPr lang="en-US" altLang="ko-KR" sz="2000" b="1" spc="-20" dirty="0">
                <a:solidFill>
                  <a:srgbClr val="3B342A"/>
                </a:solidFill>
                <a:latin typeface="HY신문명조"/>
                <a:ea typeface="dotum" panose="020B0600000101010101" pitchFamily="50" charset="-127"/>
              </a:rPr>
              <a:t>AI</a:t>
            </a:r>
            <a:r>
              <a:rPr lang="ko-KR" altLang="en-US" sz="2000" b="1" spc="-20" dirty="0">
                <a:solidFill>
                  <a:srgbClr val="3B342A"/>
                </a:solidFill>
                <a:latin typeface="HY신문명조"/>
                <a:ea typeface="dotum" panose="020B0600000101010101" pitchFamily="50" charset="-127"/>
              </a:rPr>
              <a:t>에 의해 생산 추정 </a:t>
            </a:r>
            <a:endParaRPr lang="ko-KR" altLang="en-US" sz="2000" dirty="0">
              <a:solidFill>
                <a:srgbClr val="3B342A"/>
              </a:solidFill>
              <a:latin typeface="dotum" panose="020B0600000101010101" pitchFamily="50" charset="-127"/>
              <a:ea typeface="dotum" panose="020B0600000101010101" pitchFamily="50" charset="-127"/>
            </a:endParaRPr>
          </a:p>
          <a:p>
            <a:pPr marL="63500" marR="63500"/>
            <a:r>
              <a:rPr lang="ko-KR" altLang="en-US" sz="2000" dirty="0">
                <a:solidFill>
                  <a:srgbClr val="3B342A"/>
                </a:solidFill>
                <a:latin typeface="dotum" panose="020B0600000101010101" pitchFamily="50" charset="-127"/>
                <a:ea typeface="dotum" panose="020B0600000101010101" pitchFamily="50" charset="-127"/>
              </a:rPr>
              <a:t> </a:t>
            </a:r>
          </a:p>
          <a:p>
            <a:pPr marL="349250" marR="63500" indent="-285750">
              <a:buFont typeface="Wingdings" panose="05000000000000000000" pitchFamily="2" charset="2"/>
              <a:buChar char="l"/>
            </a:pPr>
            <a:r>
              <a:rPr lang="ko-KR" altLang="en-US" sz="2000" b="1" dirty="0">
                <a:solidFill>
                  <a:srgbClr val="3B342A"/>
                </a:solidFill>
                <a:latin typeface="HY신문명조"/>
                <a:ea typeface="dotum" panose="020B0600000101010101" pitchFamily="50" charset="-127"/>
              </a:rPr>
              <a:t>벤처투자 데이터 분석기관 </a:t>
            </a:r>
            <a:r>
              <a:rPr lang="ko-KR" altLang="en-US" sz="2000" b="1" dirty="0" err="1">
                <a:solidFill>
                  <a:srgbClr val="3B342A"/>
                </a:solidFill>
                <a:latin typeface="HY신문명조"/>
                <a:ea typeface="dotum" panose="020B0600000101010101" pitchFamily="50" charset="-127"/>
              </a:rPr>
              <a:t>피치북</a:t>
            </a:r>
            <a:r>
              <a:rPr lang="ko-KR" altLang="en-US" sz="2000" dirty="0" err="1">
                <a:solidFill>
                  <a:srgbClr val="3B342A"/>
                </a:solidFill>
                <a:latin typeface="HY신문명조"/>
                <a:ea typeface="dotum" panose="020B0600000101010101" pitchFamily="50" charset="-127"/>
              </a:rPr>
              <a:t>에</a:t>
            </a:r>
            <a:r>
              <a:rPr lang="ko-KR" altLang="en-US" sz="2000" dirty="0">
                <a:solidFill>
                  <a:srgbClr val="3B342A"/>
                </a:solidFill>
                <a:latin typeface="HY신문명조"/>
                <a:ea typeface="dotum" panose="020B0600000101010101" pitchFamily="50" charset="-127"/>
              </a:rPr>
              <a:t> 따르면</a:t>
            </a:r>
            <a:r>
              <a:rPr lang="ko-KR" altLang="en-US" sz="2000" b="1" dirty="0">
                <a:solidFill>
                  <a:srgbClr val="3B342A"/>
                </a:solidFill>
                <a:latin typeface="HY신문명조"/>
                <a:ea typeface="dotum" panose="020B0600000101010101" pitchFamily="50" charset="-127"/>
              </a:rPr>
              <a:t> </a:t>
            </a:r>
            <a:r>
              <a:rPr lang="en-US" altLang="ko-KR" sz="2000" b="1" dirty="0">
                <a:solidFill>
                  <a:srgbClr val="3B342A"/>
                </a:solidFill>
                <a:latin typeface="HY신문명조"/>
                <a:ea typeface="dotum" panose="020B0600000101010101" pitchFamily="50" charset="-127"/>
              </a:rPr>
              <a:t>2022</a:t>
            </a:r>
            <a:r>
              <a:rPr lang="ko-KR" altLang="en-US" sz="2000" b="1" dirty="0">
                <a:solidFill>
                  <a:srgbClr val="3B342A"/>
                </a:solidFill>
                <a:latin typeface="HY신문명조"/>
                <a:ea typeface="dotum" panose="020B0600000101010101" pitchFamily="50" charset="-127"/>
              </a:rPr>
              <a:t>년 </a:t>
            </a:r>
            <a:r>
              <a:rPr lang="en-US" altLang="ko-KR" sz="2000" b="1" dirty="0">
                <a:solidFill>
                  <a:srgbClr val="3B342A"/>
                </a:solidFill>
                <a:latin typeface="HY신문명조"/>
                <a:ea typeface="dotum" panose="020B0600000101010101" pitchFamily="50" charset="-127"/>
              </a:rPr>
              <a:t>VC</a:t>
            </a:r>
            <a:r>
              <a:rPr lang="ko-KR" altLang="en-US" sz="2000" b="1" dirty="0">
                <a:solidFill>
                  <a:srgbClr val="3B342A"/>
                </a:solidFill>
                <a:latin typeface="HY신문명조"/>
                <a:ea typeface="dotum" panose="020B0600000101010101" pitchFamily="50" charset="-127"/>
              </a:rPr>
              <a:t>가 </a:t>
            </a:r>
            <a:r>
              <a:rPr lang="ko-KR" altLang="en-US" sz="2000" b="1" dirty="0" err="1">
                <a:solidFill>
                  <a:srgbClr val="3B342A"/>
                </a:solidFill>
                <a:latin typeface="HY신문명조"/>
                <a:ea typeface="dotum" panose="020B0600000101010101" pitchFamily="50" charset="-127"/>
              </a:rPr>
              <a:t>생성형</a:t>
            </a:r>
            <a:r>
              <a:rPr lang="ko-KR" altLang="en-US" sz="2000" b="1" dirty="0">
                <a:solidFill>
                  <a:srgbClr val="3B342A"/>
                </a:solidFill>
                <a:latin typeface="HY신문명조"/>
                <a:ea typeface="dotum" panose="020B0600000101010101" pitchFamily="50" charset="-127"/>
              </a:rPr>
              <a:t> </a:t>
            </a:r>
            <a:r>
              <a:rPr lang="en-US" altLang="ko-KR" sz="2000" b="1" dirty="0">
                <a:solidFill>
                  <a:srgbClr val="3B342A"/>
                </a:solidFill>
                <a:latin typeface="HY신문명조"/>
                <a:ea typeface="dotum" panose="020B0600000101010101" pitchFamily="50" charset="-127"/>
              </a:rPr>
              <a:t>AI </a:t>
            </a:r>
            <a:r>
              <a:rPr lang="ko-KR" altLang="en-US" sz="2000" b="1" dirty="0">
                <a:solidFill>
                  <a:srgbClr val="3B342A"/>
                </a:solidFill>
                <a:latin typeface="HY신문명조"/>
                <a:ea typeface="dotum" panose="020B0600000101010101" pitchFamily="50" charset="-127"/>
              </a:rPr>
              <a:t>관련 </a:t>
            </a:r>
            <a:r>
              <a:rPr lang="ko-KR" altLang="en-US" sz="2000" b="1" dirty="0" err="1">
                <a:solidFill>
                  <a:srgbClr val="3B342A"/>
                </a:solidFill>
                <a:latin typeface="HY신문명조"/>
                <a:ea typeface="dotum" panose="020B0600000101010101" pitchFamily="50" charset="-127"/>
              </a:rPr>
              <a:t>스타트업에</a:t>
            </a:r>
            <a:r>
              <a:rPr lang="ko-KR" altLang="en-US" sz="2000" b="1" dirty="0">
                <a:solidFill>
                  <a:srgbClr val="3B342A"/>
                </a:solidFill>
                <a:latin typeface="HY신문명조"/>
                <a:ea typeface="dotum" panose="020B0600000101010101" pitchFamily="50" charset="-127"/>
              </a:rPr>
              <a:t> 투자한 금액은 </a:t>
            </a:r>
            <a:r>
              <a:rPr lang="en-US" altLang="ko-KR" sz="2000" b="1" dirty="0">
                <a:solidFill>
                  <a:srgbClr val="3B342A"/>
                </a:solidFill>
                <a:latin typeface="HY신문명조"/>
                <a:ea typeface="dotum" panose="020B0600000101010101" pitchFamily="50" charset="-127"/>
              </a:rPr>
              <a:t>13</a:t>
            </a:r>
            <a:r>
              <a:rPr lang="ko-KR" altLang="en-US" sz="2000" b="1" dirty="0">
                <a:solidFill>
                  <a:srgbClr val="3B342A"/>
                </a:solidFill>
                <a:latin typeface="HY신문명조"/>
                <a:ea typeface="dotum" panose="020B0600000101010101" pitchFamily="50" charset="-127"/>
              </a:rPr>
              <a:t>억 </a:t>
            </a:r>
            <a:r>
              <a:rPr lang="en-US" altLang="ko-KR" sz="2000" b="1" dirty="0">
                <a:solidFill>
                  <a:srgbClr val="3B342A"/>
                </a:solidFill>
                <a:latin typeface="HY신문명조"/>
                <a:ea typeface="dotum" panose="020B0600000101010101" pitchFamily="50" charset="-127"/>
              </a:rPr>
              <a:t>7,000</a:t>
            </a:r>
            <a:r>
              <a:rPr lang="ko-KR" altLang="en-US" sz="2000" b="1" dirty="0">
                <a:solidFill>
                  <a:srgbClr val="3B342A"/>
                </a:solidFill>
                <a:latin typeface="HY신문명조"/>
                <a:ea typeface="dotum" panose="020B0600000101010101" pitchFamily="50" charset="-127"/>
              </a:rPr>
              <a:t>만 달러</a:t>
            </a:r>
            <a:r>
              <a:rPr lang="en-US" altLang="ko-KR" sz="2000" b="1" dirty="0">
                <a:solidFill>
                  <a:srgbClr val="3B342A"/>
                </a:solidFill>
                <a:latin typeface="HY신문명조"/>
                <a:ea typeface="dotum" panose="020B0600000101010101" pitchFamily="50" charset="-127"/>
              </a:rPr>
              <a:t>(</a:t>
            </a:r>
            <a:r>
              <a:rPr lang="ko-KR" altLang="en-US" sz="2000" b="1" dirty="0">
                <a:solidFill>
                  <a:srgbClr val="3B342A"/>
                </a:solidFill>
                <a:latin typeface="HY신문명조"/>
                <a:ea typeface="dotum" panose="020B0600000101010101" pitchFamily="50" charset="-127"/>
              </a:rPr>
              <a:t>약 </a:t>
            </a:r>
            <a:r>
              <a:rPr lang="en-US" altLang="ko-KR" sz="2000" b="1" dirty="0">
                <a:solidFill>
                  <a:srgbClr val="3B342A"/>
                </a:solidFill>
                <a:latin typeface="HY신문명조"/>
                <a:ea typeface="dotum" panose="020B0600000101010101" pitchFamily="50" charset="-127"/>
              </a:rPr>
              <a:t>1</a:t>
            </a:r>
            <a:r>
              <a:rPr lang="ko-KR" altLang="en-US" sz="2000" b="1" dirty="0">
                <a:solidFill>
                  <a:srgbClr val="3B342A"/>
                </a:solidFill>
                <a:latin typeface="HY신문명조"/>
                <a:ea typeface="dotum" panose="020B0600000101010101" pitchFamily="50" charset="-127"/>
              </a:rPr>
              <a:t>조 </a:t>
            </a:r>
            <a:r>
              <a:rPr lang="en-US" altLang="ko-KR" sz="2000" b="1" dirty="0">
                <a:solidFill>
                  <a:srgbClr val="3B342A"/>
                </a:solidFill>
                <a:latin typeface="HY신문명조"/>
                <a:ea typeface="dotum" panose="020B0600000101010101" pitchFamily="50" charset="-127"/>
              </a:rPr>
              <a:t>7,000</a:t>
            </a:r>
            <a:r>
              <a:rPr lang="ko-KR" altLang="en-US" sz="2000" b="1" dirty="0">
                <a:solidFill>
                  <a:srgbClr val="3B342A"/>
                </a:solidFill>
                <a:latin typeface="HY신문명조"/>
                <a:ea typeface="dotum" panose="020B0600000101010101" pitchFamily="50" charset="-127"/>
              </a:rPr>
              <a:t>억 원</a:t>
            </a:r>
            <a:r>
              <a:rPr lang="en-US" altLang="ko-KR" sz="2000" b="1" dirty="0">
                <a:solidFill>
                  <a:srgbClr val="3B342A"/>
                </a:solidFill>
                <a:latin typeface="HY신문명조"/>
                <a:ea typeface="dotum" panose="020B0600000101010101" pitchFamily="50" charset="-127"/>
              </a:rPr>
              <a:t>)</a:t>
            </a:r>
            <a:r>
              <a:rPr lang="en-US" altLang="ko-KR" sz="2000" dirty="0">
                <a:solidFill>
                  <a:srgbClr val="3B342A"/>
                </a:solidFill>
                <a:latin typeface="HY신문명조"/>
                <a:ea typeface="dotum" panose="020B0600000101010101" pitchFamily="50" charset="-127"/>
              </a:rPr>
              <a:t> * </a:t>
            </a:r>
            <a:r>
              <a:rPr lang="ko-KR" altLang="en-US" sz="2000" dirty="0">
                <a:solidFill>
                  <a:srgbClr val="3B342A"/>
                </a:solidFill>
                <a:latin typeface="HY신문명조"/>
                <a:ea typeface="dotum" panose="020B0600000101010101" pitchFamily="50" charset="-127"/>
              </a:rPr>
              <a:t>이전 </a:t>
            </a:r>
            <a:r>
              <a:rPr lang="en-US" altLang="ko-KR" sz="2000" dirty="0">
                <a:solidFill>
                  <a:srgbClr val="3B342A"/>
                </a:solidFill>
                <a:latin typeface="HY신문명조"/>
                <a:ea typeface="dotum" panose="020B0600000101010101" pitchFamily="50" charset="-127"/>
              </a:rPr>
              <a:t>5</a:t>
            </a:r>
            <a:r>
              <a:rPr lang="ko-KR" altLang="en-US" sz="2000" dirty="0">
                <a:solidFill>
                  <a:srgbClr val="3B342A"/>
                </a:solidFill>
                <a:latin typeface="HY신문명조"/>
                <a:ea typeface="dotum" panose="020B0600000101010101" pitchFamily="50" charset="-127"/>
              </a:rPr>
              <a:t>년 간 집행된 </a:t>
            </a:r>
            <a:r>
              <a:rPr lang="ko-KR" altLang="en-US" sz="2000" dirty="0" err="1">
                <a:solidFill>
                  <a:srgbClr val="3B342A"/>
                </a:solidFill>
                <a:latin typeface="HY신문명조"/>
                <a:ea typeface="dotum" panose="020B0600000101010101" pitchFamily="50" charset="-127"/>
              </a:rPr>
              <a:t>투자금을</a:t>
            </a:r>
            <a:r>
              <a:rPr lang="ko-KR" altLang="en-US" sz="2000" dirty="0">
                <a:solidFill>
                  <a:srgbClr val="3B342A"/>
                </a:solidFill>
                <a:latin typeface="HY신문명조"/>
                <a:ea typeface="dotum" panose="020B0600000101010101" pitchFamily="50" charset="-127"/>
              </a:rPr>
              <a:t> 합친 것과 비슷한 규모</a:t>
            </a:r>
            <a:endParaRPr lang="en-US" altLang="ko-KR" sz="2000" dirty="0">
              <a:solidFill>
                <a:srgbClr val="3B342A"/>
              </a:solidFill>
              <a:latin typeface="HY신문명조"/>
              <a:ea typeface="dotum" panose="020B0600000101010101" pitchFamily="50" charset="-127"/>
            </a:endParaRPr>
          </a:p>
          <a:p>
            <a:pPr marL="349250" marR="63500" indent="-285750">
              <a:buFont typeface="Wingdings" panose="05000000000000000000" pitchFamily="2" charset="2"/>
              <a:buChar char="l"/>
            </a:pPr>
            <a:r>
              <a:rPr lang="ko-KR" altLang="en-US" sz="2000" b="1" spc="-20" dirty="0">
                <a:solidFill>
                  <a:srgbClr val="3B342A"/>
                </a:solidFill>
                <a:latin typeface="HY신문명조"/>
                <a:ea typeface="dotum" panose="020B0600000101010101" pitchFamily="50" charset="-127"/>
              </a:rPr>
              <a:t>오픈</a:t>
            </a:r>
            <a:r>
              <a:rPr lang="en-US" altLang="ko-KR" sz="2000" b="1" spc="-20" dirty="0">
                <a:solidFill>
                  <a:srgbClr val="3B342A"/>
                </a:solidFill>
                <a:latin typeface="HY신문명조"/>
                <a:ea typeface="dotum" panose="020B0600000101010101" pitchFamily="50" charset="-127"/>
              </a:rPr>
              <a:t>AI</a:t>
            </a:r>
            <a:r>
              <a:rPr lang="ko-KR" altLang="en-US" sz="2000" b="1" spc="-20" dirty="0">
                <a:solidFill>
                  <a:srgbClr val="3B342A"/>
                </a:solidFill>
                <a:latin typeface="HY신문명조"/>
                <a:ea typeface="dotum" panose="020B0600000101010101" pitchFamily="50" charset="-127"/>
              </a:rPr>
              <a:t>의 </a:t>
            </a:r>
            <a:r>
              <a:rPr lang="ko-KR" altLang="en-US" sz="2000" b="1" spc="-20" dirty="0" err="1">
                <a:solidFill>
                  <a:srgbClr val="3B342A"/>
                </a:solidFill>
                <a:latin typeface="HY신문명조"/>
                <a:ea typeface="dotum" panose="020B0600000101010101" pitchFamily="50" charset="-127"/>
              </a:rPr>
              <a:t>챗</a:t>
            </a:r>
            <a:r>
              <a:rPr lang="en-US" altLang="ko-KR" sz="2000" b="1" spc="-20" dirty="0">
                <a:solidFill>
                  <a:srgbClr val="3B342A"/>
                </a:solidFill>
                <a:latin typeface="HY신문명조"/>
                <a:ea typeface="dotum" panose="020B0600000101010101" pitchFamily="50" charset="-127"/>
              </a:rPr>
              <a:t>GPT </a:t>
            </a:r>
            <a:r>
              <a:rPr lang="ko-KR" altLang="en-US" sz="2000" b="1" spc="-20" dirty="0" err="1">
                <a:solidFill>
                  <a:srgbClr val="3B342A"/>
                </a:solidFill>
                <a:latin typeface="HY신문명조"/>
                <a:ea typeface="dotum" panose="020B0600000101010101" pitchFamily="50" charset="-127"/>
              </a:rPr>
              <a:t>차기모델인</a:t>
            </a:r>
            <a:r>
              <a:rPr lang="ko-KR" altLang="en-US" sz="2000" b="1" spc="-20" dirty="0">
                <a:solidFill>
                  <a:srgbClr val="3B342A"/>
                </a:solidFill>
                <a:latin typeface="HY신문명조"/>
                <a:ea typeface="dotum" panose="020B0600000101010101" pitchFamily="50" charset="-127"/>
              </a:rPr>
              <a:t> </a:t>
            </a:r>
            <a:r>
              <a:rPr lang="en-US" altLang="ko-KR" sz="2000" b="1" spc="-20" dirty="0">
                <a:solidFill>
                  <a:srgbClr val="3B342A"/>
                </a:solidFill>
                <a:latin typeface="HY신문명조"/>
                <a:ea typeface="dotum" panose="020B0600000101010101" pitchFamily="50" charset="-127"/>
              </a:rPr>
              <a:t>GPT-4</a:t>
            </a:r>
            <a:r>
              <a:rPr lang="ko-KR" altLang="en-US" sz="2000" b="1" spc="-20" dirty="0">
                <a:solidFill>
                  <a:srgbClr val="3B342A"/>
                </a:solidFill>
                <a:latin typeface="HY신문명조"/>
                <a:ea typeface="dotum" panose="020B0600000101010101" pitchFamily="50" charset="-127"/>
              </a:rPr>
              <a:t>는 텍스트</a:t>
            </a:r>
            <a:r>
              <a:rPr lang="en-US" altLang="ko-KR" sz="2000" b="1" spc="-20" dirty="0">
                <a:solidFill>
                  <a:srgbClr val="3B342A"/>
                </a:solidFill>
                <a:latin typeface="HY신문명조"/>
                <a:ea typeface="dotum" panose="020B0600000101010101" pitchFamily="50" charset="-127"/>
              </a:rPr>
              <a:t>(</a:t>
            </a:r>
            <a:r>
              <a:rPr lang="ko-KR" altLang="en-US" sz="2000" b="1" spc="-20" dirty="0">
                <a:solidFill>
                  <a:srgbClr val="3B342A"/>
                </a:solidFill>
                <a:latin typeface="HY신문명조"/>
                <a:ea typeface="dotum" panose="020B0600000101010101" pitchFamily="50" charset="-127"/>
              </a:rPr>
              <a:t>언어</a:t>
            </a:r>
            <a:r>
              <a:rPr lang="en-US" altLang="ko-KR" sz="2000" b="1" spc="-20" dirty="0">
                <a:solidFill>
                  <a:srgbClr val="3B342A"/>
                </a:solidFill>
                <a:latin typeface="HY신문명조"/>
                <a:ea typeface="dotum" panose="020B0600000101010101" pitchFamily="50" charset="-127"/>
              </a:rPr>
              <a:t>) </a:t>
            </a:r>
            <a:r>
              <a:rPr lang="ko-KR" altLang="en-US" sz="2000" b="1" spc="-20" dirty="0">
                <a:solidFill>
                  <a:srgbClr val="3B342A"/>
                </a:solidFill>
                <a:latin typeface="HY신문명조"/>
                <a:ea typeface="dotum" panose="020B0600000101010101" pitchFamily="50" charset="-127"/>
              </a:rPr>
              <a:t>외에도 이미지</a:t>
            </a:r>
            <a:r>
              <a:rPr lang="en-US" altLang="ko-KR" sz="2000" b="1" spc="-20" dirty="0">
                <a:solidFill>
                  <a:srgbClr val="3B342A"/>
                </a:solidFill>
                <a:latin typeface="HY신문명조"/>
                <a:ea typeface="dotum" panose="020B0600000101010101" pitchFamily="50" charset="-127"/>
              </a:rPr>
              <a:t>, </a:t>
            </a:r>
            <a:r>
              <a:rPr lang="ko-KR" altLang="en-US" sz="2000" b="1" spc="-20" dirty="0">
                <a:solidFill>
                  <a:srgbClr val="3B342A"/>
                </a:solidFill>
                <a:latin typeface="HY신문명조"/>
                <a:ea typeface="dotum" panose="020B0600000101010101" pitchFamily="50" charset="-127"/>
              </a:rPr>
              <a:t>비디오 그리고 다른 데이터 형식</a:t>
            </a:r>
            <a:r>
              <a:rPr lang="en-US" altLang="ko-KR" sz="2000" b="1" spc="-20" dirty="0">
                <a:solidFill>
                  <a:srgbClr val="3B342A"/>
                </a:solidFill>
                <a:latin typeface="HY신문명조"/>
                <a:ea typeface="dotum" panose="020B0600000101010101" pitchFamily="50" charset="-127"/>
              </a:rPr>
              <a:t>(</a:t>
            </a:r>
            <a:r>
              <a:rPr lang="ko-KR" altLang="en-US" sz="2000" b="1" spc="-20" dirty="0">
                <a:solidFill>
                  <a:srgbClr val="3B342A"/>
                </a:solidFill>
                <a:latin typeface="HY신문명조"/>
                <a:ea typeface="dotum" panose="020B0600000101010101" pitchFamily="50" charset="-127"/>
              </a:rPr>
              <a:t>생체신호 등</a:t>
            </a:r>
            <a:r>
              <a:rPr lang="en-US" altLang="ko-KR" sz="2000" b="1" spc="-20" dirty="0">
                <a:solidFill>
                  <a:srgbClr val="3B342A"/>
                </a:solidFill>
                <a:latin typeface="HY신문명조"/>
                <a:ea typeface="dotum" panose="020B0600000101010101" pitchFamily="50" charset="-127"/>
              </a:rPr>
              <a:t>)</a:t>
            </a:r>
            <a:r>
              <a:rPr lang="ko-KR" altLang="en-US" sz="2000" b="1" spc="-20" dirty="0">
                <a:solidFill>
                  <a:srgbClr val="3B342A"/>
                </a:solidFill>
                <a:latin typeface="HY신문명조"/>
                <a:ea typeface="dotum" panose="020B0600000101010101" pitchFamily="50" charset="-127"/>
              </a:rPr>
              <a:t>도 </a:t>
            </a:r>
            <a:r>
              <a:rPr lang="ko-KR" altLang="en-US" sz="2000" b="1" spc="-20" dirty="0" err="1">
                <a:solidFill>
                  <a:srgbClr val="3B342A"/>
                </a:solidFill>
                <a:latin typeface="HY신문명조"/>
                <a:ea typeface="dotum" panose="020B0600000101010101" pitchFamily="50" charset="-127"/>
              </a:rPr>
              <a:t>멀티모달</a:t>
            </a:r>
            <a:r>
              <a:rPr lang="en-US" altLang="ko-KR" sz="2000" b="1" spc="-20" dirty="0">
                <a:solidFill>
                  <a:srgbClr val="3B342A"/>
                </a:solidFill>
                <a:latin typeface="HY신문명조"/>
                <a:ea typeface="dotum" panose="020B0600000101010101" pitchFamily="50" charset="-127"/>
              </a:rPr>
              <a:t>/</a:t>
            </a:r>
            <a:r>
              <a:rPr lang="ko-KR" altLang="en-US" sz="2000" b="1" spc="-20" dirty="0">
                <a:solidFill>
                  <a:srgbClr val="3B342A"/>
                </a:solidFill>
                <a:latin typeface="HY신문명조"/>
                <a:ea typeface="dotum" panose="020B0600000101010101" pitchFamily="50" charset="-127"/>
              </a:rPr>
              <a:t>인터페이스 통해 로봇에게 전달 이 될 가능성이 있다고 예측</a:t>
            </a:r>
            <a:endParaRPr lang="en-US" altLang="ko-KR" sz="2000" b="1" spc="-20" dirty="0">
              <a:solidFill>
                <a:srgbClr val="3B342A"/>
              </a:solidFill>
              <a:latin typeface="HY신문명조"/>
              <a:ea typeface="dotum" panose="020B0600000101010101" pitchFamily="50" charset="-127"/>
            </a:endParaRPr>
          </a:p>
          <a:p>
            <a:pPr marL="349250" marR="63500" indent="-285750">
              <a:buFont typeface="Wingdings" panose="05000000000000000000" pitchFamily="2" charset="2"/>
              <a:buChar char="l"/>
            </a:pPr>
            <a:endParaRPr lang="en-US" altLang="ko-KR" sz="2000" b="1" spc="-20" dirty="0">
              <a:solidFill>
                <a:srgbClr val="3B342A"/>
              </a:solidFill>
              <a:latin typeface="HY신문명조"/>
              <a:ea typeface="dotum" panose="020B0600000101010101" pitchFamily="50" charset="-127"/>
            </a:endParaRPr>
          </a:p>
          <a:p>
            <a:pPr marL="349250" marR="63500" indent="-285750">
              <a:buFont typeface="Wingdings" panose="05000000000000000000" pitchFamily="2" charset="2"/>
              <a:buChar char="l"/>
            </a:pPr>
            <a:r>
              <a:rPr lang="ko-KR" altLang="en-US" sz="2000" b="1" dirty="0">
                <a:solidFill>
                  <a:srgbClr val="3B342A"/>
                </a:solidFill>
                <a:latin typeface="HY신문명조"/>
                <a:ea typeface="dotum" panose="020B0600000101010101" pitchFamily="50" charset="-127"/>
              </a:rPr>
              <a:t>국내의 경우 </a:t>
            </a:r>
            <a:r>
              <a:rPr lang="ko-KR" altLang="en-US" sz="2000" b="1" dirty="0" err="1">
                <a:solidFill>
                  <a:srgbClr val="3B342A"/>
                </a:solidFill>
                <a:latin typeface="HY신문명조"/>
                <a:ea typeface="dotum" panose="020B0600000101010101" pitchFamily="50" charset="-127"/>
              </a:rPr>
              <a:t>네이버</a:t>
            </a:r>
            <a:r>
              <a:rPr lang="en-US" altLang="ko-KR" sz="2000" b="1" dirty="0">
                <a:solidFill>
                  <a:srgbClr val="3B342A"/>
                </a:solidFill>
                <a:latin typeface="HY신문명조"/>
                <a:ea typeface="dotum" panose="020B0600000101010101" pitchFamily="50" charset="-127"/>
              </a:rPr>
              <a:t>, </a:t>
            </a:r>
            <a:r>
              <a:rPr lang="ko-KR" altLang="en-US" sz="2000" b="1" dirty="0">
                <a:solidFill>
                  <a:srgbClr val="3B342A"/>
                </a:solidFill>
                <a:latin typeface="HY신문명조"/>
                <a:ea typeface="dotum" panose="020B0600000101010101" pitchFamily="50" charset="-127"/>
              </a:rPr>
              <a:t>카카오</a:t>
            </a:r>
            <a:r>
              <a:rPr lang="en-US" altLang="ko-KR" sz="2000" b="1" dirty="0">
                <a:solidFill>
                  <a:srgbClr val="3B342A"/>
                </a:solidFill>
                <a:latin typeface="HY신문명조"/>
                <a:ea typeface="dotum" panose="020B0600000101010101" pitchFamily="50" charset="-127"/>
              </a:rPr>
              <a:t>, KT, LG, </a:t>
            </a:r>
            <a:r>
              <a:rPr lang="ko-KR" altLang="en-US" sz="2000" b="1" dirty="0">
                <a:solidFill>
                  <a:srgbClr val="3B342A"/>
                </a:solidFill>
                <a:latin typeface="HY신문명조"/>
                <a:ea typeface="dotum" panose="020B0600000101010101" pitchFamily="50" charset="-127"/>
              </a:rPr>
              <a:t>삼성 등도 한국어에 강한 초거대 </a:t>
            </a:r>
            <a:r>
              <a:rPr lang="en-US" altLang="ko-KR" sz="2000" b="1" dirty="0">
                <a:solidFill>
                  <a:srgbClr val="3B342A"/>
                </a:solidFill>
                <a:latin typeface="HY신문명조"/>
                <a:ea typeface="dotum" panose="020B0600000101010101" pitchFamily="50" charset="-127"/>
              </a:rPr>
              <a:t>AI</a:t>
            </a:r>
            <a:r>
              <a:rPr lang="ko-KR" altLang="en-US" sz="2000" b="1" dirty="0">
                <a:solidFill>
                  <a:srgbClr val="3B342A"/>
                </a:solidFill>
                <a:latin typeface="HY신문명조"/>
                <a:ea typeface="dotum" panose="020B0600000101010101" pitchFamily="50" charset="-127"/>
              </a:rPr>
              <a:t>개발투자</a:t>
            </a:r>
            <a:r>
              <a:rPr lang="ko-KR" altLang="en-US" sz="2000" b="1" spc="-10" dirty="0">
                <a:solidFill>
                  <a:srgbClr val="3B342A"/>
                </a:solidFill>
                <a:latin typeface="HY신문명조"/>
                <a:ea typeface="dotum" panose="020B0600000101010101" pitchFamily="50" charset="-127"/>
              </a:rPr>
              <a:t> </a:t>
            </a:r>
            <a:endParaRPr lang="en-US" altLang="ko-KR" sz="2000" b="1" spc="-10" dirty="0">
              <a:solidFill>
                <a:srgbClr val="3B342A"/>
              </a:solidFill>
              <a:latin typeface="HY신문명조"/>
              <a:ea typeface="dotum" panose="020B0600000101010101" pitchFamily="50" charset="-127"/>
            </a:endParaRPr>
          </a:p>
          <a:p>
            <a:pPr marL="349250" marR="63500" indent="-285750">
              <a:buFont typeface="Wingdings" panose="05000000000000000000" pitchFamily="2" charset="2"/>
              <a:buChar char="v"/>
            </a:pPr>
            <a:r>
              <a:rPr lang="ko-KR" altLang="en-US" sz="2000" dirty="0">
                <a:solidFill>
                  <a:srgbClr val="3B342A"/>
                </a:solidFill>
                <a:latin typeface="HY신문명조"/>
                <a:ea typeface="dotum" panose="020B0600000101010101" pitchFamily="50" charset="-127"/>
              </a:rPr>
              <a:t>오픈</a:t>
            </a:r>
            <a:r>
              <a:rPr lang="en-US" altLang="ko-KR" sz="2000" spc="-20" dirty="0">
                <a:solidFill>
                  <a:srgbClr val="3B342A"/>
                </a:solidFill>
                <a:latin typeface="HY신문명조"/>
                <a:ea typeface="dotum" panose="020B0600000101010101" pitchFamily="50" charset="-127"/>
              </a:rPr>
              <a:t>AI</a:t>
            </a:r>
            <a:r>
              <a:rPr lang="ko-KR" altLang="en-US" sz="2000" spc="-20" dirty="0">
                <a:solidFill>
                  <a:srgbClr val="3B342A"/>
                </a:solidFill>
                <a:latin typeface="HY신문명조"/>
                <a:ea typeface="dotum" panose="020B0600000101010101" pitchFamily="50" charset="-127"/>
              </a:rPr>
              <a:t>가 </a:t>
            </a:r>
            <a:r>
              <a:rPr lang="ko-KR" altLang="en-US" sz="2000" spc="-20" dirty="0" err="1">
                <a:solidFill>
                  <a:srgbClr val="3B342A"/>
                </a:solidFill>
                <a:latin typeface="HY신문명조"/>
                <a:ea typeface="dotum" panose="020B0600000101010101" pitchFamily="50" charset="-127"/>
              </a:rPr>
              <a:t>챗</a:t>
            </a:r>
            <a:r>
              <a:rPr lang="en-US" altLang="ko-KR" sz="2000" spc="-20" dirty="0">
                <a:solidFill>
                  <a:srgbClr val="3B342A"/>
                </a:solidFill>
                <a:latin typeface="HY신문명조"/>
                <a:ea typeface="dotum" panose="020B0600000101010101" pitchFamily="50" charset="-127"/>
              </a:rPr>
              <a:t>GPT</a:t>
            </a:r>
            <a:r>
              <a:rPr lang="ko-KR" altLang="en-US" sz="2000" spc="-20" dirty="0">
                <a:solidFill>
                  <a:srgbClr val="3B342A"/>
                </a:solidFill>
                <a:latin typeface="HY신문명조"/>
                <a:ea typeface="dotum" panose="020B0600000101010101" pitchFamily="50" charset="-127"/>
              </a:rPr>
              <a:t>의 상당 부분을 무료</a:t>
            </a:r>
            <a:r>
              <a:rPr lang="en-US" altLang="ko-KR" sz="2000" spc="-20" dirty="0">
                <a:solidFill>
                  <a:srgbClr val="3B342A"/>
                </a:solidFill>
                <a:latin typeface="HY신문명조"/>
                <a:ea typeface="dotum" panose="020B0600000101010101" pitchFamily="50" charset="-127"/>
              </a:rPr>
              <a:t>(&gt; </a:t>
            </a:r>
            <a:r>
              <a:rPr lang="ko-KR" altLang="en-US" sz="2000" spc="-20" dirty="0">
                <a:solidFill>
                  <a:srgbClr val="3B342A"/>
                </a:solidFill>
                <a:latin typeface="HY신문명조"/>
                <a:ea typeface="dotum" panose="020B0600000101010101" pitchFamily="50" charset="-127"/>
              </a:rPr>
              <a:t>나중 수수료</a:t>
            </a:r>
            <a:r>
              <a:rPr lang="en-US" altLang="ko-KR" sz="2000" spc="-20" dirty="0">
                <a:solidFill>
                  <a:srgbClr val="3B342A"/>
                </a:solidFill>
                <a:latin typeface="HY신문명조"/>
                <a:ea typeface="dotum" panose="020B0600000101010101" pitchFamily="50" charset="-127"/>
              </a:rPr>
              <a:t>)</a:t>
            </a:r>
            <a:r>
              <a:rPr lang="ko-KR" altLang="en-US" sz="2000" spc="-20" dirty="0">
                <a:solidFill>
                  <a:srgbClr val="3B342A"/>
                </a:solidFill>
                <a:latin typeface="HY신문명조"/>
                <a:ea typeface="dotum" panose="020B0600000101010101" pitchFamily="50" charset="-127"/>
              </a:rPr>
              <a:t>로 제공하면서 플랫폼 확장에 나서고 있는 것처럼</a:t>
            </a:r>
            <a:r>
              <a:rPr lang="en-US" altLang="ko-KR" sz="2000" spc="-20" dirty="0">
                <a:solidFill>
                  <a:srgbClr val="3B342A"/>
                </a:solidFill>
                <a:latin typeface="HY신문명조"/>
                <a:ea typeface="dotum" panose="020B0600000101010101" pitchFamily="50" charset="-127"/>
              </a:rPr>
              <a:t>, </a:t>
            </a:r>
            <a:r>
              <a:rPr lang="ko-KR" altLang="en-US" sz="2000" spc="-20" dirty="0">
                <a:solidFill>
                  <a:srgbClr val="3B342A"/>
                </a:solidFill>
                <a:latin typeface="HY신문명조"/>
                <a:ea typeface="dotum" panose="020B0600000101010101" pitchFamily="50" charset="-127"/>
              </a:rPr>
              <a:t>기존 빅테크 기업들이 공개모델을 기반으로 </a:t>
            </a:r>
            <a:r>
              <a:rPr lang="ko-KR" altLang="en-US" sz="2000" b="1" spc="-20" dirty="0">
                <a:solidFill>
                  <a:srgbClr val="3B342A"/>
                </a:solidFill>
                <a:latin typeface="HY신문명조"/>
                <a:ea typeface="dotum" panose="020B0600000101010101" pitchFamily="50" charset="-127"/>
              </a:rPr>
              <a:t>다양한 전문적이고</a:t>
            </a:r>
            <a:r>
              <a:rPr lang="en-US" altLang="ko-KR" sz="2000" b="1" spc="-20" dirty="0">
                <a:solidFill>
                  <a:srgbClr val="3B342A"/>
                </a:solidFill>
                <a:latin typeface="HY신문명조"/>
                <a:ea typeface="dotum" panose="020B0600000101010101" pitchFamily="50" charset="-127"/>
              </a:rPr>
              <a:t>, </a:t>
            </a:r>
            <a:r>
              <a:rPr lang="ko-KR" altLang="en-US" sz="2000" b="1" spc="-20" dirty="0">
                <a:solidFill>
                  <a:srgbClr val="3B342A"/>
                </a:solidFill>
                <a:latin typeface="HY신문명조"/>
                <a:ea typeface="dotum" panose="020B0600000101010101" pitchFamily="50" charset="-127"/>
              </a:rPr>
              <a:t>맞춤형 비즈니스 </a:t>
            </a:r>
            <a:r>
              <a:rPr lang="en-US" altLang="ko-KR" sz="2000" b="1" spc="-20" dirty="0">
                <a:solidFill>
                  <a:srgbClr val="3B342A"/>
                </a:solidFill>
                <a:latin typeface="HY신문명조"/>
                <a:ea typeface="dotum" panose="020B0600000101010101" pitchFamily="50" charset="-127"/>
              </a:rPr>
              <a:t>/</a:t>
            </a:r>
            <a:r>
              <a:rPr lang="ko-KR" altLang="en-US" sz="2000" b="1" spc="-20" dirty="0">
                <a:solidFill>
                  <a:srgbClr val="3B342A"/>
                </a:solidFill>
                <a:latin typeface="HY신문명조"/>
                <a:ea typeface="dotum" panose="020B0600000101010101" pitchFamily="50" charset="-127"/>
              </a:rPr>
              <a:t>산업별 특화 서비스가 가능한 비즈니스 </a:t>
            </a:r>
            <a:r>
              <a:rPr lang="ko-KR" altLang="en-US" sz="2000" spc="-20" dirty="0">
                <a:solidFill>
                  <a:srgbClr val="3B342A"/>
                </a:solidFill>
                <a:latin typeface="HY신문명조"/>
                <a:ea typeface="dotum" panose="020B0600000101010101" pitchFamily="50" charset="-127"/>
              </a:rPr>
              <a:t>모델</a:t>
            </a:r>
            <a:r>
              <a:rPr lang="en-US" altLang="ko-KR" sz="2000" spc="-20" dirty="0">
                <a:solidFill>
                  <a:srgbClr val="3B342A"/>
                </a:solidFill>
                <a:latin typeface="HY신문명조"/>
                <a:ea typeface="dotum" panose="020B0600000101010101" pitchFamily="50" charset="-127"/>
              </a:rPr>
              <a:t>&gt;&gt;</a:t>
            </a:r>
            <a:r>
              <a:rPr lang="en-US" altLang="ko-KR" sz="2000" spc="-10" dirty="0">
                <a:solidFill>
                  <a:srgbClr val="3B342A"/>
                </a:solidFill>
                <a:latin typeface="HY신문명조"/>
                <a:ea typeface="dotum" panose="020B0600000101010101" pitchFamily="50" charset="-127"/>
              </a:rPr>
              <a:t> </a:t>
            </a:r>
            <a:r>
              <a:rPr lang="ko-KR" altLang="en-US" sz="2000" b="1" spc="-10" dirty="0">
                <a:solidFill>
                  <a:srgbClr val="3B342A"/>
                </a:solidFill>
                <a:latin typeface="HY신문명조"/>
                <a:ea typeface="dotum" panose="020B0600000101010101" pitchFamily="50" charset="-127"/>
              </a:rPr>
              <a:t>생성 </a:t>
            </a:r>
            <a:r>
              <a:rPr lang="en-US" altLang="ko-KR" sz="2000" b="1" spc="-10" dirty="0">
                <a:solidFill>
                  <a:srgbClr val="3B342A"/>
                </a:solidFill>
                <a:latin typeface="HY신문명조"/>
                <a:ea typeface="dotum" panose="020B0600000101010101" pitchFamily="50" charset="-127"/>
              </a:rPr>
              <a:t>AI </a:t>
            </a:r>
            <a:r>
              <a:rPr lang="ko-KR" altLang="en-US" sz="2000" b="1" spc="-10" dirty="0">
                <a:solidFill>
                  <a:srgbClr val="3B342A"/>
                </a:solidFill>
                <a:latin typeface="HY신문명조"/>
                <a:ea typeface="dotum" panose="020B0600000101010101" pitchFamily="50" charset="-127"/>
              </a:rPr>
              <a:t>생태계는 상대적으로 </a:t>
            </a:r>
            <a:r>
              <a:rPr lang="ko-KR" altLang="en-US" sz="2000" b="1" spc="-10" dirty="0" err="1">
                <a:solidFill>
                  <a:srgbClr val="3B342A"/>
                </a:solidFill>
                <a:latin typeface="HY신문명조"/>
                <a:ea typeface="dotum" panose="020B0600000101010101" pitchFamily="50" charset="-127"/>
              </a:rPr>
              <a:t>스타트업에게도</a:t>
            </a:r>
            <a:r>
              <a:rPr lang="ko-KR" altLang="en-US" sz="2000" b="1" spc="-10" dirty="0">
                <a:solidFill>
                  <a:srgbClr val="3B342A"/>
                </a:solidFill>
                <a:latin typeface="HY신문명조"/>
                <a:ea typeface="dotum" panose="020B0600000101010101" pitchFamily="50" charset="-127"/>
              </a:rPr>
              <a:t> 많은 비즈니스 기회를 제공</a:t>
            </a:r>
            <a:r>
              <a:rPr lang="en-US" altLang="ko-KR" sz="2000" b="1" spc="-10" dirty="0">
                <a:solidFill>
                  <a:srgbClr val="3B342A"/>
                </a:solidFill>
                <a:latin typeface="HY신문명조"/>
                <a:ea typeface="dotum" panose="020B0600000101010101" pitchFamily="50" charset="-127"/>
              </a:rPr>
              <a:t>( Multi Modal Interface </a:t>
            </a:r>
            <a:r>
              <a:rPr lang="ko-KR" altLang="en-US" sz="2000" b="1" spc="-10" dirty="0">
                <a:solidFill>
                  <a:srgbClr val="3B342A"/>
                </a:solidFill>
                <a:latin typeface="HY신문명조"/>
                <a:ea typeface="dotum" panose="020B0600000101010101" pitchFamily="50" charset="-127"/>
              </a:rPr>
              <a:t>등</a:t>
            </a:r>
            <a:r>
              <a:rPr lang="en-US" altLang="ko-KR" sz="2000" b="1" spc="-10" dirty="0">
                <a:solidFill>
                  <a:srgbClr val="3B342A"/>
                </a:solidFill>
                <a:latin typeface="HY신문명조"/>
                <a:ea typeface="dotum" panose="020B0600000101010101" pitchFamily="50" charset="-127"/>
              </a:rPr>
              <a:t>)</a:t>
            </a:r>
            <a:endParaRPr lang="ko-KR" altLang="en-US" sz="2000" b="0" i="0" dirty="0">
              <a:solidFill>
                <a:srgbClr val="3B342A"/>
              </a:solidFill>
              <a:effectLst/>
              <a:latin typeface="dotum" panose="020B0600000101010101" pitchFamily="50" charset="-127"/>
              <a:ea typeface="dotum" panose="020B0600000101010101" pitchFamily="50" charset="-127"/>
            </a:endParaRPr>
          </a:p>
        </p:txBody>
      </p:sp>
      <p:sp>
        <p:nvSpPr>
          <p:cNvPr id="2" name="제목 1">
            <a:extLst>
              <a:ext uri="{FF2B5EF4-FFF2-40B4-BE49-F238E27FC236}">
                <a16:creationId xmlns:a16="http://schemas.microsoft.com/office/drawing/2014/main" id="{0748A447-5C5E-1B19-78CF-FAB7669ED222}"/>
              </a:ext>
            </a:extLst>
          </p:cNvPr>
          <p:cNvSpPr txBox="1">
            <a:spLocks/>
          </p:cNvSpPr>
          <p:nvPr/>
        </p:nvSpPr>
        <p:spPr>
          <a:xfrm>
            <a:off x="339798" y="100362"/>
            <a:ext cx="11558160" cy="1047718"/>
          </a:xfrm>
          <a:prstGeom prst="rect">
            <a:avLst/>
          </a:prstGeom>
          <a:solidFill>
            <a:srgbClr val="0070C0"/>
          </a:solidFill>
        </p:spPr>
        <p:txBody>
          <a:bodyPr vert="horz" lIns="91440" tIns="45720" rIns="91440" bIns="45720" rtlCol="0" anchor="ctr">
            <a:normAutofit fontScale="82500" lnSpcReduction="20000"/>
          </a:bodyPr>
          <a:lstStyle>
            <a:lvl1pPr algn="l" defTabSz="914400" rtl="0" eaLnBrk="1" latinLnBrk="1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altLang="ko-KR" sz="3600" b="1" kern="0">
                <a:latin typeface="+mj-ea"/>
              </a:rPr>
              <a:t> </a:t>
            </a:r>
            <a:br>
              <a:rPr lang="en-US" altLang="ko-KR" sz="3600" b="1" kern="0">
                <a:latin typeface="+mj-ea"/>
              </a:rPr>
            </a:br>
            <a:r>
              <a:rPr lang="en-US" altLang="ko-KR" sz="3600" b="1" kern="0">
                <a:latin typeface="+mj-ea"/>
              </a:rPr>
              <a:t> </a:t>
            </a:r>
            <a:r>
              <a:rPr lang="en-US" altLang="ko-KR" sz="3600" b="1" kern="0">
                <a:solidFill>
                  <a:schemeClr val="bg1"/>
                </a:solidFill>
                <a:latin typeface="+mj-ea"/>
              </a:rPr>
              <a:t>II. </a:t>
            </a:r>
            <a:r>
              <a:rPr lang="ko-KR" altLang="en-US" sz="3600" b="1">
                <a:solidFill>
                  <a:schemeClr val="bg1"/>
                </a:solidFill>
                <a:latin typeface="+mj-ea"/>
              </a:rPr>
              <a:t>빅데이터</a:t>
            </a:r>
            <a:r>
              <a:rPr lang="en-US" altLang="ko-KR" sz="3600" b="1">
                <a:solidFill>
                  <a:schemeClr val="bg1"/>
                </a:solidFill>
                <a:latin typeface="+mj-ea"/>
              </a:rPr>
              <a:t> &amp; AI</a:t>
            </a:r>
            <a:r>
              <a:rPr lang="ko-KR" altLang="en-US" sz="3600" b="1">
                <a:solidFill>
                  <a:schemeClr val="bg1"/>
                </a:solidFill>
                <a:latin typeface="+mj-ea"/>
              </a:rPr>
              <a:t>의 의미와 산업사회의 변화</a:t>
            </a:r>
            <a:r>
              <a:rPr lang="en-US" altLang="ko-KR" sz="3100" b="1">
                <a:solidFill>
                  <a:schemeClr val="bg1"/>
                </a:solidFill>
                <a:latin typeface="+mj-ea"/>
              </a:rPr>
              <a:t/>
            </a:r>
            <a:br>
              <a:rPr lang="en-US" altLang="ko-KR" sz="3100" b="1">
                <a:solidFill>
                  <a:schemeClr val="bg1"/>
                </a:solidFill>
                <a:latin typeface="+mj-ea"/>
              </a:rPr>
            </a:br>
            <a:endParaRPr lang="ko-KR" altLang="en-US" sz="3100" b="1" dirty="0">
              <a:solidFill>
                <a:schemeClr val="bg1"/>
              </a:solidFill>
              <a:latin typeface="HY강B" panose="02030600000101010101" pitchFamily="18" charset="-127"/>
              <a:ea typeface="HY강B" panose="02030600000101010101" pitchFamily="18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10892983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개체 1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25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9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16" name="개체 1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25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4" name="다이어그램 3"/>
          <p:cNvGraphicFramePr/>
          <p:nvPr/>
        </p:nvGraphicFramePr>
        <p:xfrm>
          <a:off x="393851" y="1204353"/>
          <a:ext cx="5301271" cy="513709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sp>
        <p:nvSpPr>
          <p:cNvPr id="2" name="TextBox 1"/>
          <p:cNvSpPr txBox="1"/>
          <p:nvPr/>
        </p:nvSpPr>
        <p:spPr>
          <a:xfrm>
            <a:off x="555536" y="1969333"/>
            <a:ext cx="4104456" cy="520142"/>
          </a:xfrm>
          <a:prstGeom prst="rect">
            <a:avLst/>
          </a:prstGeom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0" tIns="0" rIns="0" bIns="0" rtlCol="0" anchor="t" anchorCtr="0">
            <a:sp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</a:pPr>
            <a:r>
              <a:rPr lang="ko-KR" altLang="en-US" sz="14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 </a:t>
            </a:r>
            <a:endParaRPr lang="en-US" altLang="ko-KR" sz="1400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  <a:p>
            <a:pPr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</a:pPr>
            <a:r>
              <a:rPr lang="en-US" altLang="ko-KR" sz="1400" dirty="0">
                <a:solidFill>
                  <a:schemeClr val="tx1"/>
                </a:solidFill>
                <a:cs typeface="Arial" pitchFamily="34" charset="0"/>
              </a:rPr>
              <a:t> </a:t>
            </a:r>
            <a:r>
              <a:rPr lang="ko-KR" altLang="en-US" dirty="0">
                <a:solidFill>
                  <a:schemeClr val="tx1"/>
                </a:solidFill>
                <a:latin typeface="휴먼옛체" panose="02030504000101010101" pitchFamily="18" charset="-127"/>
                <a:ea typeface="휴먼옛체" panose="02030504000101010101" pitchFamily="18" charset="-127"/>
                <a:cs typeface="Arial" pitchFamily="34" charset="0"/>
              </a:rPr>
              <a:t>시정조사기관 </a:t>
            </a:r>
            <a:r>
              <a:rPr lang="ko-KR" altLang="en-US" dirty="0" err="1">
                <a:solidFill>
                  <a:schemeClr val="tx1"/>
                </a:solidFill>
                <a:latin typeface="휴먼옛체" panose="02030504000101010101" pitchFamily="18" charset="-127"/>
                <a:ea typeface="휴먼옛체" panose="02030504000101010101" pitchFamily="18" charset="-127"/>
              </a:rPr>
              <a:t>가트너</a:t>
            </a:r>
            <a:r>
              <a:rPr lang="en-US" altLang="ko-KR" dirty="0">
                <a:solidFill>
                  <a:schemeClr val="tx1"/>
                </a:solidFill>
                <a:latin typeface="휴먼옛체" panose="02030504000101010101" pitchFamily="18" charset="-127"/>
                <a:ea typeface="휴먼옛체" panose="02030504000101010101" pitchFamily="18" charset="-127"/>
              </a:rPr>
              <a:t>(Gartner)</a:t>
            </a:r>
            <a:r>
              <a:rPr lang="ko-KR" altLang="en-US" dirty="0">
                <a:solidFill>
                  <a:schemeClr val="tx1"/>
                </a:solidFill>
                <a:latin typeface="휴먼옛체" panose="02030504000101010101" pitchFamily="18" charset="-127"/>
                <a:ea typeface="휴먼옛체" panose="02030504000101010101" pitchFamily="18" charset="-127"/>
              </a:rPr>
              <a:t>의 예측</a:t>
            </a:r>
            <a:endParaRPr lang="ko-KR" altLang="en-US" dirty="0">
              <a:solidFill>
                <a:schemeClr val="tx1"/>
              </a:solidFill>
              <a:latin typeface="휴먼옛체" panose="02030504000101010101" pitchFamily="18" charset="-127"/>
              <a:ea typeface="휴먼옛체" panose="02030504000101010101" pitchFamily="18" charset="-127"/>
              <a:cs typeface="Arial" pitchFamily="34" charset="0"/>
            </a:endParaRPr>
          </a:p>
        </p:txBody>
      </p:sp>
      <p:cxnSp>
        <p:nvCxnSpPr>
          <p:cNvPr id="6" name="꺾인 연결선 5"/>
          <p:cNvCxnSpPr/>
          <p:nvPr/>
        </p:nvCxnSpPr>
        <p:spPr>
          <a:xfrm rot="16200000" flipH="1">
            <a:off x="5242966" y="4430898"/>
            <a:ext cx="841972" cy="432048"/>
          </a:xfrm>
          <a:prstGeom prst="bentConnector3">
            <a:avLst/>
          </a:prstGeom>
          <a:ln w="6350" cap="flat">
            <a:solidFill>
              <a:schemeClr val="accent3"/>
            </a:solidFill>
            <a:miter lim="800000"/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그림 7"/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6204076" y="1372953"/>
            <a:ext cx="5432388" cy="4303853"/>
          </a:xfrm>
          <a:prstGeom prst="rect">
            <a:avLst/>
          </a:prstGeom>
        </p:spPr>
      </p:pic>
      <p:sp>
        <p:nvSpPr>
          <p:cNvPr id="53" name="Rectangle 2"/>
          <p:cNvSpPr>
            <a:spLocks noChangeArrowheads="1"/>
          </p:cNvSpPr>
          <p:nvPr/>
        </p:nvSpPr>
        <p:spPr bwMode="auto">
          <a:xfrm>
            <a:off x="362681" y="1433199"/>
            <a:ext cx="5301271" cy="612000"/>
          </a:xfrm>
          <a:prstGeom prst="rect">
            <a:avLst/>
          </a:prstGeom>
          <a:solidFill>
            <a:srgbClr val="002060"/>
          </a:solidFill>
          <a:ln w="12700" algn="ctr">
            <a:noFill/>
            <a:miter lim="800000"/>
            <a:headEnd/>
            <a:tailEnd/>
          </a:ln>
        </p:spPr>
        <p:txBody>
          <a:bodyPr wrap="none" lIns="72000" tIns="72000" rIns="72000" bIns="72000" anchor="ctr"/>
          <a:lstStyle/>
          <a:p>
            <a:pPr fontAlgn="auto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rgbClr val="FFFFFF"/>
              </a:buClr>
              <a:defRPr/>
            </a:pPr>
            <a:r>
              <a:rPr kumimoji="0" lang="ko-KR" altLang="en-US" sz="2800" kern="0" dirty="0">
                <a:solidFill>
                  <a:schemeClr val="bg1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 산업사회 변혁</a:t>
            </a:r>
            <a:r>
              <a:rPr kumimoji="0" lang="en-US" altLang="ko-KR" sz="2800" kern="0" dirty="0">
                <a:solidFill>
                  <a:schemeClr val="bg1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&gt; </a:t>
            </a:r>
            <a:r>
              <a:rPr kumimoji="0" lang="ko-KR" altLang="en-US" sz="2800" kern="0" dirty="0">
                <a:solidFill>
                  <a:schemeClr val="bg1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일자리    </a:t>
            </a:r>
            <a:endParaRPr kumimoji="0" lang="en-US" altLang="ko-KR" sz="2800" kern="0" dirty="0">
              <a:solidFill>
                <a:schemeClr val="bg1"/>
              </a:solidFill>
              <a:latin typeface="Arial"/>
              <a:ea typeface="HY견고딕" pitchFamily="18" charset="-127"/>
            </a:endParaRPr>
          </a:p>
        </p:txBody>
      </p:sp>
      <p:sp>
        <p:nvSpPr>
          <p:cNvPr id="3" name="제목 1">
            <a:extLst>
              <a:ext uri="{FF2B5EF4-FFF2-40B4-BE49-F238E27FC236}">
                <a16:creationId xmlns:a16="http://schemas.microsoft.com/office/drawing/2014/main" id="{1568BD70-74EB-1C67-FD0D-D75E7979760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9798" y="100362"/>
            <a:ext cx="11558160" cy="1047718"/>
          </a:xfrm>
          <a:solidFill>
            <a:srgbClr val="0070C0"/>
          </a:solidFill>
        </p:spPr>
        <p:txBody>
          <a:bodyPr>
            <a:normAutofit fontScale="90000"/>
          </a:bodyPr>
          <a:lstStyle/>
          <a:p>
            <a:r>
              <a:rPr lang="en-US" altLang="ko-KR" sz="3600" b="1" kern="0" dirty="0">
                <a:latin typeface="+mj-ea"/>
              </a:rPr>
              <a:t> </a:t>
            </a:r>
            <a:br>
              <a:rPr lang="en-US" altLang="ko-KR" sz="3600" b="1" kern="0" dirty="0">
                <a:latin typeface="+mj-ea"/>
              </a:rPr>
            </a:br>
            <a:r>
              <a:rPr lang="en-US" altLang="ko-KR" sz="3600" b="1" kern="0" dirty="0">
                <a:latin typeface="+mj-ea"/>
              </a:rPr>
              <a:t> </a:t>
            </a:r>
            <a:r>
              <a:rPr kumimoji="0" lang="en-US" altLang="ko-KR" sz="3600" b="1" kern="0" dirty="0">
                <a:solidFill>
                  <a:schemeClr val="bg1"/>
                </a:solidFill>
                <a:latin typeface="+mj-ea"/>
                <a:ea typeface="+mj-ea"/>
              </a:rPr>
              <a:t>II. </a:t>
            </a:r>
            <a:r>
              <a:rPr lang="ko-KR" altLang="en-US" sz="3600" b="1" dirty="0">
                <a:solidFill>
                  <a:schemeClr val="bg1"/>
                </a:solidFill>
                <a:latin typeface="+mj-ea"/>
                <a:ea typeface="+mj-ea"/>
              </a:rPr>
              <a:t>빅데이터</a:t>
            </a:r>
            <a:r>
              <a:rPr lang="en-US" altLang="ko-KR" sz="3600" b="1" dirty="0">
                <a:solidFill>
                  <a:schemeClr val="bg1"/>
                </a:solidFill>
                <a:latin typeface="+mj-ea"/>
                <a:ea typeface="+mj-ea"/>
              </a:rPr>
              <a:t> &amp; AI</a:t>
            </a:r>
            <a:r>
              <a:rPr lang="ko-KR" altLang="en-US" sz="3600" b="1" dirty="0">
                <a:solidFill>
                  <a:schemeClr val="bg1"/>
                </a:solidFill>
                <a:latin typeface="+mj-ea"/>
                <a:ea typeface="+mj-ea"/>
              </a:rPr>
              <a:t>의 의미와 산업사회의 변화</a:t>
            </a:r>
            <a:r>
              <a:rPr lang="en-US" altLang="ko-KR" sz="3100" b="1" dirty="0">
                <a:solidFill>
                  <a:schemeClr val="bg1"/>
                </a:solidFill>
                <a:latin typeface="+mj-ea"/>
              </a:rPr>
              <a:t/>
            </a:r>
            <a:br>
              <a:rPr lang="en-US" altLang="ko-KR" sz="3100" b="1" dirty="0">
                <a:solidFill>
                  <a:schemeClr val="bg1"/>
                </a:solidFill>
                <a:latin typeface="+mj-ea"/>
              </a:rPr>
            </a:br>
            <a:endParaRPr lang="ko-KR" altLang="en-US" sz="3100" b="1" dirty="0">
              <a:solidFill>
                <a:schemeClr val="bg1"/>
              </a:solidFill>
              <a:latin typeface="HY강B" panose="02030600000101010101" pitchFamily="18" charset="-127"/>
              <a:ea typeface="HY강B" panose="02030600000101010101" pitchFamily="18" charset="-127"/>
            </a:endParaRPr>
          </a:p>
        </p:txBody>
      </p:sp>
      <p:sp>
        <p:nvSpPr>
          <p:cNvPr id="10" name="직사각형 9">
            <a:extLst>
              <a:ext uri="{FF2B5EF4-FFF2-40B4-BE49-F238E27FC236}">
                <a16:creationId xmlns:a16="http://schemas.microsoft.com/office/drawing/2014/main" id="{58984F5A-E7E7-9861-C3E7-8942553A69B8}"/>
              </a:ext>
            </a:extLst>
          </p:cNvPr>
          <p:cNvSpPr/>
          <p:nvPr/>
        </p:nvSpPr>
        <p:spPr>
          <a:xfrm>
            <a:off x="517300" y="4949304"/>
            <a:ext cx="5470626" cy="1817870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marL="342900" indent="-342900" algn="just">
              <a:lnSpc>
                <a:spcPct val="160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v"/>
            </a:pPr>
            <a:r>
              <a:rPr lang="ko-KR" altLang="en-US" dirty="0">
                <a:solidFill>
                  <a:srgbClr val="FF0000"/>
                </a:solidFill>
                <a:latin typeface="휴먼모음T" panose="02030504000101010101" pitchFamily="18" charset="-127"/>
                <a:ea typeface="휴먼모음T" panose="02030504000101010101" pitchFamily="18" charset="-127"/>
              </a:rPr>
              <a:t>세계포럼 </a:t>
            </a:r>
            <a:r>
              <a:rPr lang="en-US" altLang="ko-KR" dirty="0">
                <a:solidFill>
                  <a:srgbClr val="FF0000"/>
                </a:solidFill>
                <a:latin typeface="휴먼모음T" panose="02030504000101010101" pitchFamily="18" charset="-127"/>
                <a:ea typeface="휴먼모음T" panose="02030504000101010101" pitchFamily="18" charset="-127"/>
              </a:rPr>
              <a:t>2024</a:t>
            </a:r>
            <a:r>
              <a:rPr lang="ko-KR" altLang="en-US" dirty="0">
                <a:solidFill>
                  <a:srgbClr val="FF0000"/>
                </a:solidFill>
                <a:latin typeface="휴먼모음T" panose="02030504000101010101" pitchFamily="18" charset="-127"/>
                <a:ea typeface="휴먼모음T" panose="02030504000101010101" pitchFamily="18" charset="-127"/>
              </a:rPr>
              <a:t>년 </a:t>
            </a:r>
            <a:r>
              <a:rPr lang="en-US" altLang="ko-KR" dirty="0">
                <a:solidFill>
                  <a:srgbClr val="FF0000"/>
                </a:solidFill>
                <a:latin typeface="휴먼모음T" panose="02030504000101010101" pitchFamily="18" charset="-127"/>
                <a:ea typeface="휴먼모음T" panose="02030504000101010101" pitchFamily="18" charset="-127"/>
              </a:rPr>
              <a:t>70</a:t>
            </a:r>
            <a:r>
              <a:rPr lang="ko-KR" altLang="en-US" dirty="0">
                <a:solidFill>
                  <a:srgbClr val="FF0000"/>
                </a:solidFill>
                <a:latin typeface="휴먼모음T" panose="02030504000101010101" pitchFamily="18" charset="-127"/>
                <a:ea typeface="휴먼모음T" panose="02030504000101010101" pitchFamily="18" charset="-127"/>
              </a:rPr>
              <a:t>만 </a:t>
            </a:r>
            <a:r>
              <a:rPr lang="en-US" altLang="ko-KR" dirty="0">
                <a:solidFill>
                  <a:srgbClr val="FF0000"/>
                </a:solidFill>
                <a:latin typeface="휴먼모음T" panose="02030504000101010101" pitchFamily="18" charset="-127"/>
                <a:ea typeface="휴먼모음T" panose="02030504000101010101" pitchFamily="18" charset="-127"/>
              </a:rPr>
              <a:t>6</a:t>
            </a:r>
            <a:r>
              <a:rPr lang="ko-KR" altLang="en-US" dirty="0" err="1">
                <a:solidFill>
                  <a:srgbClr val="FF0000"/>
                </a:solidFill>
                <a:latin typeface="휴먼모음T" panose="02030504000101010101" pitchFamily="18" charset="-127"/>
                <a:ea typeface="휴먼모음T" panose="02030504000101010101" pitchFamily="18" charset="-127"/>
              </a:rPr>
              <a:t>천개</a:t>
            </a:r>
            <a:r>
              <a:rPr lang="ko-KR" altLang="en-US" dirty="0">
                <a:solidFill>
                  <a:srgbClr val="FF0000"/>
                </a:solidFill>
                <a:latin typeface="휴먼모음T" panose="02030504000101010101" pitchFamily="18" charset="-127"/>
                <a:ea typeface="휴먼모음T" panose="02030504000101010101" pitchFamily="18" charset="-127"/>
              </a:rPr>
              <a:t> 일자리 사라질 것 </a:t>
            </a:r>
            <a:endParaRPr lang="en-US" altLang="ko-KR" dirty="0">
              <a:solidFill>
                <a:srgbClr val="FF0000"/>
              </a:solidFill>
              <a:latin typeface="휴먼모음T" panose="02030504000101010101" pitchFamily="18" charset="-127"/>
              <a:ea typeface="휴먼모음T" panose="02030504000101010101" pitchFamily="18" charset="-127"/>
            </a:endParaRPr>
          </a:p>
          <a:p>
            <a:pPr marL="342900" indent="-342900" algn="just">
              <a:lnSpc>
                <a:spcPct val="160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v"/>
            </a:pPr>
            <a:r>
              <a:rPr lang="ko-KR" altLang="en-US" dirty="0">
                <a:solidFill>
                  <a:srgbClr val="FF0000"/>
                </a:solidFill>
                <a:latin typeface="휴먼모음T" panose="02030504000101010101" pitchFamily="18" charset="-127"/>
                <a:ea typeface="휴먼모음T" panose="02030504000101010101" pitchFamily="18" charset="-127"/>
              </a:rPr>
              <a:t>미국 등 </a:t>
            </a:r>
            <a:r>
              <a:rPr lang="en-US" altLang="ko-KR" dirty="0">
                <a:solidFill>
                  <a:srgbClr val="FF0000"/>
                </a:solidFill>
                <a:latin typeface="휴먼모음T" panose="02030504000101010101" pitchFamily="18" charset="-127"/>
                <a:ea typeface="휴먼모음T" panose="02030504000101010101" pitchFamily="18" charset="-127"/>
              </a:rPr>
              <a:t>8</a:t>
            </a:r>
            <a:r>
              <a:rPr lang="ko-KR" altLang="en-US" dirty="0">
                <a:solidFill>
                  <a:srgbClr val="FF0000"/>
                </a:solidFill>
                <a:latin typeface="휴먼모음T" panose="02030504000101010101" pitchFamily="18" charset="-127"/>
                <a:ea typeface="휴먼모음T" panose="02030504000101010101" pitchFamily="18" charset="-127"/>
              </a:rPr>
              <a:t>개국 </a:t>
            </a:r>
            <a:r>
              <a:rPr lang="en-US" altLang="ko-KR" dirty="0">
                <a:solidFill>
                  <a:srgbClr val="FF0000"/>
                </a:solidFill>
                <a:latin typeface="휴먼모음T" panose="02030504000101010101" pitchFamily="18" charset="-127"/>
                <a:ea typeface="휴먼모음T" panose="02030504000101010101" pitchFamily="18" charset="-127"/>
              </a:rPr>
              <a:t>1</a:t>
            </a:r>
            <a:r>
              <a:rPr lang="ko-KR" altLang="en-US" dirty="0" err="1">
                <a:solidFill>
                  <a:srgbClr val="FF0000"/>
                </a:solidFill>
                <a:latin typeface="휴먼모음T" panose="02030504000101010101" pitchFamily="18" charset="-127"/>
                <a:ea typeface="휴먼모음T" panose="02030504000101010101" pitchFamily="18" charset="-127"/>
              </a:rPr>
              <a:t>억명</a:t>
            </a:r>
            <a:r>
              <a:rPr lang="ko-KR" altLang="en-US" dirty="0">
                <a:solidFill>
                  <a:srgbClr val="FF0000"/>
                </a:solidFill>
                <a:latin typeface="휴먼모음T" panose="02030504000101010101" pitchFamily="18" charset="-127"/>
                <a:ea typeface="휴먼모음T" panose="02030504000101010101" pitchFamily="18" charset="-127"/>
              </a:rPr>
              <a:t> 일자리전환</a:t>
            </a:r>
            <a:r>
              <a:rPr lang="en-US" altLang="ko-KR" dirty="0">
                <a:solidFill>
                  <a:srgbClr val="FF0000"/>
                </a:solidFill>
                <a:latin typeface="휴먼모음T" panose="02030504000101010101" pitchFamily="18" charset="-127"/>
                <a:ea typeface="휴먼모음T" panose="02030504000101010101" pitchFamily="18" charset="-127"/>
              </a:rPr>
              <a:t>(</a:t>
            </a:r>
            <a:r>
              <a:rPr lang="ko-KR" altLang="en-US" dirty="0" err="1">
                <a:solidFill>
                  <a:srgbClr val="FF0000"/>
                </a:solidFill>
                <a:latin typeface="휴먼모음T" panose="02030504000101010101" pitchFamily="18" charset="-127"/>
                <a:ea typeface="휴먼모음T" panose="02030504000101010101" pitchFamily="18" charset="-127"/>
              </a:rPr>
              <a:t>맥켄지보고서</a:t>
            </a:r>
            <a:r>
              <a:rPr lang="ko-KR" altLang="en-US" dirty="0">
                <a:solidFill>
                  <a:srgbClr val="FF0000"/>
                </a:solidFill>
                <a:latin typeface="휴먼모음T" panose="02030504000101010101" pitchFamily="18" charset="-127"/>
                <a:ea typeface="휴먼모음T" panose="02030504000101010101" pitchFamily="18" charset="-127"/>
              </a:rPr>
              <a:t> </a:t>
            </a:r>
            <a:r>
              <a:rPr lang="en-US" altLang="ko-KR" dirty="0">
                <a:solidFill>
                  <a:srgbClr val="FF0000"/>
                </a:solidFill>
                <a:latin typeface="휴먼모음T" panose="02030504000101010101" pitchFamily="18" charset="-127"/>
                <a:ea typeface="휴먼모음T" panose="02030504000101010101" pitchFamily="18" charset="-127"/>
              </a:rPr>
              <a:t>2021)</a:t>
            </a:r>
            <a:r>
              <a:rPr lang="ko-KR" altLang="en-US" dirty="0">
                <a:solidFill>
                  <a:srgbClr val="FF0000"/>
                </a:solidFill>
                <a:latin typeface="휴먼모음T" panose="02030504000101010101" pitchFamily="18" charset="-127"/>
                <a:ea typeface="휴먼모음T" panose="02030504000101010101" pitchFamily="18" charset="-127"/>
              </a:rPr>
              <a:t> </a:t>
            </a:r>
            <a:endParaRPr lang="en-US" altLang="ko-KR" dirty="0">
              <a:solidFill>
                <a:srgbClr val="FF0000"/>
              </a:solidFill>
              <a:latin typeface="휴먼모음T" panose="02030504000101010101" pitchFamily="18" charset="-127"/>
              <a:ea typeface="휴먼모음T" panose="02030504000101010101" pitchFamily="18" charset="-127"/>
            </a:endParaRPr>
          </a:p>
          <a:p>
            <a:pPr marL="342900" indent="-342900" algn="just">
              <a:lnSpc>
                <a:spcPct val="160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v"/>
            </a:pPr>
            <a:r>
              <a:rPr lang="ko-KR" altLang="en-US" kern="0" dirty="0">
                <a:solidFill>
                  <a:srgbClr val="000000"/>
                </a:solidFill>
                <a:latin typeface="휴먼모음T" panose="02030504000101010101" pitchFamily="18" charset="-127"/>
                <a:ea typeface="휴먼모음T" panose="02030504000101010101" pitchFamily="18" charset="-127"/>
                <a:cs typeface="Aharoni" panose="02010803020104030203" pitchFamily="2" charset="-79"/>
              </a:rPr>
              <a:t>새로운 </a:t>
            </a:r>
            <a:r>
              <a:rPr lang="ko-KR" altLang="en-US" kern="0" dirty="0" err="1">
                <a:solidFill>
                  <a:srgbClr val="000000"/>
                </a:solidFill>
                <a:latin typeface="휴먼모음T" panose="02030504000101010101" pitchFamily="18" charset="-127"/>
                <a:ea typeface="휴먼모음T" panose="02030504000101010101" pitchFamily="18" charset="-127"/>
                <a:cs typeface="Aharoni" panose="02010803020104030203" pitchFamily="2" charset="-79"/>
              </a:rPr>
              <a:t>직업군</a:t>
            </a:r>
            <a:r>
              <a:rPr lang="en-US" altLang="ko-KR" kern="0" dirty="0">
                <a:solidFill>
                  <a:srgbClr val="000000"/>
                </a:solidFill>
                <a:latin typeface="휴먼모음T" panose="02030504000101010101" pitchFamily="18" charset="-127"/>
                <a:ea typeface="휴먼모음T" panose="02030504000101010101" pitchFamily="18" charset="-127"/>
                <a:cs typeface="Aharoni" panose="02010803020104030203" pitchFamily="2" charset="-79"/>
              </a:rPr>
              <a:t>:</a:t>
            </a:r>
            <a:r>
              <a:rPr lang="ko-KR" altLang="en-US" kern="0" dirty="0">
                <a:solidFill>
                  <a:srgbClr val="000000"/>
                </a:solidFill>
                <a:latin typeface="휴먼모음T" panose="02030504000101010101" pitchFamily="18" charset="-127"/>
                <a:ea typeface="휴먼모음T" panose="02030504000101010101" pitchFamily="18" charset="-127"/>
                <a:cs typeface="Aharoni" panose="02010803020104030203" pitchFamily="2" charset="-79"/>
              </a:rPr>
              <a:t> </a:t>
            </a:r>
            <a:r>
              <a:rPr lang="en-US" altLang="ko-KR" kern="0" dirty="0">
                <a:solidFill>
                  <a:srgbClr val="000000"/>
                </a:solidFill>
                <a:latin typeface="휴먼모음T" panose="02030504000101010101" pitchFamily="18" charset="-127"/>
                <a:ea typeface="휴먼모음T" panose="02030504000101010101" pitchFamily="18" charset="-127"/>
                <a:cs typeface="Aharoni" panose="02010803020104030203" pitchFamily="2" charset="-79"/>
              </a:rPr>
              <a:t>AL </a:t>
            </a:r>
            <a:r>
              <a:rPr lang="ko-KR" altLang="en-US" kern="0" dirty="0">
                <a:solidFill>
                  <a:srgbClr val="000000"/>
                </a:solidFill>
                <a:latin typeface="휴먼모음T" panose="02030504000101010101" pitchFamily="18" charset="-127"/>
                <a:ea typeface="휴먼모음T" panose="02030504000101010101" pitchFamily="18" charset="-127"/>
                <a:cs typeface="Aharoni" panose="02010803020104030203" pitchFamily="2" charset="-79"/>
              </a:rPr>
              <a:t>대체로봇을 움직이는 빅데이터</a:t>
            </a:r>
            <a:r>
              <a:rPr lang="en-US" altLang="ko-KR" kern="0" dirty="0">
                <a:solidFill>
                  <a:srgbClr val="000000"/>
                </a:solidFill>
                <a:latin typeface="휴먼모음T" panose="02030504000101010101" pitchFamily="18" charset="-127"/>
                <a:ea typeface="휴먼모음T" panose="02030504000101010101" pitchFamily="18" charset="-127"/>
                <a:cs typeface="Aharoni" panose="02010803020104030203" pitchFamily="2" charset="-79"/>
              </a:rPr>
              <a:t>/AI &amp; Prompt </a:t>
            </a:r>
            <a:r>
              <a:rPr lang="ko-KR" altLang="en-US" kern="0" dirty="0">
                <a:solidFill>
                  <a:srgbClr val="000000"/>
                </a:solidFill>
                <a:latin typeface="휴먼모음T" panose="02030504000101010101" pitchFamily="18" charset="-127"/>
                <a:ea typeface="휴먼모음T" panose="02030504000101010101" pitchFamily="18" charset="-127"/>
                <a:cs typeface="Aharoni" panose="02010803020104030203" pitchFamily="2" charset="-79"/>
              </a:rPr>
              <a:t>엔지니어</a:t>
            </a:r>
            <a:r>
              <a:rPr lang="en-US" altLang="ko-KR" kern="0" dirty="0">
                <a:solidFill>
                  <a:srgbClr val="000000"/>
                </a:solidFill>
                <a:latin typeface="휴먼모음T" panose="02030504000101010101" pitchFamily="18" charset="-127"/>
                <a:ea typeface="휴먼모음T" panose="02030504000101010101" pitchFamily="18" charset="-127"/>
                <a:cs typeface="Aharoni" panose="02010803020104030203" pitchFamily="2" charset="-79"/>
              </a:rPr>
              <a:t> </a:t>
            </a:r>
            <a:endParaRPr lang="ko-KR" altLang="en-US" dirty="0">
              <a:latin typeface="휴먼모음T" panose="02030504000101010101" pitchFamily="18" charset="-127"/>
              <a:ea typeface="휴먼모음T" panose="02030504000101010101" pitchFamily="18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58662955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개체 1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25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03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16" name="개체 1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25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7" name="다이어그램 6"/>
          <p:cNvGraphicFramePr/>
          <p:nvPr>
            <p:extLst>
              <p:ext uri="{D42A27DB-BD31-4B8C-83A1-F6EECF244321}">
                <p14:modId xmlns:p14="http://schemas.microsoft.com/office/powerpoint/2010/main" val="1621546853"/>
              </p:ext>
            </p:extLst>
          </p:nvPr>
        </p:nvGraphicFramePr>
        <p:xfrm>
          <a:off x="3359696" y="928198"/>
          <a:ext cx="8637232" cy="567069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sp>
        <p:nvSpPr>
          <p:cNvPr id="8" name="직사각형 7"/>
          <p:cNvSpPr/>
          <p:nvPr/>
        </p:nvSpPr>
        <p:spPr>
          <a:xfrm>
            <a:off x="219919" y="1702147"/>
            <a:ext cx="894865" cy="1273384"/>
          </a:xfrm>
          <a:prstGeom prst="rect">
            <a:avLst/>
          </a:prstGeom>
          <a:solidFill>
            <a:srgbClr val="00B050"/>
          </a:solidFill>
          <a:ln w="9525" cap="flat">
            <a:solidFill>
              <a:schemeClr val="accent3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r>
              <a:rPr lang="en-US" altLang="ko-KR" sz="1400" b="1" dirty="0">
                <a:solidFill>
                  <a:schemeClr val="bg1"/>
                </a:solidFill>
                <a:cs typeface="Arial" pitchFamily="34" charset="0"/>
              </a:rPr>
              <a:t>AI </a:t>
            </a:r>
            <a:r>
              <a:rPr lang="ko-KR" altLang="en-US" sz="1400" b="1" dirty="0">
                <a:solidFill>
                  <a:schemeClr val="bg1"/>
                </a:solidFill>
                <a:cs typeface="Arial" pitchFamily="34" charset="0"/>
              </a:rPr>
              <a:t>초연결성</a:t>
            </a:r>
          </a:p>
        </p:txBody>
      </p:sp>
      <p:sp>
        <p:nvSpPr>
          <p:cNvPr id="9" name="직사각형 8"/>
          <p:cNvSpPr/>
          <p:nvPr/>
        </p:nvSpPr>
        <p:spPr>
          <a:xfrm>
            <a:off x="219919" y="3270802"/>
            <a:ext cx="894865" cy="913515"/>
          </a:xfrm>
          <a:prstGeom prst="rect">
            <a:avLst/>
          </a:prstGeom>
          <a:solidFill>
            <a:srgbClr val="FF0000"/>
          </a:solidFill>
          <a:ln w="9525" cap="flat">
            <a:solidFill>
              <a:schemeClr val="accent3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r>
              <a:rPr lang="ko-KR" altLang="en-US" sz="1400" b="1" dirty="0" err="1">
                <a:solidFill>
                  <a:schemeClr val="bg1"/>
                </a:solidFill>
                <a:cs typeface="Arial" pitchFamily="34" charset="0"/>
              </a:rPr>
              <a:t>머신러닝</a:t>
            </a:r>
            <a:r>
              <a:rPr lang="ko-KR" altLang="en-US" sz="1400" b="1" dirty="0">
                <a:solidFill>
                  <a:schemeClr val="bg1"/>
                </a:solidFill>
                <a:cs typeface="Arial" pitchFamily="34" charset="0"/>
              </a:rPr>
              <a:t> 학습</a:t>
            </a:r>
            <a:r>
              <a:rPr lang="en-US" altLang="ko-KR" sz="1400" b="1" dirty="0">
                <a:solidFill>
                  <a:schemeClr val="bg1"/>
                </a:solidFill>
                <a:cs typeface="Arial" pitchFamily="34" charset="0"/>
              </a:rPr>
              <a:t>&gt;</a:t>
            </a:r>
          </a:p>
          <a:p>
            <a:pPr algn="ctr">
              <a:lnSpc>
                <a:spcPct val="90000"/>
              </a:lnSpc>
              <a:spcBef>
                <a:spcPts val="900"/>
              </a:spcBef>
            </a:pPr>
            <a:r>
              <a:rPr lang="ko-KR" altLang="en-US" sz="1400" b="1" dirty="0" err="1">
                <a:solidFill>
                  <a:schemeClr val="bg1"/>
                </a:solidFill>
                <a:cs typeface="Arial" pitchFamily="34" charset="0"/>
              </a:rPr>
              <a:t>초지능</a:t>
            </a:r>
            <a:endParaRPr lang="ko-KR" altLang="en-US" sz="1400" b="1" dirty="0">
              <a:solidFill>
                <a:schemeClr val="bg1"/>
              </a:solidFill>
              <a:cs typeface="Arial" pitchFamily="34" charset="0"/>
            </a:endParaRPr>
          </a:p>
        </p:txBody>
      </p:sp>
      <p:sp>
        <p:nvSpPr>
          <p:cNvPr id="10" name="직사각형 9"/>
          <p:cNvSpPr/>
          <p:nvPr/>
        </p:nvSpPr>
        <p:spPr>
          <a:xfrm>
            <a:off x="219919" y="4454441"/>
            <a:ext cx="894865" cy="913515"/>
          </a:xfrm>
          <a:prstGeom prst="rect">
            <a:avLst/>
          </a:prstGeom>
          <a:solidFill>
            <a:schemeClr val="accent1"/>
          </a:solidFill>
          <a:ln w="9525" cap="flat">
            <a:solidFill>
              <a:schemeClr val="accent3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r>
              <a:rPr lang="en-US" altLang="ko-KR" sz="1400" b="1" dirty="0">
                <a:solidFill>
                  <a:schemeClr val="bg1"/>
                </a:solidFill>
                <a:cs typeface="Arial" pitchFamily="34" charset="0"/>
              </a:rPr>
              <a:t>AI</a:t>
            </a:r>
            <a:r>
              <a:rPr lang="ko-KR" altLang="en-US" sz="1400" b="1" dirty="0">
                <a:solidFill>
                  <a:schemeClr val="bg1"/>
                </a:solidFill>
                <a:cs typeface="Arial" pitchFamily="34" charset="0"/>
              </a:rPr>
              <a:t> 연계 </a:t>
            </a:r>
            <a:r>
              <a:rPr lang="en-US" altLang="ko-KR" sz="1400" b="1" dirty="0">
                <a:solidFill>
                  <a:schemeClr val="bg1"/>
                </a:solidFill>
                <a:cs typeface="Arial" pitchFamily="34" charset="0"/>
              </a:rPr>
              <a:t/>
            </a:r>
            <a:br>
              <a:rPr lang="en-US" altLang="ko-KR" sz="1400" b="1" dirty="0">
                <a:solidFill>
                  <a:schemeClr val="bg1"/>
                </a:solidFill>
                <a:cs typeface="Arial" pitchFamily="34" charset="0"/>
              </a:rPr>
            </a:br>
            <a:r>
              <a:rPr lang="ko-KR" altLang="en-US" sz="1400" b="1" dirty="0">
                <a:solidFill>
                  <a:schemeClr val="bg1"/>
                </a:solidFill>
                <a:cs typeface="Arial" pitchFamily="34" charset="0"/>
              </a:rPr>
              <a:t>신기술</a:t>
            </a:r>
          </a:p>
        </p:txBody>
      </p:sp>
      <p:sp>
        <p:nvSpPr>
          <p:cNvPr id="11" name="직사각형 10"/>
          <p:cNvSpPr/>
          <p:nvPr/>
        </p:nvSpPr>
        <p:spPr bwMode="auto">
          <a:xfrm>
            <a:off x="1162648" y="1735564"/>
            <a:ext cx="2799334" cy="1267458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rot="0" spcFirstLastPara="0" vertOverflow="overflow" horzOverflow="overflow" vert="horz" wrap="square" lIns="36000" tIns="3600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113414" indent="-113414" eaLnBrk="0" fontAlgn="auto" latinLnBrk="0" hangingPunct="0">
              <a:spcBef>
                <a:spcPts val="600"/>
              </a:spcBef>
              <a:spcAft>
                <a:spcPts val="0"/>
              </a:spcAft>
              <a:buClr>
                <a:srgbClr val="9B1717"/>
              </a:buClr>
              <a:buSzPct val="100000"/>
              <a:buFont typeface="Arial" panose="020B0604020202020204" pitchFamily="34" charset="0"/>
              <a:buChar char="•"/>
            </a:pPr>
            <a:r>
              <a:rPr kumimoji="0" lang="ko-KR" altLang="en-US" sz="1300" kern="0" dirty="0">
                <a:solidFill>
                  <a:srgbClr val="000000"/>
                </a:solidFill>
                <a:latin typeface="Arial"/>
                <a:ea typeface="맑은 고딕"/>
              </a:rPr>
              <a:t>초고속인터넷</a:t>
            </a:r>
            <a:r>
              <a:rPr kumimoji="0" lang="en-US" altLang="ko-KR" sz="1300" kern="0" dirty="0">
                <a:solidFill>
                  <a:srgbClr val="000000"/>
                </a:solidFill>
                <a:latin typeface="Arial"/>
                <a:ea typeface="맑은 고딕"/>
              </a:rPr>
              <a:t>, 5G </a:t>
            </a:r>
            <a:r>
              <a:rPr kumimoji="0" lang="ko-KR" altLang="en-US" sz="1300" kern="0" dirty="0">
                <a:solidFill>
                  <a:srgbClr val="000000"/>
                </a:solidFill>
                <a:latin typeface="Arial"/>
                <a:ea typeface="맑은 고딕"/>
              </a:rPr>
              <a:t>등 </a:t>
            </a:r>
            <a:r>
              <a:rPr kumimoji="0" lang="en-US" altLang="ko-KR" sz="1300" b="1" kern="0" dirty="0">
                <a:solidFill>
                  <a:srgbClr val="000000"/>
                </a:solidFill>
                <a:latin typeface="Arial"/>
                <a:ea typeface="맑은 고딕"/>
              </a:rPr>
              <a:t>N/W </a:t>
            </a:r>
            <a:r>
              <a:rPr kumimoji="0" lang="ko-KR" altLang="en-US" sz="1300" b="1" kern="0" dirty="0">
                <a:solidFill>
                  <a:srgbClr val="000000"/>
                </a:solidFill>
                <a:latin typeface="Arial"/>
                <a:ea typeface="맑은 고딕"/>
              </a:rPr>
              <a:t>속도 향상</a:t>
            </a:r>
            <a:endParaRPr kumimoji="0" lang="en-US" altLang="ko-KR" sz="1300" b="1" kern="0" dirty="0">
              <a:solidFill>
                <a:srgbClr val="000000"/>
              </a:solidFill>
              <a:latin typeface="Arial"/>
              <a:ea typeface="맑은 고딕"/>
            </a:endParaRPr>
          </a:p>
          <a:p>
            <a:pPr marL="113414" indent="-113414" eaLnBrk="0" fontAlgn="auto" latinLnBrk="0" hangingPunct="0">
              <a:spcBef>
                <a:spcPts val="600"/>
              </a:spcBef>
              <a:spcAft>
                <a:spcPts val="0"/>
              </a:spcAft>
              <a:buClr>
                <a:srgbClr val="9B1717"/>
              </a:buClr>
              <a:buSzPct val="100000"/>
              <a:buFont typeface="Arial" panose="020B0604020202020204" pitchFamily="34" charset="0"/>
              <a:buChar char="•"/>
            </a:pPr>
            <a:r>
              <a:rPr kumimoji="0" lang="en-US" altLang="ko-KR" sz="1300" b="1" kern="0" dirty="0">
                <a:solidFill>
                  <a:srgbClr val="000000"/>
                </a:solidFill>
                <a:latin typeface="Arial"/>
                <a:ea typeface="맑은 고딕"/>
              </a:rPr>
              <a:t>SNS </a:t>
            </a:r>
            <a:r>
              <a:rPr kumimoji="0" lang="ko-KR" altLang="en-US" sz="1300" b="1" kern="0" dirty="0">
                <a:solidFill>
                  <a:srgbClr val="000000"/>
                </a:solidFill>
                <a:latin typeface="Arial"/>
                <a:ea typeface="맑은 고딕"/>
              </a:rPr>
              <a:t>확대</a:t>
            </a:r>
            <a:r>
              <a:rPr kumimoji="0" lang="ko-KR" altLang="en-US" sz="1300" kern="0" dirty="0">
                <a:solidFill>
                  <a:srgbClr val="000000"/>
                </a:solidFill>
                <a:latin typeface="Arial"/>
                <a:ea typeface="맑은 고딕"/>
              </a:rPr>
              <a:t>로 커뮤니케이션 다각화</a:t>
            </a:r>
            <a:endParaRPr kumimoji="0" lang="en-US" altLang="ko-KR" sz="1300" kern="0" dirty="0">
              <a:solidFill>
                <a:srgbClr val="000000"/>
              </a:solidFill>
              <a:latin typeface="Arial"/>
              <a:ea typeface="맑은 고딕"/>
            </a:endParaRPr>
          </a:p>
          <a:p>
            <a:pPr marL="113414" indent="-113414" eaLnBrk="0" fontAlgn="auto" latinLnBrk="0" hangingPunct="0">
              <a:spcBef>
                <a:spcPts val="600"/>
              </a:spcBef>
              <a:spcAft>
                <a:spcPts val="0"/>
              </a:spcAft>
              <a:buClr>
                <a:srgbClr val="9B1717"/>
              </a:buClr>
              <a:buSzPct val="100000"/>
              <a:buFont typeface="Arial" panose="020B0604020202020204" pitchFamily="34" charset="0"/>
              <a:buChar char="•"/>
            </a:pPr>
            <a:r>
              <a:rPr kumimoji="0" lang="en-US" altLang="ko-KR" sz="1300" b="1" kern="0" dirty="0" err="1">
                <a:solidFill>
                  <a:srgbClr val="000000"/>
                </a:solidFill>
                <a:latin typeface="Arial"/>
                <a:ea typeface="맑은 고딕"/>
              </a:rPr>
              <a:t>IoT</a:t>
            </a:r>
            <a:r>
              <a:rPr kumimoji="0" lang="en-US" altLang="ko-KR" sz="1300" b="1" kern="0" dirty="0">
                <a:solidFill>
                  <a:srgbClr val="000000"/>
                </a:solidFill>
                <a:latin typeface="Arial"/>
                <a:ea typeface="맑은 고딕"/>
              </a:rPr>
              <a:t> (</a:t>
            </a:r>
            <a:r>
              <a:rPr kumimoji="0" lang="ko-KR" altLang="en-US" sz="1300" b="1" kern="0" dirty="0">
                <a:solidFill>
                  <a:srgbClr val="000000"/>
                </a:solidFill>
                <a:latin typeface="Arial"/>
                <a:ea typeface="맑은 고딕"/>
              </a:rPr>
              <a:t>사물인터넷</a:t>
            </a:r>
            <a:r>
              <a:rPr kumimoji="0" lang="en-US" altLang="ko-KR" sz="1300" b="1" kern="0" dirty="0">
                <a:solidFill>
                  <a:srgbClr val="000000"/>
                </a:solidFill>
                <a:latin typeface="Arial"/>
                <a:ea typeface="맑은 고딕"/>
              </a:rPr>
              <a:t>)</a:t>
            </a:r>
            <a:r>
              <a:rPr kumimoji="0" lang="en-US" altLang="ko-KR" sz="1300" kern="0" dirty="0">
                <a:solidFill>
                  <a:srgbClr val="000000"/>
                </a:solidFill>
                <a:latin typeface="Arial"/>
                <a:ea typeface="맑은 고딕"/>
              </a:rPr>
              <a:t> </a:t>
            </a:r>
            <a:r>
              <a:rPr kumimoji="0" lang="ko-KR" altLang="en-US" sz="1300" kern="0" dirty="0">
                <a:solidFill>
                  <a:srgbClr val="000000"/>
                </a:solidFill>
                <a:latin typeface="Arial"/>
                <a:ea typeface="맑은 고딕"/>
              </a:rPr>
              <a:t>기반 다양한 기기 간 실시간 정보 교류 및 해석</a:t>
            </a:r>
            <a:endParaRPr kumimoji="0" lang="en-US" altLang="ko-KR" sz="1300" kern="0" dirty="0">
              <a:solidFill>
                <a:srgbClr val="000000"/>
              </a:solidFill>
              <a:latin typeface="Arial"/>
              <a:ea typeface="맑은 고딕"/>
            </a:endParaRPr>
          </a:p>
          <a:p>
            <a:pPr marL="113414" indent="-113414" eaLnBrk="0" fontAlgn="auto" latinLnBrk="0" hangingPunct="0">
              <a:spcBef>
                <a:spcPts val="600"/>
              </a:spcBef>
              <a:spcAft>
                <a:spcPts val="0"/>
              </a:spcAft>
              <a:buClr>
                <a:srgbClr val="9B1717"/>
              </a:buClr>
              <a:buSzPct val="100000"/>
              <a:buFont typeface="Arial" panose="020B0604020202020204" pitchFamily="34" charset="0"/>
              <a:buChar char="•"/>
            </a:pPr>
            <a:r>
              <a:rPr kumimoji="0" lang="en-US" altLang="ko-KR" sz="1300" b="1" kern="0" dirty="0">
                <a:solidFill>
                  <a:srgbClr val="000000"/>
                </a:solidFill>
                <a:latin typeface="Arial"/>
                <a:ea typeface="맑은 고딕"/>
              </a:rPr>
              <a:t>Cloud </a:t>
            </a:r>
            <a:r>
              <a:rPr kumimoji="0" lang="ko-KR" altLang="en-US" sz="1300" kern="0" dirty="0">
                <a:solidFill>
                  <a:srgbClr val="000000"/>
                </a:solidFill>
                <a:latin typeface="Arial"/>
                <a:ea typeface="맑은 고딕"/>
              </a:rPr>
              <a:t>기반 대량 원격 정보 이용</a:t>
            </a:r>
            <a:endParaRPr kumimoji="0" lang="en-US" altLang="ko-KR" sz="1300" kern="0" dirty="0">
              <a:solidFill>
                <a:srgbClr val="000000"/>
              </a:solidFill>
              <a:latin typeface="Arial"/>
              <a:ea typeface="맑은 고딕"/>
            </a:endParaRPr>
          </a:p>
        </p:txBody>
      </p:sp>
      <p:sp>
        <p:nvSpPr>
          <p:cNvPr id="12" name="직사각형 11"/>
          <p:cNvSpPr/>
          <p:nvPr/>
        </p:nvSpPr>
        <p:spPr bwMode="auto">
          <a:xfrm>
            <a:off x="1162648" y="3270803"/>
            <a:ext cx="2799334" cy="913515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rot="0" spcFirstLastPara="0" vertOverflow="overflow" horzOverflow="overflow" vert="horz" wrap="square" lIns="36000" tIns="3600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113414" indent="-113414" eaLnBrk="0" fontAlgn="auto" latinLnBrk="0" hangingPunct="0">
              <a:spcBef>
                <a:spcPts val="600"/>
              </a:spcBef>
              <a:spcAft>
                <a:spcPts val="0"/>
              </a:spcAft>
              <a:buClr>
                <a:srgbClr val="9B1717"/>
              </a:buClr>
              <a:buSzPct val="100000"/>
              <a:buFont typeface="Arial" panose="020B0604020202020204" pitchFamily="34" charset="0"/>
              <a:buChar char="•"/>
            </a:pPr>
            <a:r>
              <a:rPr kumimoji="0" lang="en-US" altLang="ko-KR" sz="1300" b="1" kern="0" dirty="0">
                <a:solidFill>
                  <a:srgbClr val="000000"/>
                </a:solidFill>
                <a:latin typeface="Arial"/>
                <a:ea typeface="맑은 고딕"/>
              </a:rPr>
              <a:t>AI (</a:t>
            </a:r>
            <a:r>
              <a:rPr kumimoji="0" lang="ko-KR" altLang="en-US" sz="1300" b="1" kern="0" dirty="0">
                <a:solidFill>
                  <a:srgbClr val="000000"/>
                </a:solidFill>
                <a:latin typeface="Arial"/>
                <a:ea typeface="맑은 고딕"/>
              </a:rPr>
              <a:t>인공지능</a:t>
            </a:r>
            <a:r>
              <a:rPr kumimoji="0" lang="en-US" altLang="ko-KR" sz="1300" b="1" kern="0" dirty="0">
                <a:solidFill>
                  <a:srgbClr val="000000"/>
                </a:solidFill>
                <a:latin typeface="Arial"/>
                <a:ea typeface="맑은 고딕"/>
              </a:rPr>
              <a:t>)</a:t>
            </a:r>
            <a:r>
              <a:rPr kumimoji="0" lang="ko-KR" altLang="en-US" sz="1300" b="1" kern="0" dirty="0">
                <a:solidFill>
                  <a:srgbClr val="000000"/>
                </a:solidFill>
                <a:latin typeface="Arial"/>
                <a:ea typeface="맑은 고딕"/>
              </a:rPr>
              <a:t>의</a:t>
            </a:r>
            <a:r>
              <a:rPr kumimoji="0" lang="en-US" altLang="ko-KR" sz="1300" b="1" kern="0" dirty="0">
                <a:solidFill>
                  <a:srgbClr val="000000"/>
                </a:solidFill>
                <a:latin typeface="Arial"/>
                <a:ea typeface="맑은 고딕"/>
              </a:rPr>
              <a:t> </a:t>
            </a:r>
            <a:r>
              <a:rPr kumimoji="0" lang="ko-KR" altLang="en-US" sz="1300" kern="0" dirty="0">
                <a:solidFill>
                  <a:srgbClr val="000000"/>
                </a:solidFill>
                <a:latin typeface="Arial"/>
                <a:ea typeface="맑은 고딕"/>
              </a:rPr>
              <a:t>인지</a:t>
            </a:r>
            <a:r>
              <a:rPr kumimoji="0" lang="en-US" altLang="ko-KR" sz="1300" kern="0" dirty="0">
                <a:solidFill>
                  <a:srgbClr val="000000"/>
                </a:solidFill>
                <a:latin typeface="Arial"/>
                <a:ea typeface="맑은 고딕"/>
              </a:rPr>
              <a:t>/</a:t>
            </a:r>
            <a:r>
              <a:rPr kumimoji="0" lang="ko-KR" altLang="en-US" sz="1300" kern="0" dirty="0">
                <a:solidFill>
                  <a:srgbClr val="000000"/>
                </a:solidFill>
                <a:latin typeface="Arial"/>
                <a:ea typeface="맑은 고딕"/>
              </a:rPr>
              <a:t>학습</a:t>
            </a:r>
            <a:r>
              <a:rPr kumimoji="0" lang="en-US" altLang="ko-KR" sz="1300" kern="0" dirty="0">
                <a:solidFill>
                  <a:srgbClr val="000000"/>
                </a:solidFill>
                <a:latin typeface="Arial"/>
                <a:ea typeface="맑은 고딕"/>
              </a:rPr>
              <a:t>/</a:t>
            </a:r>
            <a:r>
              <a:rPr kumimoji="0" lang="ko-KR" altLang="en-US" sz="1300" kern="0" dirty="0">
                <a:solidFill>
                  <a:srgbClr val="000000"/>
                </a:solidFill>
                <a:latin typeface="Arial"/>
                <a:ea typeface="맑은 고딕"/>
              </a:rPr>
              <a:t>예측 능력 향상 및 보급 확대</a:t>
            </a:r>
            <a:endParaRPr kumimoji="0" lang="en-US" altLang="ko-KR" sz="1300" kern="0" dirty="0">
              <a:solidFill>
                <a:srgbClr val="000000"/>
              </a:solidFill>
              <a:latin typeface="Arial"/>
              <a:ea typeface="맑은 고딕"/>
            </a:endParaRPr>
          </a:p>
          <a:p>
            <a:pPr marL="113414" indent="-113414" eaLnBrk="0" fontAlgn="auto" latinLnBrk="0" hangingPunct="0">
              <a:spcBef>
                <a:spcPts val="600"/>
              </a:spcBef>
              <a:spcAft>
                <a:spcPts val="0"/>
              </a:spcAft>
              <a:buClr>
                <a:srgbClr val="9B1717"/>
              </a:buClr>
              <a:buSzPct val="100000"/>
              <a:buFont typeface="Arial" panose="020B0604020202020204" pitchFamily="34" charset="0"/>
              <a:buChar char="•"/>
            </a:pPr>
            <a:r>
              <a:rPr kumimoji="0" lang="en-US" altLang="ko-KR" sz="1300" b="1" kern="0" dirty="0">
                <a:solidFill>
                  <a:srgbClr val="000000"/>
                </a:solidFill>
                <a:latin typeface="Arial"/>
                <a:ea typeface="맑은 고딕"/>
              </a:rPr>
              <a:t>Data Mining </a:t>
            </a:r>
            <a:r>
              <a:rPr kumimoji="0" lang="ko-KR" altLang="en-US" sz="1300" b="1" kern="0" dirty="0">
                <a:solidFill>
                  <a:srgbClr val="000000"/>
                </a:solidFill>
                <a:latin typeface="Arial"/>
                <a:ea typeface="맑은 고딕"/>
              </a:rPr>
              <a:t>기술 </a:t>
            </a:r>
            <a:r>
              <a:rPr kumimoji="0" lang="ko-KR" altLang="en-US" sz="1300" kern="0" dirty="0">
                <a:solidFill>
                  <a:srgbClr val="000000"/>
                </a:solidFill>
                <a:latin typeface="Arial"/>
                <a:ea typeface="맑은 고딕"/>
              </a:rPr>
              <a:t>발달 및 </a:t>
            </a:r>
            <a:r>
              <a:rPr kumimoji="0" lang="en-US" altLang="ko-KR" sz="1300" b="1" kern="0" dirty="0">
                <a:solidFill>
                  <a:srgbClr val="000000"/>
                </a:solidFill>
                <a:latin typeface="Arial"/>
                <a:ea typeface="맑은 고딕"/>
              </a:rPr>
              <a:t>Big Data </a:t>
            </a:r>
            <a:r>
              <a:rPr kumimoji="0" lang="ko-KR" altLang="en-US" sz="1300" b="1" kern="0" dirty="0">
                <a:solidFill>
                  <a:srgbClr val="000000"/>
                </a:solidFill>
                <a:latin typeface="Arial"/>
                <a:ea typeface="맑은 고딕"/>
              </a:rPr>
              <a:t>분석</a:t>
            </a:r>
            <a:r>
              <a:rPr kumimoji="0" lang="en-US" altLang="ko-KR" sz="1300" b="1" kern="0" dirty="0">
                <a:solidFill>
                  <a:srgbClr val="000000"/>
                </a:solidFill>
                <a:latin typeface="Arial"/>
                <a:ea typeface="맑은 고딕"/>
              </a:rPr>
              <a:t>/</a:t>
            </a:r>
            <a:r>
              <a:rPr kumimoji="0" lang="ko-KR" altLang="en-US" sz="1300" b="1" kern="0" dirty="0">
                <a:solidFill>
                  <a:srgbClr val="000000"/>
                </a:solidFill>
                <a:latin typeface="Arial"/>
                <a:ea typeface="맑은 고딕"/>
              </a:rPr>
              <a:t>활용</a:t>
            </a:r>
            <a:r>
              <a:rPr kumimoji="0" lang="ko-KR" altLang="en-US" sz="1300" kern="0" dirty="0">
                <a:solidFill>
                  <a:srgbClr val="000000"/>
                </a:solidFill>
                <a:latin typeface="Arial"/>
                <a:ea typeface="맑은 고딕"/>
              </a:rPr>
              <a:t> 확대</a:t>
            </a:r>
            <a:endParaRPr kumimoji="0" lang="en-US" altLang="ko-KR" sz="1300" kern="0" dirty="0">
              <a:solidFill>
                <a:srgbClr val="000000"/>
              </a:solidFill>
              <a:latin typeface="Arial"/>
              <a:ea typeface="맑은 고딕"/>
            </a:endParaRPr>
          </a:p>
        </p:txBody>
      </p:sp>
      <p:sp>
        <p:nvSpPr>
          <p:cNvPr id="13" name="직사각형 12"/>
          <p:cNvSpPr/>
          <p:nvPr/>
        </p:nvSpPr>
        <p:spPr bwMode="auto">
          <a:xfrm>
            <a:off x="1162648" y="4454442"/>
            <a:ext cx="2799334" cy="1744511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rot="0" spcFirstLastPara="0" vertOverflow="overflow" horzOverflow="overflow" vert="horz" wrap="square" lIns="36000" tIns="3600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113414" indent="-113414" eaLnBrk="0" latinLnBrk="0" hangingPunct="0">
              <a:spcBef>
                <a:spcPts val="600"/>
              </a:spcBef>
              <a:buClr>
                <a:srgbClr val="9B1717"/>
              </a:buClr>
              <a:buSzPct val="100000"/>
              <a:buFont typeface="Arial" panose="020B0604020202020204" pitchFamily="34" charset="0"/>
              <a:buChar char="•"/>
            </a:pPr>
            <a:r>
              <a:rPr lang="ko-KR" altLang="en-US" sz="1300" kern="0" dirty="0">
                <a:solidFill>
                  <a:srgbClr val="000000"/>
                </a:solidFill>
                <a:latin typeface="Arial"/>
                <a:ea typeface="맑은 고딕"/>
              </a:rPr>
              <a:t>자율주행 </a:t>
            </a:r>
            <a:r>
              <a:rPr lang="en-US" altLang="ko-KR" sz="1300" kern="0" dirty="0">
                <a:solidFill>
                  <a:srgbClr val="000000"/>
                </a:solidFill>
                <a:latin typeface="Arial"/>
                <a:ea typeface="맑은 고딕"/>
              </a:rPr>
              <a:t>(</a:t>
            </a:r>
            <a:r>
              <a:rPr lang="ko-KR" altLang="en-US" sz="1300" kern="0" dirty="0">
                <a:solidFill>
                  <a:srgbClr val="000000"/>
                </a:solidFill>
                <a:latin typeface="Arial"/>
                <a:ea typeface="맑은 고딕"/>
              </a:rPr>
              <a:t>자동차</a:t>
            </a:r>
            <a:r>
              <a:rPr lang="en-US" altLang="ko-KR" sz="1300" kern="0" dirty="0">
                <a:solidFill>
                  <a:srgbClr val="000000"/>
                </a:solidFill>
                <a:latin typeface="Arial"/>
                <a:ea typeface="맑은 고딕"/>
              </a:rPr>
              <a:t>/</a:t>
            </a:r>
            <a:r>
              <a:rPr lang="ko-KR" altLang="en-US" sz="1300" kern="0" dirty="0">
                <a:solidFill>
                  <a:srgbClr val="000000"/>
                </a:solidFill>
                <a:latin typeface="Arial"/>
                <a:ea typeface="맑은 고딕"/>
              </a:rPr>
              <a:t>선박</a:t>
            </a:r>
            <a:r>
              <a:rPr lang="en-US" altLang="ko-KR" sz="1300" kern="0" dirty="0">
                <a:solidFill>
                  <a:srgbClr val="000000"/>
                </a:solidFill>
                <a:latin typeface="Arial"/>
                <a:ea typeface="맑은 고딕"/>
              </a:rPr>
              <a:t>/</a:t>
            </a:r>
            <a:r>
              <a:rPr lang="ko-KR" altLang="en-US" sz="1300" kern="0" dirty="0">
                <a:solidFill>
                  <a:srgbClr val="000000"/>
                </a:solidFill>
                <a:latin typeface="Arial"/>
                <a:ea typeface="맑은 고딕"/>
              </a:rPr>
              <a:t>비행 </a:t>
            </a:r>
            <a:r>
              <a:rPr lang="en-US" altLang="ko-KR" sz="1300" kern="0" dirty="0">
                <a:solidFill>
                  <a:srgbClr val="000000"/>
                </a:solidFill>
                <a:latin typeface="Arial"/>
                <a:ea typeface="맑은 고딕"/>
              </a:rPr>
              <a:t>moving Obj.)</a:t>
            </a:r>
          </a:p>
          <a:p>
            <a:pPr marL="113414" indent="-113414" eaLnBrk="0" fontAlgn="auto" latinLnBrk="0" hangingPunct="0">
              <a:spcBef>
                <a:spcPts val="600"/>
              </a:spcBef>
              <a:spcAft>
                <a:spcPts val="0"/>
              </a:spcAft>
              <a:buClr>
                <a:srgbClr val="9B1717"/>
              </a:buClr>
              <a:buSzPct val="100000"/>
              <a:buFont typeface="Arial" panose="020B0604020202020204" pitchFamily="34" charset="0"/>
              <a:buChar char="•"/>
            </a:pPr>
            <a:r>
              <a:rPr kumimoji="0" lang="en-US" altLang="ko-KR" sz="1300" b="1" kern="0" dirty="0">
                <a:solidFill>
                  <a:srgbClr val="000000"/>
                </a:solidFill>
                <a:latin typeface="Arial"/>
                <a:ea typeface="맑은 고딕"/>
              </a:rPr>
              <a:t>VR(</a:t>
            </a:r>
            <a:r>
              <a:rPr kumimoji="0" lang="ko-KR" altLang="en-US" sz="1300" b="1" kern="0" dirty="0">
                <a:solidFill>
                  <a:srgbClr val="000000"/>
                </a:solidFill>
                <a:latin typeface="Arial"/>
                <a:ea typeface="맑은 고딕"/>
              </a:rPr>
              <a:t>가상현실</a:t>
            </a:r>
            <a:r>
              <a:rPr kumimoji="0" lang="en-US" altLang="ko-KR" sz="1300" b="1" kern="0" dirty="0">
                <a:solidFill>
                  <a:srgbClr val="000000"/>
                </a:solidFill>
                <a:latin typeface="Arial"/>
                <a:ea typeface="맑은 고딕"/>
              </a:rPr>
              <a:t>) / AR(</a:t>
            </a:r>
            <a:r>
              <a:rPr kumimoji="0" lang="ko-KR" altLang="en-US" sz="1300" b="1" kern="0" dirty="0">
                <a:solidFill>
                  <a:srgbClr val="000000"/>
                </a:solidFill>
                <a:latin typeface="Arial"/>
                <a:ea typeface="맑은 고딕"/>
              </a:rPr>
              <a:t>증강현실</a:t>
            </a:r>
            <a:r>
              <a:rPr kumimoji="0" lang="en-US" altLang="ko-KR" sz="1300" b="1" kern="0" dirty="0">
                <a:solidFill>
                  <a:srgbClr val="000000"/>
                </a:solidFill>
                <a:latin typeface="Arial"/>
                <a:ea typeface="맑은 고딕"/>
              </a:rPr>
              <a:t>) / MR(</a:t>
            </a:r>
            <a:r>
              <a:rPr kumimoji="0" lang="ko-KR" altLang="en-US" sz="1300" b="1" kern="0" dirty="0">
                <a:solidFill>
                  <a:srgbClr val="000000"/>
                </a:solidFill>
                <a:latin typeface="Arial"/>
                <a:ea typeface="맑은 고딕"/>
              </a:rPr>
              <a:t>혼합현실</a:t>
            </a:r>
            <a:r>
              <a:rPr kumimoji="0" lang="en-US" altLang="ko-KR" sz="1300" b="1" kern="0" dirty="0">
                <a:solidFill>
                  <a:srgbClr val="000000"/>
                </a:solidFill>
                <a:latin typeface="Arial"/>
                <a:ea typeface="맑은 고딕"/>
              </a:rPr>
              <a:t>) </a:t>
            </a:r>
            <a:r>
              <a:rPr kumimoji="0" lang="ko-KR" altLang="en-US" sz="1300" kern="0" dirty="0">
                <a:solidFill>
                  <a:srgbClr val="000000"/>
                </a:solidFill>
                <a:latin typeface="Arial"/>
                <a:ea typeface="맑은 고딕"/>
              </a:rPr>
              <a:t>등 상용화</a:t>
            </a:r>
            <a:endParaRPr kumimoji="0" lang="en-US" altLang="ko-KR" sz="1300" kern="0" dirty="0">
              <a:solidFill>
                <a:srgbClr val="000000"/>
              </a:solidFill>
              <a:latin typeface="Arial"/>
              <a:ea typeface="맑은 고딕"/>
            </a:endParaRPr>
          </a:p>
          <a:p>
            <a:pPr marL="113414" indent="-113414" eaLnBrk="0" fontAlgn="auto" latinLnBrk="0" hangingPunct="0">
              <a:spcBef>
                <a:spcPts val="600"/>
              </a:spcBef>
              <a:spcAft>
                <a:spcPts val="0"/>
              </a:spcAft>
              <a:buClr>
                <a:srgbClr val="9B1717"/>
              </a:buClr>
              <a:buSzPct val="100000"/>
              <a:buFont typeface="Arial" panose="020B0604020202020204" pitchFamily="34" charset="0"/>
              <a:buChar char="•"/>
            </a:pPr>
            <a:r>
              <a:rPr kumimoji="0" lang="ko-KR" altLang="en-US" sz="1300" b="1" kern="0" dirty="0">
                <a:solidFill>
                  <a:srgbClr val="000000"/>
                </a:solidFill>
                <a:latin typeface="Arial"/>
                <a:ea typeface="맑은 고딕"/>
              </a:rPr>
              <a:t>로봇</a:t>
            </a:r>
            <a:r>
              <a:rPr lang="en-US" altLang="ko-KR" sz="1300" b="1" kern="0" dirty="0">
                <a:solidFill>
                  <a:srgbClr val="000000"/>
                </a:solidFill>
                <a:latin typeface="Arial"/>
                <a:ea typeface="맑은 고딕"/>
              </a:rPr>
              <a:t>/</a:t>
            </a:r>
            <a:r>
              <a:rPr kumimoji="0" lang="en-US" altLang="ko-KR" sz="1300" b="1" kern="0" dirty="0">
                <a:solidFill>
                  <a:srgbClr val="000000"/>
                </a:solidFill>
                <a:latin typeface="Arial"/>
                <a:ea typeface="맑은 고딕"/>
              </a:rPr>
              <a:t>Drone</a:t>
            </a:r>
          </a:p>
          <a:p>
            <a:pPr marL="113414" indent="-113414" eaLnBrk="0" fontAlgn="auto" latinLnBrk="0" hangingPunct="0">
              <a:spcBef>
                <a:spcPts val="600"/>
              </a:spcBef>
              <a:spcAft>
                <a:spcPts val="0"/>
              </a:spcAft>
              <a:buClr>
                <a:srgbClr val="9B1717"/>
              </a:buClr>
              <a:buSzPct val="100000"/>
              <a:buFont typeface="Arial" panose="020B0604020202020204" pitchFamily="34" charset="0"/>
              <a:buChar char="•"/>
            </a:pPr>
            <a:r>
              <a:rPr kumimoji="0" lang="ko-KR" altLang="en-US" sz="1300" b="1" kern="0" dirty="0">
                <a:solidFill>
                  <a:srgbClr val="000000"/>
                </a:solidFill>
                <a:latin typeface="Arial"/>
                <a:ea typeface="맑은 고딕"/>
              </a:rPr>
              <a:t>센스</a:t>
            </a:r>
            <a:r>
              <a:rPr kumimoji="0" lang="en-US" altLang="ko-KR" sz="1300" b="1" kern="0" dirty="0">
                <a:solidFill>
                  <a:srgbClr val="000000"/>
                </a:solidFill>
                <a:latin typeface="Arial"/>
                <a:ea typeface="맑은 고딕"/>
              </a:rPr>
              <a:t>/</a:t>
            </a:r>
            <a:r>
              <a:rPr kumimoji="0" lang="ko-KR" altLang="en-US" sz="1300" b="1" kern="0" dirty="0">
                <a:solidFill>
                  <a:srgbClr val="000000"/>
                </a:solidFill>
                <a:latin typeface="Arial"/>
                <a:ea typeface="맑은 고딕"/>
              </a:rPr>
              <a:t>카메라</a:t>
            </a:r>
            <a:r>
              <a:rPr kumimoji="0" lang="en-US" altLang="ko-KR" sz="1300" b="1" kern="0" dirty="0">
                <a:solidFill>
                  <a:srgbClr val="000000"/>
                </a:solidFill>
                <a:latin typeface="Arial"/>
                <a:ea typeface="맑은 고딕"/>
              </a:rPr>
              <a:t>/4D/</a:t>
            </a:r>
            <a:r>
              <a:rPr kumimoji="0" lang="ko-KR" altLang="en-US" sz="1300" b="1" kern="0" dirty="0">
                <a:solidFill>
                  <a:srgbClr val="000000"/>
                </a:solidFill>
                <a:latin typeface="Arial"/>
                <a:ea typeface="맑은 고딕"/>
              </a:rPr>
              <a:t>뇌신경과학 </a:t>
            </a:r>
            <a:r>
              <a:rPr kumimoji="0" lang="en-US" altLang="ko-KR" sz="1300" b="1" kern="0" dirty="0">
                <a:solidFill>
                  <a:srgbClr val="000000"/>
                </a:solidFill>
                <a:latin typeface="Arial"/>
                <a:ea typeface="맑은 고딕"/>
              </a:rPr>
              <a:t> </a:t>
            </a:r>
          </a:p>
          <a:p>
            <a:pPr marL="113414" indent="-113414" eaLnBrk="0" fontAlgn="auto" latinLnBrk="0" hangingPunct="0">
              <a:spcBef>
                <a:spcPts val="600"/>
              </a:spcBef>
              <a:spcAft>
                <a:spcPts val="0"/>
              </a:spcAft>
              <a:buClr>
                <a:srgbClr val="9B1717"/>
              </a:buClr>
              <a:buSzPct val="100000"/>
              <a:buFont typeface="Arial" panose="020B0604020202020204" pitchFamily="34" charset="0"/>
              <a:buChar char="•"/>
            </a:pPr>
            <a:r>
              <a:rPr kumimoji="0" lang="en-US" altLang="ko-KR" sz="1300" b="1" kern="0" dirty="0">
                <a:solidFill>
                  <a:srgbClr val="000000"/>
                </a:solidFill>
                <a:latin typeface="Arial"/>
                <a:ea typeface="맑은 고딕"/>
              </a:rPr>
              <a:t>Bio </a:t>
            </a:r>
            <a:r>
              <a:rPr kumimoji="0" lang="ko-KR" altLang="en-US" sz="1300" b="1" kern="0" dirty="0">
                <a:solidFill>
                  <a:srgbClr val="000000"/>
                </a:solidFill>
                <a:latin typeface="Arial"/>
                <a:ea typeface="맑은 고딕"/>
              </a:rPr>
              <a:t>기술 </a:t>
            </a:r>
            <a:r>
              <a:rPr kumimoji="0" lang="ko-KR" altLang="en-US" sz="1300" kern="0" dirty="0">
                <a:solidFill>
                  <a:srgbClr val="000000"/>
                </a:solidFill>
                <a:latin typeface="Arial"/>
                <a:ea typeface="맑은 고딕"/>
              </a:rPr>
              <a:t>보급 확대 등</a:t>
            </a:r>
            <a:endParaRPr kumimoji="0" lang="en-US" altLang="ko-KR" sz="1300" kern="0" dirty="0">
              <a:solidFill>
                <a:srgbClr val="000000"/>
              </a:solidFill>
              <a:latin typeface="Arial"/>
              <a:ea typeface="맑은 고딕"/>
            </a:endParaRPr>
          </a:p>
        </p:txBody>
      </p:sp>
      <p:cxnSp>
        <p:nvCxnSpPr>
          <p:cNvPr id="18" name="직선 연결선 17"/>
          <p:cNvCxnSpPr/>
          <p:nvPr/>
        </p:nvCxnSpPr>
        <p:spPr>
          <a:xfrm flipV="1">
            <a:off x="1162649" y="4294177"/>
            <a:ext cx="2799335" cy="41178"/>
          </a:xfrm>
          <a:prstGeom prst="line">
            <a:avLst/>
          </a:prstGeom>
          <a:ln w="6350" cap="flat">
            <a:solidFill>
              <a:schemeClr val="accent3"/>
            </a:solidFill>
            <a:prstDash val="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직선 연결선 18"/>
          <p:cNvCxnSpPr/>
          <p:nvPr/>
        </p:nvCxnSpPr>
        <p:spPr>
          <a:xfrm flipV="1">
            <a:off x="1162649" y="3106045"/>
            <a:ext cx="2799335" cy="662"/>
          </a:xfrm>
          <a:prstGeom prst="line">
            <a:avLst/>
          </a:prstGeom>
          <a:ln w="6350" cap="flat">
            <a:solidFill>
              <a:schemeClr val="accent3"/>
            </a:solidFill>
            <a:prstDash val="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구름 1"/>
          <p:cNvSpPr/>
          <p:nvPr/>
        </p:nvSpPr>
        <p:spPr>
          <a:xfrm>
            <a:off x="7448094" y="1006911"/>
            <a:ext cx="2700471" cy="991312"/>
          </a:xfrm>
          <a:prstGeom prst="cloud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ko-KR" altLang="en-US" dirty="0"/>
              <a:t>스마트시티 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316852" y="6256315"/>
            <a:ext cx="4673805" cy="461665"/>
          </a:xfrm>
          <a:prstGeom prst="rect">
            <a:avLst/>
          </a:prstGeom>
          <a:solidFill>
            <a:srgbClr val="FF0000"/>
          </a:solidFill>
        </p:spPr>
        <p:txBody>
          <a:bodyPr wrap="square" rtlCol="0">
            <a:spAutoFit/>
          </a:bodyPr>
          <a:lstStyle/>
          <a:p>
            <a:r>
              <a:rPr lang="ko-KR" altLang="en-US" sz="2400" dirty="0"/>
              <a:t> 기술 독점화 사회 양극화 확대 </a:t>
            </a:r>
          </a:p>
        </p:txBody>
      </p:sp>
      <p:sp>
        <p:nvSpPr>
          <p:cNvPr id="4" name="제목 1">
            <a:extLst>
              <a:ext uri="{FF2B5EF4-FFF2-40B4-BE49-F238E27FC236}">
                <a16:creationId xmlns:a16="http://schemas.microsoft.com/office/drawing/2014/main" id="{2E0C5270-9A9B-14A4-C689-E8A079DAA77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9798" y="100362"/>
            <a:ext cx="11558160" cy="1047718"/>
          </a:xfrm>
          <a:solidFill>
            <a:srgbClr val="0070C0"/>
          </a:solidFill>
        </p:spPr>
        <p:txBody>
          <a:bodyPr>
            <a:normAutofit fontScale="90000"/>
          </a:bodyPr>
          <a:lstStyle/>
          <a:p>
            <a:r>
              <a:rPr lang="en-US" altLang="ko-KR" sz="3600" b="1" kern="0" dirty="0">
                <a:latin typeface="+mj-ea"/>
              </a:rPr>
              <a:t> </a:t>
            </a:r>
            <a:br>
              <a:rPr lang="en-US" altLang="ko-KR" sz="3600" b="1" kern="0" dirty="0">
                <a:latin typeface="+mj-ea"/>
              </a:rPr>
            </a:br>
            <a:r>
              <a:rPr lang="en-US" altLang="ko-KR" sz="3600" b="1" kern="0" dirty="0">
                <a:latin typeface="+mj-ea"/>
              </a:rPr>
              <a:t> </a:t>
            </a:r>
            <a:r>
              <a:rPr kumimoji="0" lang="en-US" altLang="ko-KR" sz="3600" b="1" kern="0" dirty="0">
                <a:solidFill>
                  <a:schemeClr val="bg1"/>
                </a:solidFill>
                <a:latin typeface="+mj-ea"/>
                <a:ea typeface="+mj-ea"/>
              </a:rPr>
              <a:t>II. </a:t>
            </a:r>
            <a:r>
              <a:rPr lang="ko-KR" altLang="en-US" sz="3600" b="1" dirty="0">
                <a:solidFill>
                  <a:schemeClr val="bg1"/>
                </a:solidFill>
                <a:latin typeface="+mj-ea"/>
                <a:ea typeface="+mj-ea"/>
              </a:rPr>
              <a:t>빅데이터</a:t>
            </a:r>
            <a:r>
              <a:rPr lang="en-US" altLang="ko-KR" sz="3600" b="1" dirty="0">
                <a:solidFill>
                  <a:schemeClr val="bg1"/>
                </a:solidFill>
                <a:latin typeface="+mj-ea"/>
                <a:ea typeface="+mj-ea"/>
              </a:rPr>
              <a:t> &amp; AI</a:t>
            </a:r>
            <a:r>
              <a:rPr lang="ko-KR" altLang="en-US" sz="3600" b="1" dirty="0">
                <a:solidFill>
                  <a:schemeClr val="bg1"/>
                </a:solidFill>
                <a:latin typeface="+mj-ea"/>
                <a:ea typeface="+mj-ea"/>
              </a:rPr>
              <a:t>의 의미와 산업사회의 변화</a:t>
            </a:r>
            <a:r>
              <a:rPr lang="en-US" altLang="ko-KR" sz="3100" b="1" dirty="0">
                <a:solidFill>
                  <a:schemeClr val="bg1"/>
                </a:solidFill>
                <a:latin typeface="+mj-ea"/>
              </a:rPr>
              <a:t/>
            </a:r>
            <a:br>
              <a:rPr lang="en-US" altLang="ko-KR" sz="3100" b="1" dirty="0">
                <a:solidFill>
                  <a:schemeClr val="bg1"/>
                </a:solidFill>
                <a:latin typeface="+mj-ea"/>
              </a:rPr>
            </a:br>
            <a:endParaRPr lang="ko-KR" altLang="en-US" sz="3100" b="1" dirty="0">
              <a:solidFill>
                <a:schemeClr val="bg1"/>
              </a:solidFill>
              <a:latin typeface="HY강B" panose="02030600000101010101" pitchFamily="18" charset="-127"/>
              <a:ea typeface="HY강B" panose="02030600000101010101" pitchFamily="18" charset="-127"/>
            </a:endParaRPr>
          </a:p>
        </p:txBody>
      </p:sp>
      <p:cxnSp>
        <p:nvCxnSpPr>
          <p:cNvPr id="6" name="연결선: 구부러짐 5">
            <a:extLst>
              <a:ext uri="{FF2B5EF4-FFF2-40B4-BE49-F238E27FC236}">
                <a16:creationId xmlns:a16="http://schemas.microsoft.com/office/drawing/2014/main" id="{6F983A2A-D0E2-46E8-D74A-19E0DFF45808}"/>
              </a:ext>
            </a:extLst>
          </p:cNvPr>
          <p:cNvCxnSpPr>
            <a:cxnSpLocks/>
          </p:cNvCxnSpPr>
          <p:nvPr/>
        </p:nvCxnSpPr>
        <p:spPr>
          <a:xfrm rot="5400000">
            <a:off x="7268523" y="4363888"/>
            <a:ext cx="1908744" cy="1549602"/>
          </a:xfrm>
          <a:prstGeom prst="curvedConnector3">
            <a:avLst/>
          </a:prstGeom>
          <a:ln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연결선: 구부러짐 13">
            <a:extLst>
              <a:ext uri="{FF2B5EF4-FFF2-40B4-BE49-F238E27FC236}">
                <a16:creationId xmlns:a16="http://schemas.microsoft.com/office/drawing/2014/main" id="{590264AF-A531-FE8D-00C5-CFA11BE293FC}"/>
              </a:ext>
            </a:extLst>
          </p:cNvPr>
          <p:cNvCxnSpPr>
            <a:cxnSpLocks/>
          </p:cNvCxnSpPr>
          <p:nvPr/>
        </p:nvCxnSpPr>
        <p:spPr>
          <a:xfrm flipV="1">
            <a:off x="5310138" y="4911198"/>
            <a:ext cx="3699750" cy="36607"/>
          </a:xfrm>
          <a:prstGeom prst="curvedConnector3">
            <a:avLst/>
          </a:prstGeom>
          <a:ln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연결선: 구부러짐 19">
            <a:extLst>
              <a:ext uri="{FF2B5EF4-FFF2-40B4-BE49-F238E27FC236}">
                <a16:creationId xmlns:a16="http://schemas.microsoft.com/office/drawing/2014/main" id="{A7652C71-ECA9-1D07-1366-5FB39E4041F4}"/>
              </a:ext>
            </a:extLst>
          </p:cNvPr>
          <p:cNvCxnSpPr/>
          <p:nvPr/>
        </p:nvCxnSpPr>
        <p:spPr>
          <a:xfrm>
            <a:off x="7620000" y="2597806"/>
            <a:ext cx="1755648" cy="1730354"/>
          </a:xfrm>
          <a:prstGeom prst="curvedConnector3">
            <a:avLst/>
          </a:prstGeom>
          <a:ln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연결선: 구부러짐 21">
            <a:extLst>
              <a:ext uri="{FF2B5EF4-FFF2-40B4-BE49-F238E27FC236}">
                <a16:creationId xmlns:a16="http://schemas.microsoft.com/office/drawing/2014/main" id="{6C3E4171-BBE8-31C7-7AA7-C2BD0D5FBB6A}"/>
              </a:ext>
            </a:extLst>
          </p:cNvPr>
          <p:cNvCxnSpPr>
            <a:cxnSpLocks/>
          </p:cNvCxnSpPr>
          <p:nvPr/>
        </p:nvCxnSpPr>
        <p:spPr>
          <a:xfrm flipV="1">
            <a:off x="6803136" y="4598977"/>
            <a:ext cx="3389376" cy="813449"/>
          </a:xfrm>
          <a:prstGeom prst="curvedConnector3">
            <a:avLst/>
          </a:prstGeom>
          <a:ln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71545839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개체 1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25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27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16" name="개체 1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25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146" name="Picture 2" descr="http://sti.kostat.go.kr/window/2021a/images/sub03_img1.png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25996" y="1292497"/>
            <a:ext cx="8439150" cy="26479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extBox 3"/>
          <p:cNvSpPr txBox="1"/>
          <p:nvPr/>
        </p:nvSpPr>
        <p:spPr>
          <a:xfrm>
            <a:off x="418011" y="1436914"/>
            <a:ext cx="2142309" cy="800219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r>
              <a:rPr lang="ko-KR" altLang="en-US" dirty="0"/>
              <a:t>국내외 인공지능</a:t>
            </a:r>
            <a:endParaRPr lang="en-US" altLang="ko-KR" dirty="0"/>
          </a:p>
          <a:p>
            <a:r>
              <a:rPr lang="ko-KR" altLang="en-US" dirty="0"/>
              <a:t>기술수준 비교</a:t>
            </a:r>
            <a:endParaRPr lang="en-US" altLang="ko-KR" dirty="0"/>
          </a:p>
          <a:p>
            <a:r>
              <a:rPr lang="ko-KR" altLang="en-US" sz="1000" dirty="0"/>
              <a:t>정보통신기획평가원 </a:t>
            </a:r>
            <a:r>
              <a:rPr lang="en-US" altLang="ko-KR" sz="1000" dirty="0"/>
              <a:t>2021</a:t>
            </a:r>
            <a:r>
              <a:rPr lang="ko-KR" altLang="en-US" sz="1000" dirty="0"/>
              <a:t>년  </a:t>
            </a:r>
            <a:r>
              <a:rPr lang="en-US" altLang="ko-KR" sz="1000" dirty="0"/>
              <a:t>* </a:t>
            </a:r>
            <a:endParaRPr lang="ko-KR" altLang="en-US" sz="1000" dirty="0"/>
          </a:p>
        </p:txBody>
      </p:sp>
      <p:sp>
        <p:nvSpPr>
          <p:cNvPr id="5" name="직사각형 4"/>
          <p:cNvSpPr/>
          <p:nvPr/>
        </p:nvSpPr>
        <p:spPr>
          <a:xfrm>
            <a:off x="339798" y="4084865"/>
            <a:ext cx="11225348" cy="286232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ko-KR" altLang="en-US" dirty="0">
                <a:solidFill>
                  <a:srgbClr val="000000"/>
                </a:solidFill>
                <a:latin typeface="Nanum Barun Gothic"/>
              </a:rPr>
              <a:t> 미국</a:t>
            </a:r>
            <a:r>
              <a:rPr lang="en-US" altLang="ko-KR" dirty="0">
                <a:solidFill>
                  <a:srgbClr val="000000"/>
                </a:solidFill>
                <a:latin typeface="Nanum Barun Gothic"/>
              </a:rPr>
              <a:t>: </a:t>
            </a:r>
            <a:r>
              <a:rPr lang="ko-KR" altLang="en-US" dirty="0">
                <a:solidFill>
                  <a:srgbClr val="000000"/>
                </a:solidFill>
                <a:latin typeface="Nanum Barun Gothic"/>
              </a:rPr>
              <a:t>전통적인 소프트웨어 강국인 미국은 </a:t>
            </a:r>
            <a:r>
              <a:rPr lang="en-US" altLang="ko-KR" dirty="0">
                <a:solidFill>
                  <a:srgbClr val="000000"/>
                </a:solidFill>
                <a:latin typeface="Nanum Barun Gothic"/>
              </a:rPr>
              <a:t>Google, MS, Facebook, Amazon </a:t>
            </a:r>
            <a:r>
              <a:rPr lang="ko-KR" altLang="en-US" dirty="0">
                <a:solidFill>
                  <a:srgbClr val="000000"/>
                </a:solidFill>
                <a:latin typeface="Nanum Barun Gothic"/>
              </a:rPr>
              <a:t>등의 선도 기업들을 중심으로 인력</a:t>
            </a:r>
            <a:r>
              <a:rPr lang="en-US" altLang="ko-KR" dirty="0">
                <a:solidFill>
                  <a:srgbClr val="000000"/>
                </a:solidFill>
                <a:latin typeface="Nanum Barun Gothic"/>
              </a:rPr>
              <a:t>·</a:t>
            </a:r>
            <a:r>
              <a:rPr lang="ko-KR" altLang="en-US" dirty="0">
                <a:solidFill>
                  <a:srgbClr val="000000"/>
                </a:solidFill>
                <a:latin typeface="Nanum Barun Gothic"/>
              </a:rPr>
              <a:t>데이터</a:t>
            </a:r>
            <a:r>
              <a:rPr lang="en-US" altLang="ko-KR" dirty="0">
                <a:solidFill>
                  <a:srgbClr val="000000"/>
                </a:solidFill>
                <a:latin typeface="Nanum Barun Gothic"/>
              </a:rPr>
              <a:t>·</a:t>
            </a:r>
            <a:r>
              <a:rPr lang="ko-KR" altLang="en-US" dirty="0">
                <a:solidFill>
                  <a:srgbClr val="000000"/>
                </a:solidFill>
                <a:latin typeface="Nanum Barun Gothic"/>
              </a:rPr>
              <a:t>하드웨어</a:t>
            </a:r>
            <a:r>
              <a:rPr lang="en-US" altLang="ko-KR" dirty="0">
                <a:solidFill>
                  <a:srgbClr val="000000"/>
                </a:solidFill>
                <a:latin typeface="Nanum Barun Gothic"/>
              </a:rPr>
              <a:t>·</a:t>
            </a:r>
            <a:r>
              <a:rPr lang="ko-KR" altLang="en-US" dirty="0">
                <a:solidFill>
                  <a:srgbClr val="000000"/>
                </a:solidFill>
                <a:latin typeface="Nanum Barun Gothic"/>
              </a:rPr>
              <a:t>투자 등 모든 면에서 월등 선두</a:t>
            </a:r>
            <a:endParaRPr lang="en-US" altLang="ko-KR" dirty="0">
              <a:solidFill>
                <a:srgbClr val="000000"/>
              </a:solidFill>
              <a:latin typeface="Nanum Barun Gothic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ko-KR" altLang="en-US" dirty="0"/>
              <a:t>유럽의 경우 사회 현안</a:t>
            </a:r>
            <a:r>
              <a:rPr lang="en-US" altLang="ko-KR" dirty="0"/>
              <a:t>, </a:t>
            </a:r>
            <a:r>
              <a:rPr lang="ko-KR" altLang="en-US" dirty="0"/>
              <a:t>식량문제</a:t>
            </a:r>
            <a:r>
              <a:rPr lang="en-US" altLang="ko-KR" dirty="0"/>
              <a:t>, </a:t>
            </a:r>
            <a:r>
              <a:rPr lang="ko-KR" altLang="en-US" dirty="0"/>
              <a:t>기후 문제처럼 문제 해결 중심으로 기술 개발을 진행하고 있으며 인재교육</a:t>
            </a:r>
            <a:r>
              <a:rPr lang="en-US" altLang="ko-KR" dirty="0"/>
              <a:t>, </a:t>
            </a:r>
            <a:r>
              <a:rPr lang="ko-KR" altLang="en-US" dirty="0"/>
              <a:t>국가적 정책지원 등 산업 경쟁력 우위확보 </a:t>
            </a:r>
            <a:endParaRPr lang="en-US" altLang="ko-KR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ko-KR" altLang="en-US" dirty="0"/>
              <a:t>중국은 특허 및 논문 등의 활동이 활발해지면서 기술력이 상승하고 있으며</a:t>
            </a:r>
            <a:r>
              <a:rPr lang="en-US" altLang="ko-KR" dirty="0"/>
              <a:t>, </a:t>
            </a:r>
            <a:r>
              <a:rPr lang="ko-KR" altLang="en-US" dirty="0"/>
              <a:t>자국 기업을 활용한 산업별 플랫폼을 구축</a:t>
            </a:r>
            <a:r>
              <a:rPr lang="en-US" altLang="ko-KR" dirty="0"/>
              <a:t>, </a:t>
            </a:r>
            <a:r>
              <a:rPr lang="ko-KR" altLang="en-US" dirty="0"/>
              <a:t>막대한 데이터를 축적함으로써 인공지능 경쟁력 확보</a:t>
            </a:r>
            <a:r>
              <a:rPr lang="en-US" altLang="ko-KR" dirty="0"/>
              <a:t>,</a:t>
            </a:r>
            <a:r>
              <a:rPr lang="ko-KR" altLang="en-US" dirty="0"/>
              <a:t> </a:t>
            </a:r>
            <a:r>
              <a:rPr lang="ko-KR" altLang="en-US" dirty="0" err="1"/>
              <a:t>슈퍼컴</a:t>
            </a:r>
            <a:r>
              <a:rPr lang="ko-KR" altLang="en-US" dirty="0"/>
              <a:t> </a:t>
            </a:r>
            <a:r>
              <a:rPr lang="en-US" altLang="ko-KR" dirty="0"/>
              <a:t>Top 500 </a:t>
            </a:r>
            <a:r>
              <a:rPr lang="ko-KR" altLang="en-US" dirty="0"/>
              <a:t>랭킹 </a:t>
            </a:r>
            <a:r>
              <a:rPr lang="en-US" altLang="ko-KR" dirty="0"/>
              <a:t>1</a:t>
            </a:r>
            <a:r>
              <a:rPr lang="ko-KR" altLang="en-US" dirty="0"/>
              <a:t>위이며</a:t>
            </a:r>
            <a:r>
              <a:rPr lang="en-US" altLang="ko-KR" dirty="0"/>
              <a:t>, </a:t>
            </a:r>
            <a:r>
              <a:rPr lang="ko-KR" altLang="en-US" dirty="0"/>
              <a:t>인공지능 학술연구</a:t>
            </a:r>
            <a:r>
              <a:rPr lang="en-US" altLang="ko-KR" dirty="0"/>
              <a:t>(</a:t>
            </a:r>
            <a:r>
              <a:rPr lang="ko-KR" altLang="en-US" dirty="0"/>
              <a:t>논문게재</a:t>
            </a:r>
            <a:r>
              <a:rPr lang="en-US" altLang="ko-KR" dirty="0"/>
              <a:t>) </a:t>
            </a:r>
            <a:r>
              <a:rPr lang="ko-KR" altLang="en-US" dirty="0"/>
              <a:t>실적이 세계 </a:t>
            </a:r>
            <a:r>
              <a:rPr lang="en-US" altLang="ko-KR" dirty="0"/>
              <a:t>1</a:t>
            </a:r>
            <a:r>
              <a:rPr lang="ko-KR" altLang="en-US" dirty="0"/>
              <a:t>위</a:t>
            </a:r>
            <a:endParaRPr lang="en-US" altLang="ko-KR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ko-KR" altLang="en-US" dirty="0"/>
              <a:t>일본은 인공지능 자체에 대한 기술 개발이나 직접적인 관심</a:t>
            </a:r>
            <a:r>
              <a:rPr lang="en-US" altLang="ko-KR" dirty="0"/>
              <a:t>·</a:t>
            </a:r>
            <a:r>
              <a:rPr lang="ko-KR" altLang="en-US" dirty="0"/>
              <a:t>투자보다는 로봇</a:t>
            </a:r>
            <a:r>
              <a:rPr lang="en-US" altLang="ko-KR" dirty="0"/>
              <a:t>, </a:t>
            </a:r>
            <a:r>
              <a:rPr lang="en-US" altLang="ko-KR" dirty="0" err="1"/>
              <a:t>IoT</a:t>
            </a:r>
            <a:r>
              <a:rPr lang="en-US" altLang="ko-KR" dirty="0"/>
              <a:t>, </a:t>
            </a:r>
            <a:r>
              <a:rPr lang="ko-KR" altLang="en-US" dirty="0"/>
              <a:t>빅데이터 분야 등 응용 측면에서 접근</a:t>
            </a:r>
            <a:endParaRPr lang="en-US" altLang="ko-KR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ko-KR" altLang="en-US" dirty="0">
                <a:solidFill>
                  <a:srgbClr val="000000"/>
                </a:solidFill>
                <a:highlight>
                  <a:srgbClr val="FFFF00"/>
                </a:highlight>
                <a:latin typeface="Nanum Barun Gothic"/>
              </a:rPr>
              <a:t>한국의 인공지능에 대한 정책지원은 산업경쟁력의 미래를 담보한다는 점에서도 필요</a:t>
            </a:r>
            <a:endParaRPr lang="ko-KR" altLang="en-US" dirty="0"/>
          </a:p>
        </p:txBody>
      </p:sp>
      <p:sp>
        <p:nvSpPr>
          <p:cNvPr id="2" name="제목 1">
            <a:extLst>
              <a:ext uri="{FF2B5EF4-FFF2-40B4-BE49-F238E27FC236}">
                <a16:creationId xmlns:a16="http://schemas.microsoft.com/office/drawing/2014/main" id="{EF926DD4-D50A-4446-6022-97BED86334B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9798" y="100362"/>
            <a:ext cx="11558160" cy="1047718"/>
          </a:xfrm>
          <a:solidFill>
            <a:srgbClr val="0070C0"/>
          </a:solidFill>
        </p:spPr>
        <p:txBody>
          <a:bodyPr>
            <a:normAutofit fontScale="90000"/>
          </a:bodyPr>
          <a:lstStyle/>
          <a:p>
            <a:r>
              <a:rPr lang="en-US" altLang="ko-KR" sz="3600" b="1" kern="0" dirty="0">
                <a:latin typeface="+mj-ea"/>
              </a:rPr>
              <a:t> </a:t>
            </a:r>
            <a:br>
              <a:rPr lang="en-US" altLang="ko-KR" sz="3600" b="1" kern="0" dirty="0">
                <a:latin typeface="+mj-ea"/>
              </a:rPr>
            </a:br>
            <a:r>
              <a:rPr lang="en-US" altLang="ko-KR" sz="3600" b="1" kern="0" dirty="0">
                <a:latin typeface="+mj-ea"/>
              </a:rPr>
              <a:t> </a:t>
            </a:r>
            <a:r>
              <a:rPr kumimoji="0" lang="en-US" altLang="ko-KR" sz="3600" b="1" kern="0" dirty="0">
                <a:solidFill>
                  <a:schemeClr val="bg1"/>
                </a:solidFill>
                <a:latin typeface="+mj-ea"/>
                <a:ea typeface="+mj-ea"/>
              </a:rPr>
              <a:t>II. </a:t>
            </a:r>
            <a:r>
              <a:rPr lang="ko-KR" altLang="en-US" sz="3600" b="1" dirty="0">
                <a:solidFill>
                  <a:schemeClr val="bg1"/>
                </a:solidFill>
                <a:latin typeface="+mj-ea"/>
                <a:ea typeface="+mj-ea"/>
              </a:rPr>
              <a:t>빅데이터</a:t>
            </a:r>
            <a:r>
              <a:rPr lang="en-US" altLang="ko-KR" sz="3600" b="1" dirty="0">
                <a:solidFill>
                  <a:schemeClr val="bg1"/>
                </a:solidFill>
                <a:latin typeface="+mj-ea"/>
                <a:ea typeface="+mj-ea"/>
              </a:rPr>
              <a:t> &amp; AI</a:t>
            </a:r>
            <a:r>
              <a:rPr lang="ko-KR" altLang="en-US" sz="3600" b="1" dirty="0">
                <a:solidFill>
                  <a:schemeClr val="bg1"/>
                </a:solidFill>
                <a:latin typeface="+mj-ea"/>
                <a:ea typeface="+mj-ea"/>
              </a:rPr>
              <a:t>의 의미와 산업사회의 변화</a:t>
            </a:r>
            <a:r>
              <a:rPr lang="en-US" altLang="ko-KR" sz="3100" b="1" dirty="0">
                <a:solidFill>
                  <a:schemeClr val="bg1"/>
                </a:solidFill>
                <a:latin typeface="+mj-ea"/>
              </a:rPr>
              <a:t/>
            </a:r>
            <a:br>
              <a:rPr lang="en-US" altLang="ko-KR" sz="3100" b="1" dirty="0">
                <a:solidFill>
                  <a:schemeClr val="bg1"/>
                </a:solidFill>
                <a:latin typeface="+mj-ea"/>
              </a:rPr>
            </a:br>
            <a:endParaRPr lang="ko-KR" altLang="en-US" sz="3100" b="1" dirty="0">
              <a:solidFill>
                <a:schemeClr val="bg1"/>
              </a:solidFill>
              <a:latin typeface="HY강B" panose="02030600000101010101" pitchFamily="18" charset="-127"/>
              <a:ea typeface="HY강B" panose="02030600000101010101" pitchFamily="18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71143969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날짜 개체 틀 2">
            <a:extLst>
              <a:ext uri="{FF2B5EF4-FFF2-40B4-BE49-F238E27FC236}">
                <a16:creationId xmlns:a16="http://schemas.microsoft.com/office/drawing/2014/main" id="{8BEC0EEF-E580-1F75-2490-8A8B2F4D11C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FC9B95B-9606-41FD-9410-F2B308BBF263}" type="datetime1">
              <a:rPr lang="en-US" altLang="ko-KR" smtClean="0"/>
              <a:t>6/22/2023</a:t>
            </a:fld>
            <a:endParaRPr lang="en-US" dirty="0"/>
          </a:p>
        </p:txBody>
      </p:sp>
      <p:sp>
        <p:nvSpPr>
          <p:cNvPr id="6" name="TextBox 5"/>
          <p:cNvSpPr txBox="1"/>
          <p:nvPr/>
        </p:nvSpPr>
        <p:spPr>
          <a:xfrm>
            <a:off x="339798" y="1302706"/>
            <a:ext cx="9570720" cy="461665"/>
          </a:xfrm>
          <a:prstGeom prst="rect">
            <a:avLst/>
          </a:prstGeom>
          <a:solidFill>
            <a:srgbClr val="002060"/>
          </a:solidFill>
        </p:spPr>
        <p:txBody>
          <a:bodyPr wrap="square" rtlCol="0">
            <a:spAutoFit/>
          </a:bodyPr>
          <a:lstStyle/>
          <a:p>
            <a:r>
              <a:rPr lang="ko-KR" altLang="en-US" sz="2400" b="1" dirty="0" err="1">
                <a:solidFill>
                  <a:schemeClr val="bg1"/>
                </a:solidFill>
              </a:rPr>
              <a:t>빅데이터</a:t>
            </a:r>
            <a:r>
              <a:rPr lang="ko-KR" altLang="en-US" sz="2400" b="1" dirty="0">
                <a:solidFill>
                  <a:schemeClr val="bg1"/>
                </a:solidFill>
              </a:rPr>
              <a:t> </a:t>
            </a:r>
            <a:r>
              <a:rPr lang="ko-KR" altLang="en-US" sz="2400" b="1" spc="-20" dirty="0">
                <a:solidFill>
                  <a:schemeClr val="bg1"/>
                </a:solidFill>
                <a:latin typeface="HY신문명조"/>
                <a:ea typeface="dotum" panose="020B0600000101010101" pitchFamily="50" charset="-127"/>
              </a:rPr>
              <a:t>는 생성 </a:t>
            </a:r>
            <a:r>
              <a:rPr lang="en-US" altLang="ko-KR" sz="2400" b="1" spc="-20" dirty="0">
                <a:solidFill>
                  <a:schemeClr val="bg1"/>
                </a:solidFill>
                <a:latin typeface="HY신문명조"/>
                <a:ea typeface="dotum" panose="020B0600000101010101" pitchFamily="50" charset="-127"/>
              </a:rPr>
              <a:t>AI </a:t>
            </a:r>
            <a:r>
              <a:rPr lang="ko-KR" altLang="en-US" sz="2400" b="1" spc="-20" dirty="0">
                <a:solidFill>
                  <a:schemeClr val="bg1"/>
                </a:solidFill>
                <a:latin typeface="HY신문명조"/>
                <a:ea typeface="dotum" panose="020B0600000101010101" pitchFamily="50" charset="-127"/>
              </a:rPr>
              <a:t>시장 생태계의 병행 진화 </a:t>
            </a:r>
            <a:endParaRPr lang="ko-KR" altLang="en-US" dirty="0">
              <a:solidFill>
                <a:schemeClr val="bg1"/>
              </a:solidFill>
            </a:endParaRPr>
          </a:p>
        </p:txBody>
      </p:sp>
      <p:sp>
        <p:nvSpPr>
          <p:cNvPr id="4" name="직사각형 3"/>
          <p:cNvSpPr/>
          <p:nvPr/>
        </p:nvSpPr>
        <p:spPr>
          <a:xfrm>
            <a:off x="224377" y="1943980"/>
            <a:ext cx="11789001" cy="4708981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marL="349250" marR="63500" indent="-285750">
              <a:buFont typeface="Wingdings" panose="05000000000000000000" pitchFamily="2" charset="2"/>
              <a:buChar char="l"/>
            </a:pPr>
            <a:r>
              <a:rPr lang="ko-KR" altLang="en-US" sz="2000" b="1" spc="-20" dirty="0">
                <a:solidFill>
                  <a:srgbClr val="3B342A"/>
                </a:solidFill>
                <a:latin typeface="HY신문명조"/>
                <a:ea typeface="dotum" panose="020B0600000101010101" pitchFamily="50" charset="-127"/>
              </a:rPr>
              <a:t>오픈</a:t>
            </a:r>
            <a:r>
              <a:rPr lang="en-US" altLang="ko-KR" sz="2000" b="1" spc="-20" dirty="0">
                <a:solidFill>
                  <a:srgbClr val="3B342A"/>
                </a:solidFill>
                <a:latin typeface="HY신문명조"/>
                <a:ea typeface="dotum" panose="020B0600000101010101" pitchFamily="50" charset="-127"/>
              </a:rPr>
              <a:t>AI</a:t>
            </a:r>
            <a:r>
              <a:rPr lang="ko-KR" altLang="en-US" sz="2000" b="1" spc="-20" dirty="0">
                <a:solidFill>
                  <a:srgbClr val="3B342A"/>
                </a:solidFill>
                <a:latin typeface="HY신문명조"/>
                <a:ea typeface="dotum" panose="020B0600000101010101" pitchFamily="50" charset="-127"/>
              </a:rPr>
              <a:t>의 </a:t>
            </a:r>
            <a:r>
              <a:rPr lang="ko-KR" altLang="en-US" sz="2000" b="1" spc="-20" dirty="0" err="1">
                <a:solidFill>
                  <a:srgbClr val="3B342A"/>
                </a:solidFill>
                <a:latin typeface="HY신문명조"/>
                <a:ea typeface="dotum" panose="020B0600000101010101" pitchFamily="50" charset="-127"/>
              </a:rPr>
              <a:t>챗</a:t>
            </a:r>
            <a:r>
              <a:rPr lang="en-US" altLang="ko-KR" sz="2000" b="1" spc="-20" dirty="0">
                <a:solidFill>
                  <a:srgbClr val="3B342A"/>
                </a:solidFill>
                <a:latin typeface="HY신문명조"/>
                <a:ea typeface="dotum" panose="020B0600000101010101" pitchFamily="50" charset="-127"/>
              </a:rPr>
              <a:t>GPT </a:t>
            </a:r>
            <a:r>
              <a:rPr lang="ko-KR" altLang="en-US" sz="2000" b="1" spc="-20" dirty="0" err="1">
                <a:solidFill>
                  <a:srgbClr val="3B342A"/>
                </a:solidFill>
                <a:latin typeface="HY신문명조"/>
                <a:ea typeface="dotum" panose="020B0600000101010101" pitchFamily="50" charset="-127"/>
              </a:rPr>
              <a:t>차기모델인</a:t>
            </a:r>
            <a:r>
              <a:rPr lang="ko-KR" altLang="en-US" sz="2000" b="1" spc="-20" dirty="0">
                <a:solidFill>
                  <a:srgbClr val="3B342A"/>
                </a:solidFill>
                <a:latin typeface="HY신문명조"/>
                <a:ea typeface="dotum" panose="020B0600000101010101" pitchFamily="50" charset="-127"/>
              </a:rPr>
              <a:t> </a:t>
            </a:r>
            <a:r>
              <a:rPr lang="en-US" altLang="ko-KR" sz="2000" b="1" spc="-20" dirty="0">
                <a:solidFill>
                  <a:srgbClr val="3B342A"/>
                </a:solidFill>
                <a:latin typeface="HY신문명조"/>
                <a:ea typeface="dotum" panose="020B0600000101010101" pitchFamily="50" charset="-127"/>
              </a:rPr>
              <a:t>GPT-4</a:t>
            </a:r>
            <a:r>
              <a:rPr lang="ko-KR" altLang="en-US" sz="2000" b="1" spc="-20" dirty="0">
                <a:solidFill>
                  <a:srgbClr val="3B342A"/>
                </a:solidFill>
                <a:latin typeface="HY신문명조"/>
                <a:ea typeface="dotum" panose="020B0600000101010101" pitchFamily="50" charset="-127"/>
              </a:rPr>
              <a:t>는 텍스트</a:t>
            </a:r>
            <a:r>
              <a:rPr lang="en-US" altLang="ko-KR" sz="2000" b="1" spc="-20" dirty="0">
                <a:solidFill>
                  <a:srgbClr val="3B342A"/>
                </a:solidFill>
                <a:latin typeface="HY신문명조"/>
                <a:ea typeface="dotum" panose="020B0600000101010101" pitchFamily="50" charset="-127"/>
              </a:rPr>
              <a:t>(</a:t>
            </a:r>
            <a:r>
              <a:rPr lang="ko-KR" altLang="en-US" sz="2000" b="1" spc="-20" dirty="0">
                <a:solidFill>
                  <a:srgbClr val="3B342A"/>
                </a:solidFill>
                <a:latin typeface="HY신문명조"/>
                <a:ea typeface="dotum" panose="020B0600000101010101" pitchFamily="50" charset="-127"/>
              </a:rPr>
              <a:t>언어</a:t>
            </a:r>
            <a:r>
              <a:rPr lang="en-US" altLang="ko-KR" sz="2000" b="1" spc="-20" dirty="0">
                <a:solidFill>
                  <a:srgbClr val="3B342A"/>
                </a:solidFill>
                <a:latin typeface="HY신문명조"/>
                <a:ea typeface="dotum" panose="020B0600000101010101" pitchFamily="50" charset="-127"/>
              </a:rPr>
              <a:t>) </a:t>
            </a:r>
            <a:r>
              <a:rPr lang="ko-KR" altLang="en-US" sz="2000" b="1" spc="-20" dirty="0">
                <a:solidFill>
                  <a:srgbClr val="3B342A"/>
                </a:solidFill>
                <a:latin typeface="HY신문명조"/>
                <a:ea typeface="dotum" panose="020B0600000101010101" pitchFamily="50" charset="-127"/>
              </a:rPr>
              <a:t>외에도 이미지</a:t>
            </a:r>
            <a:r>
              <a:rPr lang="en-US" altLang="ko-KR" sz="2000" b="1" spc="-20" dirty="0">
                <a:solidFill>
                  <a:srgbClr val="3B342A"/>
                </a:solidFill>
                <a:latin typeface="HY신문명조"/>
                <a:ea typeface="dotum" panose="020B0600000101010101" pitchFamily="50" charset="-127"/>
              </a:rPr>
              <a:t>, </a:t>
            </a:r>
            <a:r>
              <a:rPr lang="ko-KR" altLang="en-US" sz="2000" b="1" spc="-20" dirty="0">
                <a:solidFill>
                  <a:srgbClr val="3B342A"/>
                </a:solidFill>
                <a:latin typeface="HY신문명조"/>
                <a:ea typeface="dotum" panose="020B0600000101010101" pitchFamily="50" charset="-127"/>
              </a:rPr>
              <a:t>비디오 그리고 다른 데이터 형식</a:t>
            </a:r>
            <a:r>
              <a:rPr lang="en-US" altLang="ko-KR" sz="2000" b="1" spc="-20" dirty="0">
                <a:solidFill>
                  <a:srgbClr val="3B342A"/>
                </a:solidFill>
                <a:latin typeface="HY신문명조"/>
                <a:ea typeface="dotum" panose="020B0600000101010101" pitchFamily="50" charset="-127"/>
              </a:rPr>
              <a:t>(</a:t>
            </a:r>
            <a:r>
              <a:rPr lang="ko-KR" altLang="en-US" sz="2000" b="1" spc="-20" dirty="0">
                <a:solidFill>
                  <a:srgbClr val="3B342A"/>
                </a:solidFill>
                <a:latin typeface="HY신문명조"/>
                <a:ea typeface="dotum" panose="020B0600000101010101" pitchFamily="50" charset="-127"/>
              </a:rPr>
              <a:t>생체신호 등</a:t>
            </a:r>
            <a:r>
              <a:rPr lang="en-US" altLang="ko-KR" sz="2000" b="1" spc="-20" dirty="0">
                <a:solidFill>
                  <a:srgbClr val="3B342A"/>
                </a:solidFill>
                <a:latin typeface="HY신문명조"/>
                <a:ea typeface="dotum" panose="020B0600000101010101" pitchFamily="50" charset="-127"/>
              </a:rPr>
              <a:t>)</a:t>
            </a:r>
            <a:r>
              <a:rPr lang="ko-KR" altLang="en-US" sz="2000" b="1" spc="-20" dirty="0">
                <a:solidFill>
                  <a:srgbClr val="3B342A"/>
                </a:solidFill>
                <a:latin typeface="HY신문명조"/>
                <a:ea typeface="dotum" panose="020B0600000101010101" pitchFamily="50" charset="-127"/>
              </a:rPr>
              <a:t>도 </a:t>
            </a:r>
            <a:r>
              <a:rPr lang="ko-KR" altLang="en-US" sz="2000" b="1" spc="-20" dirty="0" err="1">
                <a:solidFill>
                  <a:srgbClr val="3B342A"/>
                </a:solidFill>
                <a:latin typeface="HY신문명조"/>
                <a:ea typeface="dotum" panose="020B0600000101010101" pitchFamily="50" charset="-127"/>
              </a:rPr>
              <a:t>멀티모달</a:t>
            </a:r>
            <a:r>
              <a:rPr lang="en-US" altLang="ko-KR" sz="2000" b="1" spc="-20" dirty="0">
                <a:solidFill>
                  <a:srgbClr val="3B342A"/>
                </a:solidFill>
                <a:latin typeface="HY신문명조"/>
                <a:ea typeface="dotum" panose="020B0600000101010101" pitchFamily="50" charset="-127"/>
              </a:rPr>
              <a:t>/</a:t>
            </a:r>
            <a:r>
              <a:rPr lang="ko-KR" altLang="en-US" sz="2000" b="1" spc="-20" dirty="0">
                <a:solidFill>
                  <a:srgbClr val="3B342A"/>
                </a:solidFill>
                <a:latin typeface="HY신문명조"/>
                <a:ea typeface="dotum" panose="020B0600000101010101" pitchFamily="50" charset="-127"/>
              </a:rPr>
              <a:t>인터페이스 통해 로봇에게 전달</a:t>
            </a:r>
            <a:r>
              <a:rPr lang="ko-KR" altLang="en-US" sz="2000" spc="-20" dirty="0">
                <a:solidFill>
                  <a:srgbClr val="3B342A"/>
                </a:solidFill>
                <a:latin typeface="HY신문명조"/>
                <a:ea typeface="dotum" panose="020B0600000101010101" pitchFamily="50" charset="-127"/>
              </a:rPr>
              <a:t> 될 가능성이 있다고 예측</a:t>
            </a:r>
            <a:endParaRPr lang="en-US" altLang="ko-KR" sz="2000" spc="-20" dirty="0">
              <a:solidFill>
                <a:srgbClr val="3B342A"/>
              </a:solidFill>
              <a:latin typeface="HY신문명조"/>
              <a:ea typeface="dotum" panose="020B0600000101010101" pitchFamily="50" charset="-127"/>
            </a:endParaRPr>
          </a:p>
          <a:p>
            <a:pPr marL="63500" marR="63500"/>
            <a:endParaRPr lang="en-US" altLang="ko-KR" sz="2000" spc="-20" dirty="0">
              <a:solidFill>
                <a:srgbClr val="3B342A"/>
              </a:solidFill>
              <a:latin typeface="HY신문명조"/>
              <a:ea typeface="dotum" panose="020B0600000101010101" pitchFamily="50" charset="-127"/>
            </a:endParaRPr>
          </a:p>
          <a:p>
            <a:pPr marL="349250" marR="63500" indent="-285750">
              <a:buFont typeface="Wingdings" panose="05000000000000000000" pitchFamily="2" charset="2"/>
              <a:buChar char="l"/>
            </a:pPr>
            <a:r>
              <a:rPr lang="ko-KR" altLang="en-US" sz="2000" dirty="0">
                <a:solidFill>
                  <a:srgbClr val="3B342A"/>
                </a:solidFill>
                <a:latin typeface="HY신문명조"/>
                <a:ea typeface="dotum" panose="020B0600000101010101" pitchFamily="50" charset="-127"/>
              </a:rPr>
              <a:t>오픈</a:t>
            </a:r>
            <a:r>
              <a:rPr lang="en-US" altLang="ko-KR" sz="2000" spc="-20" dirty="0">
                <a:solidFill>
                  <a:srgbClr val="3B342A"/>
                </a:solidFill>
                <a:latin typeface="HY신문명조"/>
                <a:ea typeface="dotum" panose="020B0600000101010101" pitchFamily="50" charset="-127"/>
              </a:rPr>
              <a:t>AI</a:t>
            </a:r>
            <a:r>
              <a:rPr lang="ko-KR" altLang="en-US" sz="2000" spc="-20" dirty="0">
                <a:solidFill>
                  <a:srgbClr val="3B342A"/>
                </a:solidFill>
                <a:latin typeface="HY신문명조"/>
                <a:ea typeface="dotum" panose="020B0600000101010101" pitchFamily="50" charset="-127"/>
              </a:rPr>
              <a:t>가 </a:t>
            </a:r>
            <a:r>
              <a:rPr lang="ko-KR" altLang="en-US" sz="2000" spc="-20" dirty="0" err="1">
                <a:solidFill>
                  <a:srgbClr val="3B342A"/>
                </a:solidFill>
                <a:latin typeface="HY신문명조"/>
                <a:ea typeface="dotum" panose="020B0600000101010101" pitchFamily="50" charset="-127"/>
              </a:rPr>
              <a:t>챗</a:t>
            </a:r>
            <a:r>
              <a:rPr lang="en-US" altLang="ko-KR" sz="2000" spc="-20" dirty="0">
                <a:solidFill>
                  <a:srgbClr val="3B342A"/>
                </a:solidFill>
                <a:latin typeface="HY신문명조"/>
                <a:ea typeface="dotum" panose="020B0600000101010101" pitchFamily="50" charset="-127"/>
              </a:rPr>
              <a:t>GPT</a:t>
            </a:r>
            <a:r>
              <a:rPr lang="ko-KR" altLang="en-US" sz="2000" spc="-20" dirty="0">
                <a:solidFill>
                  <a:srgbClr val="3B342A"/>
                </a:solidFill>
                <a:latin typeface="HY신문명조"/>
                <a:ea typeface="dotum" panose="020B0600000101010101" pitchFamily="50" charset="-127"/>
              </a:rPr>
              <a:t>의 상당 부분을 무료</a:t>
            </a:r>
            <a:r>
              <a:rPr lang="en-US" altLang="ko-KR" sz="2000" spc="-20" dirty="0">
                <a:solidFill>
                  <a:srgbClr val="3B342A"/>
                </a:solidFill>
                <a:latin typeface="HY신문명조"/>
                <a:ea typeface="dotum" panose="020B0600000101010101" pitchFamily="50" charset="-127"/>
              </a:rPr>
              <a:t>(&gt; </a:t>
            </a:r>
            <a:r>
              <a:rPr lang="ko-KR" altLang="en-US" sz="2000" spc="-20" dirty="0">
                <a:solidFill>
                  <a:srgbClr val="3B342A"/>
                </a:solidFill>
                <a:latin typeface="HY신문명조"/>
                <a:ea typeface="dotum" panose="020B0600000101010101" pitchFamily="50" charset="-127"/>
              </a:rPr>
              <a:t>나중 수수료</a:t>
            </a:r>
            <a:r>
              <a:rPr lang="en-US" altLang="ko-KR" sz="2000" spc="-20" dirty="0">
                <a:solidFill>
                  <a:srgbClr val="3B342A"/>
                </a:solidFill>
                <a:latin typeface="HY신문명조"/>
                <a:ea typeface="dotum" panose="020B0600000101010101" pitchFamily="50" charset="-127"/>
              </a:rPr>
              <a:t>)</a:t>
            </a:r>
            <a:r>
              <a:rPr lang="ko-KR" altLang="en-US" sz="2000" spc="-20" dirty="0">
                <a:solidFill>
                  <a:srgbClr val="3B342A"/>
                </a:solidFill>
                <a:latin typeface="HY신문명조"/>
                <a:ea typeface="dotum" panose="020B0600000101010101" pitchFamily="50" charset="-127"/>
              </a:rPr>
              <a:t>로 제공하면서 플랫폼 확장에 나서고 있는 것처럼</a:t>
            </a:r>
            <a:r>
              <a:rPr lang="en-US" altLang="ko-KR" sz="2000" spc="-20" dirty="0">
                <a:solidFill>
                  <a:srgbClr val="3B342A"/>
                </a:solidFill>
                <a:latin typeface="HY신문명조"/>
                <a:ea typeface="dotum" panose="020B0600000101010101" pitchFamily="50" charset="-127"/>
              </a:rPr>
              <a:t>, </a:t>
            </a:r>
            <a:r>
              <a:rPr lang="ko-KR" altLang="en-US" sz="2000" spc="-20" dirty="0">
                <a:solidFill>
                  <a:srgbClr val="3B342A"/>
                </a:solidFill>
                <a:latin typeface="HY신문명조"/>
                <a:ea typeface="dotum" panose="020B0600000101010101" pitchFamily="50" charset="-127"/>
              </a:rPr>
              <a:t>기존 빅테크 기업들이 공개</a:t>
            </a:r>
            <a:r>
              <a:rPr lang="en-US" altLang="ko-KR" sz="2000" spc="-20" dirty="0">
                <a:solidFill>
                  <a:srgbClr val="3B342A"/>
                </a:solidFill>
                <a:latin typeface="HY신문명조"/>
                <a:ea typeface="dotum" panose="020B0600000101010101" pitchFamily="50" charset="-127"/>
              </a:rPr>
              <a:t> </a:t>
            </a:r>
            <a:r>
              <a:rPr lang="ko-KR" altLang="en-US" sz="2000" spc="-20" dirty="0">
                <a:solidFill>
                  <a:srgbClr val="3B342A"/>
                </a:solidFill>
                <a:latin typeface="HY신문명조"/>
                <a:ea typeface="dotum" panose="020B0600000101010101" pitchFamily="50" charset="-127"/>
              </a:rPr>
              <a:t>모델을 기반으로 </a:t>
            </a:r>
            <a:r>
              <a:rPr lang="ko-KR" altLang="en-US" sz="2000" b="1" spc="-20" dirty="0">
                <a:solidFill>
                  <a:srgbClr val="3B342A"/>
                </a:solidFill>
                <a:latin typeface="HY신문명조"/>
                <a:ea typeface="dotum" panose="020B0600000101010101" pitchFamily="50" charset="-127"/>
              </a:rPr>
              <a:t>다양한 전문적이고</a:t>
            </a:r>
            <a:r>
              <a:rPr lang="en-US" altLang="ko-KR" sz="2000" b="1" spc="-20" dirty="0">
                <a:solidFill>
                  <a:srgbClr val="3B342A"/>
                </a:solidFill>
                <a:latin typeface="HY신문명조"/>
                <a:ea typeface="dotum" panose="020B0600000101010101" pitchFamily="50" charset="-127"/>
              </a:rPr>
              <a:t>, </a:t>
            </a:r>
            <a:r>
              <a:rPr lang="ko-KR" altLang="en-US" sz="2000" b="1" spc="-20" dirty="0">
                <a:solidFill>
                  <a:srgbClr val="3B342A"/>
                </a:solidFill>
                <a:latin typeface="HY신문명조"/>
                <a:ea typeface="dotum" panose="020B0600000101010101" pitchFamily="50" charset="-127"/>
              </a:rPr>
              <a:t>맞춤형 비즈니스 </a:t>
            </a:r>
            <a:r>
              <a:rPr lang="en-US" altLang="ko-KR" sz="2000" b="1" spc="-20" dirty="0">
                <a:solidFill>
                  <a:srgbClr val="3B342A"/>
                </a:solidFill>
                <a:latin typeface="HY신문명조"/>
                <a:ea typeface="dotum" panose="020B0600000101010101" pitchFamily="50" charset="-127"/>
              </a:rPr>
              <a:t>/</a:t>
            </a:r>
            <a:r>
              <a:rPr lang="ko-KR" altLang="en-US" sz="2000" b="1" spc="-20" dirty="0">
                <a:solidFill>
                  <a:srgbClr val="3B342A"/>
                </a:solidFill>
                <a:latin typeface="HY신문명조"/>
                <a:ea typeface="dotum" panose="020B0600000101010101" pitchFamily="50" charset="-127"/>
              </a:rPr>
              <a:t>산업별 특화 서비스가 가능한 비즈니스 </a:t>
            </a:r>
            <a:r>
              <a:rPr lang="ko-KR" altLang="en-US" sz="2000" spc="-20" dirty="0">
                <a:solidFill>
                  <a:srgbClr val="3B342A"/>
                </a:solidFill>
                <a:latin typeface="HY신문명조"/>
                <a:ea typeface="dotum" panose="020B0600000101010101" pitchFamily="50" charset="-127"/>
              </a:rPr>
              <a:t>모델의 확장 주도</a:t>
            </a:r>
            <a:endParaRPr lang="en-US" altLang="ko-KR" sz="2000" spc="-20" dirty="0">
              <a:solidFill>
                <a:srgbClr val="3B342A"/>
              </a:solidFill>
              <a:latin typeface="HY신문명조"/>
              <a:ea typeface="dotum" panose="020B0600000101010101" pitchFamily="50" charset="-127"/>
            </a:endParaRPr>
          </a:p>
          <a:p>
            <a:pPr marL="406400" marR="63500" indent="-342900">
              <a:buFont typeface="Wingdings" panose="05000000000000000000" pitchFamily="2" charset="2"/>
              <a:buChar char="l"/>
            </a:pPr>
            <a:r>
              <a:rPr lang="ko-KR" altLang="en-US" sz="2000" b="1" spc="-10" dirty="0">
                <a:solidFill>
                  <a:srgbClr val="3B342A"/>
                </a:solidFill>
                <a:latin typeface="HY신문명조"/>
                <a:ea typeface="dotum" panose="020B0600000101010101" pitchFamily="50" charset="-127"/>
              </a:rPr>
              <a:t>생성 </a:t>
            </a:r>
            <a:r>
              <a:rPr lang="en-US" altLang="ko-KR" sz="2000" b="1" spc="-10" dirty="0">
                <a:solidFill>
                  <a:srgbClr val="3B342A"/>
                </a:solidFill>
                <a:latin typeface="HY신문명조"/>
                <a:ea typeface="dotum" panose="020B0600000101010101" pitchFamily="50" charset="-127"/>
              </a:rPr>
              <a:t>AI </a:t>
            </a:r>
            <a:r>
              <a:rPr lang="ko-KR" altLang="en-US" sz="2000" b="1" spc="-10" dirty="0">
                <a:solidFill>
                  <a:srgbClr val="3B342A"/>
                </a:solidFill>
                <a:latin typeface="HY신문명조"/>
                <a:ea typeface="dotum" panose="020B0600000101010101" pitchFamily="50" charset="-127"/>
              </a:rPr>
              <a:t>생태계는 상대적으로 </a:t>
            </a:r>
            <a:r>
              <a:rPr lang="ko-KR" altLang="en-US" sz="2000" b="1" spc="-10" dirty="0" err="1">
                <a:solidFill>
                  <a:srgbClr val="3B342A"/>
                </a:solidFill>
                <a:latin typeface="HY신문명조"/>
                <a:ea typeface="dotum" panose="020B0600000101010101" pitchFamily="50" charset="-127"/>
              </a:rPr>
              <a:t>스타트업에게도</a:t>
            </a:r>
            <a:r>
              <a:rPr lang="ko-KR" altLang="en-US" sz="2000" b="1" spc="-10" dirty="0">
                <a:solidFill>
                  <a:srgbClr val="3B342A"/>
                </a:solidFill>
                <a:latin typeface="HY신문명조"/>
                <a:ea typeface="dotum" panose="020B0600000101010101" pitchFamily="50" charset="-127"/>
              </a:rPr>
              <a:t> 많은 비즈니스 기회를 제공</a:t>
            </a:r>
            <a:r>
              <a:rPr lang="en-US" altLang="ko-KR" sz="2000" b="1" spc="-10" dirty="0">
                <a:solidFill>
                  <a:srgbClr val="3B342A"/>
                </a:solidFill>
                <a:latin typeface="HY신문명조"/>
                <a:ea typeface="dotum" panose="020B0600000101010101" pitchFamily="50" charset="-127"/>
              </a:rPr>
              <a:t>( Multi Modal Interface </a:t>
            </a:r>
            <a:r>
              <a:rPr lang="ko-KR" altLang="en-US" sz="2000" b="1" spc="-10" dirty="0">
                <a:solidFill>
                  <a:srgbClr val="3B342A"/>
                </a:solidFill>
                <a:latin typeface="HY신문명조"/>
                <a:ea typeface="dotum" panose="020B0600000101010101" pitchFamily="50" charset="-127"/>
              </a:rPr>
              <a:t>등</a:t>
            </a:r>
            <a:r>
              <a:rPr lang="en-US" altLang="ko-KR" sz="2000" b="1" spc="-10" dirty="0">
                <a:solidFill>
                  <a:srgbClr val="3B342A"/>
                </a:solidFill>
                <a:latin typeface="HY신문명조"/>
                <a:ea typeface="dotum" panose="020B0600000101010101" pitchFamily="50" charset="-127"/>
              </a:rPr>
              <a:t>)</a:t>
            </a:r>
          </a:p>
          <a:p>
            <a:pPr marL="406400" marR="63500" indent="-342900">
              <a:buFont typeface="Wingdings" panose="05000000000000000000" pitchFamily="2" charset="2"/>
              <a:buChar char="l"/>
            </a:pPr>
            <a:r>
              <a:rPr lang="ko-KR" altLang="en-US" sz="2000" b="1" spc="-10" dirty="0">
                <a:solidFill>
                  <a:srgbClr val="3B342A"/>
                </a:solidFill>
                <a:latin typeface="HY신문명조"/>
                <a:ea typeface="dotum" panose="020B0600000101010101" pitchFamily="50" charset="-127"/>
              </a:rPr>
              <a:t>향후 생성 </a:t>
            </a:r>
            <a:r>
              <a:rPr lang="en-US" altLang="ko-KR" sz="2000" b="1" spc="-10" dirty="0">
                <a:solidFill>
                  <a:srgbClr val="3B342A"/>
                </a:solidFill>
                <a:latin typeface="HY신문명조"/>
                <a:ea typeface="dotum" panose="020B0600000101010101" pitchFamily="50" charset="-127"/>
              </a:rPr>
              <a:t>AI </a:t>
            </a:r>
            <a:r>
              <a:rPr lang="ko-KR" altLang="en-US" sz="2000" b="1" spc="-10" dirty="0">
                <a:solidFill>
                  <a:srgbClr val="3B342A"/>
                </a:solidFill>
                <a:latin typeface="HY신문명조"/>
                <a:ea typeface="dotum" panose="020B0600000101010101" pitchFamily="50" charset="-127"/>
              </a:rPr>
              <a:t>기업의</a:t>
            </a:r>
            <a:r>
              <a:rPr lang="en-US" altLang="ko-KR" sz="2000" b="1" spc="-10" dirty="0">
                <a:solidFill>
                  <a:srgbClr val="3B342A"/>
                </a:solidFill>
                <a:latin typeface="HY신문명조"/>
                <a:ea typeface="dotum" panose="020B0600000101010101" pitchFamily="50" charset="-127"/>
              </a:rPr>
              <a:t> </a:t>
            </a:r>
            <a:r>
              <a:rPr lang="ko-KR" altLang="en-US" sz="2000" b="1" spc="-10" dirty="0">
                <a:solidFill>
                  <a:srgbClr val="3B342A"/>
                </a:solidFill>
                <a:latin typeface="HY신문명조"/>
                <a:ea typeface="dotum" panose="020B0600000101010101" pitchFamily="50" charset="-127"/>
              </a:rPr>
              <a:t>기술 오픈이 </a:t>
            </a:r>
            <a:r>
              <a:rPr lang="ko-KR" altLang="en-US" sz="2000" b="1" spc="-10" dirty="0" err="1">
                <a:solidFill>
                  <a:srgbClr val="3B342A"/>
                </a:solidFill>
                <a:latin typeface="HY신문명조"/>
                <a:ea typeface="dotum" panose="020B0600000101010101" pitchFamily="50" charset="-127"/>
              </a:rPr>
              <a:t>패쇄형으로</a:t>
            </a:r>
            <a:r>
              <a:rPr lang="ko-KR" altLang="en-US" sz="2000" b="1" spc="-10" dirty="0">
                <a:solidFill>
                  <a:srgbClr val="3B342A"/>
                </a:solidFill>
                <a:latin typeface="HY신문명조"/>
                <a:ea typeface="dotum" panose="020B0600000101010101" pitchFamily="50" charset="-127"/>
              </a:rPr>
              <a:t> 갈  가능성</a:t>
            </a:r>
            <a:r>
              <a:rPr lang="en-US" altLang="ko-KR" sz="2000" b="1" spc="-10" dirty="0">
                <a:solidFill>
                  <a:srgbClr val="3B342A"/>
                </a:solidFill>
                <a:latin typeface="HY신문명조"/>
                <a:ea typeface="dotum" panose="020B0600000101010101" pitchFamily="50" charset="-127"/>
              </a:rPr>
              <a:t>(</a:t>
            </a:r>
            <a:r>
              <a:rPr lang="ko-KR" altLang="en-US" sz="2000" b="1" spc="-10" dirty="0">
                <a:solidFill>
                  <a:srgbClr val="3B342A"/>
                </a:solidFill>
                <a:latin typeface="HY신문명조"/>
                <a:ea typeface="dotum" panose="020B0600000101010101" pitchFamily="50" charset="-127"/>
              </a:rPr>
              <a:t>자국 보호주의 </a:t>
            </a:r>
            <a:endParaRPr lang="en-US" altLang="ko-KR" sz="2000" b="1" spc="-10" dirty="0">
              <a:solidFill>
                <a:srgbClr val="3B342A"/>
              </a:solidFill>
              <a:latin typeface="HY신문명조"/>
              <a:ea typeface="dotum" panose="020B0600000101010101" pitchFamily="50" charset="-127"/>
            </a:endParaRPr>
          </a:p>
          <a:p>
            <a:pPr marL="406400" marR="63500" indent="-342900">
              <a:buFont typeface="Arial" panose="020B0604020202020204" pitchFamily="34" charset="0"/>
              <a:buChar char="•"/>
            </a:pPr>
            <a:endParaRPr lang="en-US" altLang="ko-KR" sz="2000" spc="-20" dirty="0">
              <a:solidFill>
                <a:srgbClr val="3B342A"/>
              </a:solidFill>
              <a:latin typeface="HY신문명조"/>
              <a:ea typeface="dotum" panose="020B0600000101010101" pitchFamily="50" charset="-127"/>
            </a:endParaRPr>
          </a:p>
          <a:p>
            <a:pPr marL="406400" marR="63500" indent="-342900">
              <a:buFont typeface="Arial" panose="020B0604020202020204" pitchFamily="34" charset="0"/>
              <a:buChar char="•"/>
            </a:pPr>
            <a:r>
              <a:rPr lang="ko-KR" altLang="en-US" sz="2000" b="1" dirty="0">
                <a:solidFill>
                  <a:srgbClr val="3B342A"/>
                </a:solidFill>
                <a:latin typeface="HY신문명조"/>
                <a:ea typeface="dotum" panose="020B0600000101010101" pitchFamily="50" charset="-127"/>
              </a:rPr>
              <a:t>따라서 국내의 경우 네이버</a:t>
            </a:r>
            <a:r>
              <a:rPr lang="en-US" altLang="ko-KR" sz="2000" b="1" dirty="0">
                <a:solidFill>
                  <a:srgbClr val="3B342A"/>
                </a:solidFill>
                <a:latin typeface="HY신문명조"/>
                <a:ea typeface="dotum" panose="020B0600000101010101" pitchFamily="50" charset="-127"/>
              </a:rPr>
              <a:t>, </a:t>
            </a:r>
            <a:r>
              <a:rPr lang="ko-KR" altLang="en-US" sz="2000" b="1" dirty="0">
                <a:solidFill>
                  <a:srgbClr val="3B342A"/>
                </a:solidFill>
                <a:latin typeface="HY신문명조"/>
                <a:ea typeface="dotum" panose="020B0600000101010101" pitchFamily="50" charset="-127"/>
              </a:rPr>
              <a:t>카카오</a:t>
            </a:r>
            <a:r>
              <a:rPr lang="en-US" altLang="ko-KR" sz="2000" b="1" dirty="0">
                <a:solidFill>
                  <a:srgbClr val="3B342A"/>
                </a:solidFill>
                <a:latin typeface="HY신문명조"/>
                <a:ea typeface="dotum" panose="020B0600000101010101" pitchFamily="50" charset="-127"/>
              </a:rPr>
              <a:t>, KT, LG, </a:t>
            </a:r>
            <a:r>
              <a:rPr lang="ko-KR" altLang="en-US" sz="2000" b="1" dirty="0">
                <a:solidFill>
                  <a:srgbClr val="3B342A"/>
                </a:solidFill>
                <a:latin typeface="HY신문명조"/>
                <a:ea typeface="dotum" panose="020B0600000101010101" pitchFamily="50" charset="-127"/>
              </a:rPr>
              <a:t>삼성 등도 한국어에 강한 초거대 생성</a:t>
            </a:r>
            <a:r>
              <a:rPr lang="en-US" altLang="ko-KR" sz="2000" b="1" dirty="0">
                <a:solidFill>
                  <a:srgbClr val="3B342A"/>
                </a:solidFill>
                <a:latin typeface="HY신문명조"/>
                <a:ea typeface="dotum" panose="020B0600000101010101" pitchFamily="50" charset="-127"/>
              </a:rPr>
              <a:t> AI</a:t>
            </a:r>
            <a:r>
              <a:rPr lang="ko-KR" altLang="en-US" sz="2000" b="1" dirty="0">
                <a:solidFill>
                  <a:srgbClr val="3B342A"/>
                </a:solidFill>
                <a:latin typeface="HY신문명조"/>
                <a:ea typeface="dotum" panose="020B0600000101010101" pitchFamily="50" charset="-127"/>
              </a:rPr>
              <a:t>개발투자</a:t>
            </a:r>
            <a:r>
              <a:rPr lang="ko-KR" altLang="en-US" sz="2000" b="1" spc="-10" dirty="0">
                <a:solidFill>
                  <a:srgbClr val="3B342A"/>
                </a:solidFill>
                <a:latin typeface="HY신문명조"/>
                <a:ea typeface="dotum" panose="020B0600000101010101" pitchFamily="50" charset="-127"/>
              </a:rPr>
              <a:t> </a:t>
            </a:r>
            <a:endParaRPr lang="en-US" altLang="ko-KR" sz="2000" b="1" spc="-10" dirty="0">
              <a:solidFill>
                <a:srgbClr val="3B342A"/>
              </a:solidFill>
              <a:latin typeface="HY신문명조"/>
              <a:ea typeface="dotum" panose="020B0600000101010101" pitchFamily="50" charset="-127"/>
            </a:endParaRPr>
          </a:p>
          <a:p>
            <a:pPr marL="406400" marR="63500" indent="-342900">
              <a:buFont typeface="Arial" panose="020B0604020202020204" pitchFamily="34" charset="0"/>
              <a:buChar char="•"/>
            </a:pPr>
            <a:r>
              <a:rPr lang="ko-KR" altLang="en-US" sz="2000" b="0" i="0" dirty="0" smtClean="0">
                <a:solidFill>
                  <a:srgbClr val="000000"/>
                </a:solidFill>
                <a:effectLst/>
                <a:latin typeface="Spoqa Han Sans Neo"/>
              </a:rPr>
              <a:t>한국 </a:t>
            </a:r>
            <a:r>
              <a:rPr lang="ko-KR" altLang="en-US" sz="2000" b="0" i="0" dirty="0">
                <a:solidFill>
                  <a:srgbClr val="000000"/>
                </a:solidFill>
                <a:effectLst/>
                <a:latin typeface="Spoqa Han Sans Neo"/>
              </a:rPr>
              <a:t>정부는 복합 지능</a:t>
            </a:r>
            <a:r>
              <a:rPr lang="en-US" altLang="ko-KR" sz="2000" b="0" i="0" dirty="0">
                <a:solidFill>
                  <a:srgbClr val="000000"/>
                </a:solidFill>
                <a:effectLst/>
                <a:latin typeface="Spoqa Han Sans Neo"/>
              </a:rPr>
              <a:t>·</a:t>
            </a:r>
            <a:r>
              <a:rPr lang="ko-KR" altLang="en-US" sz="2000" b="0" i="0" dirty="0">
                <a:solidFill>
                  <a:srgbClr val="000000"/>
                </a:solidFill>
                <a:effectLst/>
                <a:latin typeface="Spoqa Han Sans Neo"/>
              </a:rPr>
              <a:t>초거대 </a:t>
            </a:r>
            <a:r>
              <a:rPr lang="en-US" altLang="ko-KR" sz="2000" b="0" i="0" dirty="0">
                <a:solidFill>
                  <a:srgbClr val="000000"/>
                </a:solidFill>
                <a:effectLst/>
                <a:latin typeface="Spoqa Han Sans Neo"/>
              </a:rPr>
              <a:t>AI </a:t>
            </a:r>
            <a:r>
              <a:rPr lang="ko-KR" altLang="en-US" sz="2000" b="0" i="0" dirty="0">
                <a:solidFill>
                  <a:srgbClr val="000000"/>
                </a:solidFill>
                <a:effectLst/>
                <a:latin typeface="Spoqa Han Sans Neo"/>
              </a:rPr>
              <a:t>기술 개발에 </a:t>
            </a:r>
            <a:r>
              <a:rPr lang="en-US" altLang="ko-KR" sz="2000" b="0" i="0" dirty="0">
                <a:solidFill>
                  <a:srgbClr val="000000"/>
                </a:solidFill>
                <a:effectLst/>
                <a:latin typeface="Spoqa Han Sans Neo"/>
              </a:rPr>
              <a:t>2022∼2026</a:t>
            </a:r>
            <a:r>
              <a:rPr lang="ko-KR" altLang="en-US" sz="2000" b="0" i="0" dirty="0">
                <a:solidFill>
                  <a:srgbClr val="000000"/>
                </a:solidFill>
                <a:effectLst/>
                <a:latin typeface="Spoqa Han Sans Neo"/>
              </a:rPr>
              <a:t>년 </a:t>
            </a:r>
            <a:r>
              <a:rPr lang="en-US" altLang="ko-KR" sz="2000" b="0" i="0" dirty="0">
                <a:solidFill>
                  <a:srgbClr val="000000"/>
                </a:solidFill>
                <a:effectLst/>
                <a:latin typeface="Spoqa Han Sans Neo"/>
              </a:rPr>
              <a:t>2</a:t>
            </a:r>
            <a:r>
              <a:rPr lang="ko-KR" altLang="en-US" sz="2000" b="0" i="0" dirty="0">
                <a:solidFill>
                  <a:srgbClr val="000000"/>
                </a:solidFill>
                <a:effectLst/>
                <a:latin typeface="Spoqa Han Sans Neo"/>
              </a:rPr>
              <a:t>천</a:t>
            </a:r>
            <a:r>
              <a:rPr lang="en-US" altLang="ko-KR" sz="2000" b="0" i="0" dirty="0">
                <a:solidFill>
                  <a:srgbClr val="000000"/>
                </a:solidFill>
                <a:effectLst/>
                <a:latin typeface="Spoqa Han Sans Neo"/>
              </a:rPr>
              <a:t>655</a:t>
            </a:r>
            <a:r>
              <a:rPr lang="ko-KR" altLang="en-US" sz="2000" b="0" i="0" dirty="0">
                <a:solidFill>
                  <a:srgbClr val="000000"/>
                </a:solidFill>
                <a:effectLst/>
                <a:latin typeface="Spoqa Han Sans Neo"/>
              </a:rPr>
              <a:t>억 원을 투입하고 </a:t>
            </a:r>
            <a:r>
              <a:rPr lang="en-US" altLang="ko-KR" sz="2000" b="0" i="0" dirty="0">
                <a:solidFill>
                  <a:srgbClr val="000000"/>
                </a:solidFill>
                <a:effectLst/>
                <a:latin typeface="Spoqa Han Sans Neo"/>
              </a:rPr>
              <a:t>2027</a:t>
            </a:r>
            <a:r>
              <a:rPr lang="ko-KR" altLang="en-US" sz="2000" b="0" i="0" dirty="0">
                <a:solidFill>
                  <a:srgbClr val="000000"/>
                </a:solidFill>
                <a:effectLst/>
                <a:latin typeface="Spoqa Han Sans Neo"/>
              </a:rPr>
              <a:t>년까지 </a:t>
            </a:r>
            <a:r>
              <a:rPr lang="en-US" altLang="ko-KR" sz="2000" b="0" i="0" dirty="0">
                <a:solidFill>
                  <a:srgbClr val="000000"/>
                </a:solidFill>
                <a:effectLst/>
                <a:latin typeface="Spoqa Han Sans Neo"/>
              </a:rPr>
              <a:t>445</a:t>
            </a:r>
            <a:r>
              <a:rPr lang="ko-KR" altLang="en-US" sz="2000" b="0" i="0" dirty="0">
                <a:solidFill>
                  <a:srgbClr val="000000"/>
                </a:solidFill>
                <a:effectLst/>
                <a:latin typeface="Spoqa Han Sans Neo"/>
              </a:rPr>
              <a:t>억 원을 들여 공공과 산업 분야 난제 해결을 돕는 </a:t>
            </a:r>
            <a:r>
              <a:rPr lang="en-US" altLang="ko-KR" sz="2000" b="0" i="0" dirty="0">
                <a:solidFill>
                  <a:srgbClr val="000000"/>
                </a:solidFill>
                <a:effectLst/>
                <a:latin typeface="Spoqa Han Sans Neo"/>
              </a:rPr>
              <a:t>AI</a:t>
            </a:r>
            <a:r>
              <a:rPr lang="ko-KR" altLang="en-US" sz="2000" b="0" i="0" dirty="0">
                <a:solidFill>
                  <a:srgbClr val="000000"/>
                </a:solidFill>
                <a:effectLst/>
                <a:latin typeface="Spoqa Han Sans Neo"/>
              </a:rPr>
              <a:t>를 개발</a:t>
            </a:r>
            <a:endParaRPr lang="en-US" altLang="ko-KR" sz="2000" b="0" i="0" dirty="0">
              <a:solidFill>
                <a:srgbClr val="000000"/>
              </a:solidFill>
              <a:effectLst/>
              <a:latin typeface="Spoqa Han Sans Neo"/>
            </a:endParaRPr>
          </a:p>
          <a:p>
            <a:pPr marL="406400" marR="63500" indent="-342900">
              <a:buFont typeface="Arial" panose="020B0604020202020204" pitchFamily="34" charset="0"/>
              <a:buChar char="•"/>
            </a:pPr>
            <a:r>
              <a:rPr lang="ko-KR" altLang="en-US" sz="2000" dirty="0" smtClean="0">
                <a:solidFill>
                  <a:srgbClr val="111111"/>
                </a:solidFill>
                <a:latin typeface="Roboto" panose="020B0604020202020204" pitchFamily="2" charset="0"/>
              </a:rPr>
              <a:t>정</a:t>
            </a:r>
            <a:r>
              <a:rPr lang="ko-KR" altLang="en-US" sz="2000" b="0" i="0" dirty="0" smtClean="0">
                <a:solidFill>
                  <a:srgbClr val="111111"/>
                </a:solidFill>
                <a:effectLst/>
                <a:latin typeface="Roboto" panose="020B0604020202020204" pitchFamily="2" charset="0"/>
              </a:rPr>
              <a:t>부는 </a:t>
            </a:r>
            <a:r>
              <a:rPr lang="en-US" altLang="ko-KR" sz="2000" b="0" i="0" dirty="0">
                <a:solidFill>
                  <a:srgbClr val="111111"/>
                </a:solidFill>
                <a:effectLst/>
                <a:latin typeface="Roboto" panose="020B0604020202020204" pitchFamily="2" charset="0"/>
              </a:rPr>
              <a:t>AI </a:t>
            </a:r>
            <a:r>
              <a:rPr lang="ko-KR" altLang="en-US" sz="2000" b="0" i="0" dirty="0">
                <a:solidFill>
                  <a:srgbClr val="111111"/>
                </a:solidFill>
                <a:effectLst/>
                <a:latin typeface="Roboto" panose="020B0604020202020204" pitchFamily="2" charset="0"/>
              </a:rPr>
              <a:t>활용기업 </a:t>
            </a:r>
            <a:r>
              <a:rPr lang="en-US" altLang="ko-KR" sz="2000" b="0" i="0" dirty="0">
                <a:solidFill>
                  <a:srgbClr val="111111"/>
                </a:solidFill>
                <a:effectLst/>
                <a:latin typeface="Roboto" panose="020B0604020202020204" pitchFamily="2" charset="0"/>
              </a:rPr>
              <a:t>2030</a:t>
            </a:r>
            <a:r>
              <a:rPr lang="ko-KR" altLang="en-US" sz="2000" b="0" i="0" dirty="0">
                <a:solidFill>
                  <a:srgbClr val="111111"/>
                </a:solidFill>
                <a:effectLst/>
                <a:latin typeface="Roboto" panose="020B0604020202020204" pitchFamily="2" charset="0"/>
              </a:rPr>
              <a:t>년까지 </a:t>
            </a:r>
            <a:r>
              <a:rPr lang="en-US" altLang="ko-KR" sz="2000" b="0" i="0" dirty="0">
                <a:solidFill>
                  <a:srgbClr val="111111"/>
                </a:solidFill>
                <a:effectLst/>
                <a:latin typeface="Roboto" panose="020B0604020202020204" pitchFamily="2" charset="0"/>
              </a:rPr>
              <a:t>1% </a:t>
            </a:r>
            <a:r>
              <a:rPr lang="ko-KR" altLang="en-US" sz="2000" b="0" i="0" dirty="0">
                <a:solidFill>
                  <a:srgbClr val="111111"/>
                </a:solidFill>
                <a:effectLst/>
                <a:latin typeface="Roboto" panose="020B0604020202020204" pitchFamily="2" charset="0"/>
              </a:rPr>
              <a:t>에서 </a:t>
            </a:r>
            <a:r>
              <a:rPr lang="en-US" altLang="ko-KR" sz="2000" b="0" i="0" dirty="0">
                <a:solidFill>
                  <a:srgbClr val="111111"/>
                </a:solidFill>
                <a:effectLst/>
                <a:latin typeface="Roboto" panose="020B0604020202020204" pitchFamily="2" charset="0"/>
              </a:rPr>
              <a:t>30%</a:t>
            </a:r>
            <a:r>
              <a:rPr lang="ko-KR" altLang="en-US" sz="2000" dirty="0">
                <a:solidFill>
                  <a:srgbClr val="000000"/>
                </a:solidFill>
                <a:latin typeface="Spoqa Han Sans Neo"/>
              </a:rPr>
              <a:t>까지 확대하고  </a:t>
            </a:r>
            <a:r>
              <a:rPr lang="ko-KR" altLang="en-US" sz="2000" b="0" i="0" dirty="0">
                <a:solidFill>
                  <a:srgbClr val="71777D"/>
                </a:solidFill>
                <a:effectLst/>
                <a:latin typeface="Roboto" panose="02000000000000000000" pitchFamily="2" charset="0"/>
              </a:rPr>
              <a:t> </a:t>
            </a:r>
            <a:r>
              <a:rPr lang="ko-KR" altLang="en-US" sz="2000" b="0" i="0" dirty="0">
                <a:solidFill>
                  <a:schemeClr val="tx1"/>
                </a:solidFill>
                <a:effectLst/>
                <a:latin typeface="Roboto" panose="02000000000000000000" pitchFamily="2" charset="0"/>
              </a:rPr>
              <a:t>글로벌 경쟁력을 갖춘 </a:t>
            </a:r>
            <a:r>
              <a:rPr lang="en-US" altLang="ko-KR" sz="2000" b="0" i="0" dirty="0">
                <a:solidFill>
                  <a:schemeClr val="tx1"/>
                </a:solidFill>
                <a:effectLst/>
                <a:latin typeface="Roboto" panose="02000000000000000000" pitchFamily="2" charset="0"/>
              </a:rPr>
              <a:t>ai </a:t>
            </a:r>
            <a:r>
              <a:rPr lang="ko-KR" altLang="en-US" sz="2000" b="0" i="0" dirty="0">
                <a:solidFill>
                  <a:schemeClr val="tx1"/>
                </a:solidFill>
                <a:effectLst/>
                <a:latin typeface="Roboto" panose="02000000000000000000" pitchFamily="2" charset="0"/>
              </a:rPr>
              <a:t>공급 기업을 </a:t>
            </a:r>
            <a:r>
              <a:rPr lang="en-US" altLang="ko-KR" sz="2000" b="0" i="0" dirty="0">
                <a:solidFill>
                  <a:schemeClr val="tx1"/>
                </a:solidFill>
                <a:effectLst/>
                <a:latin typeface="Roboto" panose="02000000000000000000" pitchFamily="2" charset="0"/>
              </a:rPr>
              <a:t>100</a:t>
            </a:r>
            <a:r>
              <a:rPr lang="ko-KR" altLang="en-US" sz="2000" b="0" i="0" dirty="0">
                <a:solidFill>
                  <a:schemeClr val="tx1"/>
                </a:solidFill>
                <a:effectLst/>
                <a:latin typeface="Roboto" panose="02000000000000000000" pitchFamily="2" charset="0"/>
              </a:rPr>
              <a:t>개 이상 육성</a:t>
            </a:r>
            <a:endParaRPr lang="ko-KR" altLang="en-US" sz="2000" b="0" i="0" dirty="0">
              <a:solidFill>
                <a:schemeClr val="tx1"/>
              </a:solidFill>
              <a:effectLst/>
              <a:latin typeface="dotum" panose="020B0600000101010101" pitchFamily="50" charset="-127"/>
              <a:ea typeface="dotum" panose="020B0600000101010101" pitchFamily="50" charset="-127"/>
            </a:endParaRPr>
          </a:p>
        </p:txBody>
      </p:sp>
      <p:sp>
        <p:nvSpPr>
          <p:cNvPr id="8" name="제목 1">
            <a:extLst>
              <a:ext uri="{FF2B5EF4-FFF2-40B4-BE49-F238E27FC236}">
                <a16:creationId xmlns:a16="http://schemas.microsoft.com/office/drawing/2014/main" id="{996C760E-D6A8-99C9-2000-388CBC5D8A08}"/>
              </a:ext>
            </a:extLst>
          </p:cNvPr>
          <p:cNvSpPr txBox="1">
            <a:spLocks/>
          </p:cNvSpPr>
          <p:nvPr/>
        </p:nvSpPr>
        <p:spPr>
          <a:xfrm>
            <a:off x="339798" y="100362"/>
            <a:ext cx="11558160" cy="1047718"/>
          </a:xfrm>
          <a:prstGeom prst="rect">
            <a:avLst/>
          </a:prstGeom>
          <a:solidFill>
            <a:srgbClr val="0070C0"/>
          </a:solidFill>
        </p:spPr>
        <p:txBody>
          <a:bodyPr vert="horz" lIns="91440" tIns="45720" rIns="91440" bIns="45720" rtlCol="0" anchor="ctr">
            <a:normAutofit fontScale="82500" lnSpcReduction="20000"/>
          </a:bodyPr>
          <a:lstStyle>
            <a:lvl1pPr algn="l" defTabSz="914400" rtl="0" eaLnBrk="1" latinLnBrk="1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altLang="ko-KR" sz="3600" b="1" kern="0">
                <a:latin typeface="+mj-ea"/>
              </a:rPr>
              <a:t> </a:t>
            </a:r>
            <a:br>
              <a:rPr lang="en-US" altLang="ko-KR" sz="3600" b="1" kern="0">
                <a:latin typeface="+mj-ea"/>
              </a:rPr>
            </a:br>
            <a:r>
              <a:rPr lang="en-US" altLang="ko-KR" sz="3600" b="1" kern="0">
                <a:latin typeface="+mj-ea"/>
              </a:rPr>
              <a:t> </a:t>
            </a:r>
            <a:r>
              <a:rPr lang="en-US" altLang="ko-KR" sz="3600" b="1" kern="0">
                <a:solidFill>
                  <a:schemeClr val="bg1"/>
                </a:solidFill>
                <a:latin typeface="+mj-ea"/>
              </a:rPr>
              <a:t>II. </a:t>
            </a:r>
            <a:r>
              <a:rPr lang="ko-KR" altLang="en-US" sz="3600" b="1">
                <a:solidFill>
                  <a:schemeClr val="bg1"/>
                </a:solidFill>
                <a:latin typeface="+mj-ea"/>
              </a:rPr>
              <a:t>빅데이터</a:t>
            </a:r>
            <a:r>
              <a:rPr lang="en-US" altLang="ko-KR" sz="3600" b="1">
                <a:solidFill>
                  <a:schemeClr val="bg1"/>
                </a:solidFill>
                <a:latin typeface="+mj-ea"/>
              </a:rPr>
              <a:t> &amp; AI</a:t>
            </a:r>
            <a:r>
              <a:rPr lang="ko-KR" altLang="en-US" sz="3600" b="1">
                <a:solidFill>
                  <a:schemeClr val="bg1"/>
                </a:solidFill>
                <a:latin typeface="+mj-ea"/>
              </a:rPr>
              <a:t>의 의미와 산업사회의 변화</a:t>
            </a:r>
            <a:r>
              <a:rPr lang="en-US" altLang="ko-KR" sz="3100" b="1">
                <a:solidFill>
                  <a:schemeClr val="bg1"/>
                </a:solidFill>
                <a:latin typeface="+mj-ea"/>
              </a:rPr>
              <a:t/>
            </a:r>
            <a:br>
              <a:rPr lang="en-US" altLang="ko-KR" sz="3100" b="1">
                <a:solidFill>
                  <a:schemeClr val="bg1"/>
                </a:solidFill>
                <a:latin typeface="+mj-ea"/>
              </a:rPr>
            </a:br>
            <a:endParaRPr lang="ko-KR" altLang="en-US" sz="3100" b="1" dirty="0">
              <a:solidFill>
                <a:schemeClr val="bg1"/>
              </a:solidFill>
              <a:latin typeface="HY강B" panose="02030600000101010101" pitchFamily="18" charset="-127"/>
              <a:ea typeface="HY강B" panose="02030600000101010101" pitchFamily="18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551086766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날짜 개체 틀 2">
            <a:extLst>
              <a:ext uri="{FF2B5EF4-FFF2-40B4-BE49-F238E27FC236}">
                <a16:creationId xmlns:a16="http://schemas.microsoft.com/office/drawing/2014/main" id="{8BEC0EEF-E580-1F75-2490-8A8B2F4D11C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FC9B95B-9606-41FD-9410-F2B308BBF263}" type="datetime1">
              <a:rPr lang="en-US" altLang="ko-KR" smtClean="0"/>
              <a:t>6/22/2023</a:t>
            </a:fld>
            <a:endParaRPr lang="en-US" dirty="0"/>
          </a:p>
        </p:txBody>
      </p:sp>
      <p:sp>
        <p:nvSpPr>
          <p:cNvPr id="6" name="TextBox 5"/>
          <p:cNvSpPr txBox="1"/>
          <p:nvPr/>
        </p:nvSpPr>
        <p:spPr>
          <a:xfrm>
            <a:off x="540613" y="1336766"/>
            <a:ext cx="6829178" cy="461665"/>
          </a:xfrm>
          <a:prstGeom prst="rect">
            <a:avLst/>
          </a:prstGeom>
          <a:solidFill>
            <a:srgbClr val="002060"/>
          </a:solidFill>
          <a:ln>
            <a:solidFill>
              <a:schemeClr val="bg1"/>
            </a:solidFill>
          </a:ln>
        </p:spPr>
        <p:txBody>
          <a:bodyPr wrap="square" rtlCol="0">
            <a:spAutoFit/>
          </a:bodyPr>
          <a:lstStyle/>
          <a:p>
            <a:r>
              <a:rPr lang="ko-KR" altLang="en-US" sz="2400" dirty="0" err="1">
                <a:solidFill>
                  <a:schemeClr val="bg1"/>
                </a:solidFill>
              </a:rPr>
              <a:t>빅</a:t>
            </a:r>
            <a:r>
              <a:rPr lang="ko-KR" altLang="en-US" sz="2400" dirty="0">
                <a:solidFill>
                  <a:schemeClr val="bg1"/>
                </a:solidFill>
              </a:rPr>
              <a:t> 데이터</a:t>
            </a:r>
            <a:r>
              <a:rPr lang="en-US" altLang="ko-KR" sz="2400" dirty="0">
                <a:solidFill>
                  <a:schemeClr val="bg1"/>
                </a:solidFill>
              </a:rPr>
              <a:t>&amp; AI</a:t>
            </a:r>
            <a:r>
              <a:rPr lang="ko-KR" altLang="en-US" sz="2400" dirty="0">
                <a:solidFill>
                  <a:schemeClr val="bg1"/>
                </a:solidFill>
              </a:rPr>
              <a:t>의 활용과</a:t>
            </a:r>
            <a:r>
              <a:rPr lang="en-US" altLang="ko-KR" sz="2400" dirty="0">
                <a:solidFill>
                  <a:schemeClr val="bg1"/>
                </a:solidFill>
              </a:rPr>
              <a:t> </a:t>
            </a:r>
            <a:r>
              <a:rPr lang="ko-KR" altLang="en-US" sz="2400" dirty="0">
                <a:solidFill>
                  <a:schemeClr val="bg1"/>
                </a:solidFill>
              </a:rPr>
              <a:t>산업 사회의 </a:t>
            </a:r>
            <a:r>
              <a:rPr lang="en-US" altLang="ko-KR" sz="2400" dirty="0">
                <a:solidFill>
                  <a:schemeClr val="bg1"/>
                </a:solidFill>
              </a:rPr>
              <a:t> </a:t>
            </a:r>
            <a:r>
              <a:rPr lang="ko-KR" altLang="en-US" sz="2400" dirty="0">
                <a:solidFill>
                  <a:schemeClr val="bg1"/>
                </a:solidFill>
              </a:rPr>
              <a:t>변혁 </a:t>
            </a:r>
          </a:p>
        </p:txBody>
      </p:sp>
      <p:sp>
        <p:nvSpPr>
          <p:cNvPr id="8" name="Rectangle 1"/>
          <p:cNvSpPr>
            <a:spLocks noChangeArrowheads="1"/>
          </p:cNvSpPr>
          <p:nvPr/>
        </p:nvSpPr>
        <p:spPr bwMode="auto">
          <a:xfrm>
            <a:off x="417233" y="3800884"/>
            <a:ext cx="10987386" cy="2923877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342900" lvl="0" indent="-342900" defTabSz="914400">
              <a:buFont typeface="Wingdings" panose="05000000000000000000" pitchFamily="2" charset="2"/>
              <a:buChar char="l"/>
            </a:pPr>
            <a:r>
              <a:rPr kumimoji="0" lang="ko-KR" altLang="ko-KR" sz="2400" b="1" i="0" u="none" strike="noStrike" cap="none" normalizeH="0" baseline="0" dirty="0">
                <a:ln>
                  <a:noFill/>
                </a:ln>
                <a:solidFill>
                  <a:srgbClr val="222222"/>
                </a:solidFill>
                <a:effectLst/>
                <a:ea typeface="Noto Sans KR"/>
              </a:rPr>
              <a:t>표준화 단체인 GS1 US</a:t>
            </a:r>
            <a:r>
              <a:rPr kumimoji="0" lang="en-US" altLang="ko-KR" sz="2400" b="1" i="0" u="none" strike="noStrike" cap="none" normalizeH="0" baseline="0" dirty="0">
                <a:ln>
                  <a:noFill/>
                </a:ln>
                <a:solidFill>
                  <a:srgbClr val="222222"/>
                </a:solidFill>
                <a:effectLst/>
                <a:ea typeface="Noto Sans KR"/>
              </a:rPr>
              <a:t>:</a:t>
            </a:r>
            <a:r>
              <a:rPr lang="en-US" altLang="ko-KR" sz="2400" b="1" dirty="0">
                <a:solidFill>
                  <a:srgbClr val="222222"/>
                </a:solidFill>
                <a:ea typeface="Noto Sans KR"/>
              </a:rPr>
              <a:t> </a:t>
            </a:r>
            <a:r>
              <a:rPr lang="ko-KR" altLang="ko-KR" sz="2400" b="1" dirty="0" err="1">
                <a:solidFill>
                  <a:srgbClr val="222222"/>
                </a:solidFill>
                <a:ea typeface="Noto Sans KR"/>
              </a:rPr>
              <a:t>빅데이터</a:t>
            </a:r>
            <a:r>
              <a:rPr lang="en-US" altLang="ko-KR" sz="2400" b="1" dirty="0">
                <a:solidFill>
                  <a:srgbClr val="222222"/>
                </a:solidFill>
                <a:ea typeface="Noto Sans KR"/>
              </a:rPr>
              <a:t> &amp; AI  </a:t>
            </a:r>
            <a:r>
              <a:rPr lang="ko-KR" altLang="en-US" sz="2400" b="1" dirty="0">
                <a:solidFill>
                  <a:srgbClr val="222222"/>
                </a:solidFill>
                <a:ea typeface="Noto Sans KR"/>
              </a:rPr>
              <a:t>활용 기대효과 </a:t>
            </a:r>
            <a:r>
              <a:rPr lang="ko-KR" altLang="ko-KR" sz="2400" b="1" dirty="0">
                <a:solidFill>
                  <a:srgbClr val="222222"/>
                </a:solidFill>
                <a:ea typeface="Noto Sans KR"/>
              </a:rPr>
              <a:t> </a:t>
            </a:r>
            <a:endParaRPr kumimoji="0" lang="en-US" altLang="ko-KR" sz="2400" b="1" i="0" u="none" strike="noStrike" cap="none" normalizeH="0" baseline="0" dirty="0">
              <a:ln>
                <a:noFill/>
              </a:ln>
              <a:solidFill>
                <a:srgbClr val="222222"/>
              </a:solidFill>
              <a:effectLst/>
              <a:ea typeface="Noto Sans KR"/>
            </a:endParaRPr>
          </a:p>
          <a:p>
            <a:pPr marL="342900" marR="0" lvl="0" indent="-34290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kumimoji="0" lang="ko-KR" altLang="en-US" sz="2000" b="0" i="0" u="none" strike="noStrike" cap="none" normalizeH="0" baseline="0" dirty="0">
                <a:ln>
                  <a:noFill/>
                </a:ln>
                <a:solidFill>
                  <a:srgbClr val="222222"/>
                </a:solidFill>
                <a:effectLst/>
                <a:ea typeface="Noto Sans KR"/>
              </a:rPr>
              <a:t>활용 시 </a:t>
            </a:r>
            <a:r>
              <a:rPr lang="ko-KR" altLang="en-US" sz="2000" dirty="0">
                <a:solidFill>
                  <a:srgbClr val="222222"/>
                </a:solidFill>
                <a:ea typeface="Noto Sans KR"/>
              </a:rPr>
              <a:t>제조</a:t>
            </a:r>
            <a:r>
              <a:rPr lang="en-US" altLang="ko-KR" sz="2000" dirty="0">
                <a:solidFill>
                  <a:srgbClr val="222222"/>
                </a:solidFill>
                <a:ea typeface="Noto Sans KR"/>
              </a:rPr>
              <a:t>/</a:t>
            </a:r>
            <a:r>
              <a:rPr lang="ko-KR" altLang="en-US" sz="2000" dirty="0">
                <a:solidFill>
                  <a:srgbClr val="222222"/>
                </a:solidFill>
                <a:ea typeface="Noto Sans KR"/>
              </a:rPr>
              <a:t>유통시스템과 </a:t>
            </a:r>
            <a:r>
              <a:rPr kumimoji="0" lang="ko-KR" altLang="ko-KR" sz="2000" b="0" i="0" u="none" strike="noStrike" cap="none" normalizeH="0" baseline="0" dirty="0">
                <a:ln>
                  <a:noFill/>
                </a:ln>
                <a:solidFill>
                  <a:srgbClr val="222222"/>
                </a:solidFill>
                <a:effectLst/>
                <a:ea typeface="Noto Sans KR"/>
              </a:rPr>
              <a:t>상품</a:t>
            </a:r>
            <a:r>
              <a:rPr kumimoji="0" lang="en-US" altLang="ko-KR" sz="2000" b="0" i="0" u="none" strike="noStrike" cap="none" normalizeH="0" baseline="0" dirty="0">
                <a:ln>
                  <a:noFill/>
                </a:ln>
                <a:solidFill>
                  <a:srgbClr val="222222"/>
                </a:solidFill>
                <a:effectLst/>
                <a:ea typeface="Noto Sans KR"/>
              </a:rPr>
              <a:t>/</a:t>
            </a:r>
            <a:r>
              <a:rPr lang="ko-KR" altLang="en-US" sz="2000" dirty="0">
                <a:solidFill>
                  <a:srgbClr val="222222"/>
                </a:solidFill>
                <a:ea typeface="Noto Sans KR"/>
              </a:rPr>
              <a:t>서비스의 필요성을 확인하고</a:t>
            </a:r>
            <a:r>
              <a:rPr lang="en-US" altLang="ko-KR" sz="2000" dirty="0">
                <a:solidFill>
                  <a:srgbClr val="222222"/>
                </a:solidFill>
                <a:ea typeface="Noto Sans KR"/>
              </a:rPr>
              <a:t>&gt;&gt;</a:t>
            </a:r>
            <a:r>
              <a:rPr lang="ko-KR" altLang="en-US" sz="2000" dirty="0">
                <a:solidFill>
                  <a:srgbClr val="222222"/>
                </a:solidFill>
                <a:ea typeface="Noto Sans KR"/>
              </a:rPr>
              <a:t>이들이 </a:t>
            </a:r>
            <a:r>
              <a:rPr kumimoji="0" lang="ko-KR" altLang="ko-KR" sz="2000" b="0" i="0" u="none" strike="noStrike" cap="none" normalizeH="0" baseline="0" dirty="0">
                <a:ln>
                  <a:noFill/>
                </a:ln>
                <a:solidFill>
                  <a:srgbClr val="222222"/>
                </a:solidFill>
                <a:effectLst/>
                <a:ea typeface="Noto Sans KR"/>
              </a:rPr>
              <a:t>어디에 있고 어디에 있어야 하는지</a:t>
            </a:r>
            <a:r>
              <a:rPr kumimoji="0" lang="ko-KR" altLang="en-US" sz="2000" b="0" i="0" u="none" strike="noStrike" cap="none" normalizeH="0" baseline="0" dirty="0">
                <a:ln>
                  <a:noFill/>
                </a:ln>
                <a:solidFill>
                  <a:srgbClr val="222222"/>
                </a:solidFill>
                <a:effectLst/>
                <a:ea typeface="Noto Sans KR"/>
              </a:rPr>
              <a:t>에 관한 </a:t>
            </a:r>
            <a:r>
              <a:rPr kumimoji="0" lang="ko-KR" altLang="ko-KR" sz="2000" b="0" i="0" u="none" strike="noStrike" cap="none" normalizeH="0" baseline="0" dirty="0">
                <a:ln>
                  <a:noFill/>
                </a:ln>
                <a:solidFill>
                  <a:srgbClr val="222222"/>
                </a:solidFill>
                <a:effectLst/>
                <a:ea typeface="Noto Sans KR"/>
              </a:rPr>
              <a:t> 정보</a:t>
            </a:r>
            <a:r>
              <a:rPr kumimoji="0" lang="ko-KR" altLang="en-US" sz="2000" b="0" i="0" u="none" strike="noStrike" cap="none" normalizeH="0" baseline="0" dirty="0">
                <a:ln>
                  <a:noFill/>
                </a:ln>
                <a:solidFill>
                  <a:srgbClr val="222222"/>
                </a:solidFill>
                <a:effectLst/>
                <a:ea typeface="Noto Sans KR"/>
              </a:rPr>
              <a:t>와 시스템의 저해요소가 무엇인지 가시성 제공 </a:t>
            </a:r>
            <a:r>
              <a:rPr kumimoji="0" lang="en-US" altLang="ko-KR" sz="2000" b="0" i="0" u="none" strike="noStrike" cap="none" normalizeH="0" baseline="0" dirty="0">
                <a:ln>
                  <a:noFill/>
                </a:ln>
                <a:solidFill>
                  <a:srgbClr val="222222"/>
                </a:solidFill>
                <a:effectLst/>
                <a:ea typeface="Noto Sans KR"/>
              </a:rPr>
              <a:t> </a:t>
            </a:r>
          </a:p>
          <a:p>
            <a:pPr marL="342900" lvl="0" indent="-342900" defTabSz="914400">
              <a:buFont typeface="Arial" panose="020B0604020202020204" pitchFamily="34" charset="0"/>
              <a:buChar char="•"/>
            </a:pPr>
            <a:r>
              <a:rPr kumimoji="0" lang="ko-KR" altLang="ko-KR" sz="2000" b="0" i="0" u="none" strike="noStrike" cap="none" normalizeH="0" baseline="0" dirty="0">
                <a:ln>
                  <a:noFill/>
                </a:ln>
                <a:solidFill>
                  <a:srgbClr val="222222"/>
                </a:solidFill>
                <a:effectLst/>
                <a:ea typeface="Noto Sans KR"/>
              </a:rPr>
              <a:t>이를 통해 해당 </a:t>
            </a:r>
            <a:r>
              <a:rPr kumimoji="0" lang="ko-KR" altLang="ko-KR" sz="2000" b="0" i="0" u="none" strike="noStrike" cap="none" normalizeH="0" baseline="0" dirty="0" err="1">
                <a:ln>
                  <a:noFill/>
                </a:ln>
                <a:solidFill>
                  <a:srgbClr val="222222"/>
                </a:solidFill>
                <a:effectLst/>
                <a:ea typeface="Noto Sans KR"/>
              </a:rPr>
              <a:t>공급망의</a:t>
            </a:r>
            <a:r>
              <a:rPr kumimoji="0" lang="ko-KR" altLang="ko-KR" sz="2000" b="0" i="0" u="none" strike="noStrike" cap="none" normalizeH="0" baseline="0" dirty="0">
                <a:ln>
                  <a:noFill/>
                </a:ln>
                <a:solidFill>
                  <a:srgbClr val="222222"/>
                </a:solidFill>
                <a:effectLst/>
                <a:ea typeface="Noto Sans KR"/>
              </a:rPr>
              <a:t> 계획과 실행 부분에도 도움</a:t>
            </a:r>
            <a:endParaRPr kumimoji="0" lang="en-US" altLang="ko-KR" sz="2000" b="0" i="0" u="none" strike="noStrike" cap="none" normalizeH="0" baseline="0" dirty="0">
              <a:ln>
                <a:noFill/>
              </a:ln>
              <a:solidFill>
                <a:srgbClr val="222222"/>
              </a:solidFill>
              <a:effectLst/>
              <a:ea typeface="Noto Sans KR"/>
            </a:endParaRPr>
          </a:p>
          <a:p>
            <a:pPr marL="342900" lvl="0" indent="-342900" defTabSz="914400">
              <a:buFont typeface="Arial" panose="020B0604020202020204" pitchFamily="34" charset="0"/>
              <a:buChar char="•"/>
            </a:pPr>
            <a:r>
              <a:rPr lang="ko-KR" altLang="ko-KR" sz="2000" dirty="0" err="1">
                <a:solidFill>
                  <a:srgbClr val="222222"/>
                </a:solidFill>
                <a:ea typeface="Noto Sans KR"/>
              </a:rPr>
              <a:t>빅데이터를</a:t>
            </a:r>
            <a:r>
              <a:rPr lang="ko-KR" altLang="ko-KR" sz="2000" dirty="0">
                <a:solidFill>
                  <a:srgbClr val="222222"/>
                </a:solidFill>
                <a:ea typeface="Noto Sans KR"/>
              </a:rPr>
              <a:t> 통해 채널</a:t>
            </a:r>
            <a:r>
              <a:rPr lang="en-US" altLang="ko-KR" sz="2000" dirty="0">
                <a:solidFill>
                  <a:srgbClr val="222222"/>
                </a:solidFill>
                <a:ea typeface="Noto Sans KR"/>
              </a:rPr>
              <a:t> </a:t>
            </a:r>
            <a:r>
              <a:rPr lang="ko-KR" altLang="ko-KR" sz="2000" dirty="0">
                <a:solidFill>
                  <a:srgbClr val="222222"/>
                </a:solidFill>
                <a:ea typeface="Noto Sans KR"/>
              </a:rPr>
              <a:t>별, 고객별, 크기 및 색상</a:t>
            </a:r>
            <a:r>
              <a:rPr lang="en-US" altLang="ko-KR" sz="2000" dirty="0">
                <a:solidFill>
                  <a:srgbClr val="222222"/>
                </a:solidFill>
                <a:ea typeface="Noto Sans KR"/>
              </a:rPr>
              <a:t> </a:t>
            </a:r>
            <a:r>
              <a:rPr lang="ko-KR" altLang="ko-KR" sz="2000" dirty="0">
                <a:solidFill>
                  <a:srgbClr val="222222"/>
                </a:solidFill>
                <a:ea typeface="Noto Sans KR"/>
              </a:rPr>
              <a:t>별 등 </a:t>
            </a:r>
            <a:r>
              <a:rPr lang="ko-KR" altLang="en-US" sz="2000" dirty="0">
                <a:solidFill>
                  <a:srgbClr val="222222"/>
                </a:solidFill>
                <a:ea typeface="Noto Sans KR"/>
              </a:rPr>
              <a:t>적절한 맞춤형 상품의 개발과 장소</a:t>
            </a:r>
            <a:r>
              <a:rPr lang="en-US" altLang="ko-KR" sz="2000" dirty="0">
                <a:solidFill>
                  <a:srgbClr val="222222"/>
                </a:solidFill>
                <a:ea typeface="Noto Sans KR"/>
              </a:rPr>
              <a:t>/</a:t>
            </a:r>
            <a:r>
              <a:rPr lang="ko-KR" altLang="en-US" sz="2000" dirty="0">
                <a:solidFill>
                  <a:srgbClr val="222222"/>
                </a:solidFill>
                <a:ea typeface="Noto Sans KR"/>
              </a:rPr>
              <a:t>시간대 이동</a:t>
            </a:r>
            <a:r>
              <a:rPr lang="en-US" altLang="ko-KR" sz="2000" dirty="0">
                <a:solidFill>
                  <a:srgbClr val="222222"/>
                </a:solidFill>
                <a:ea typeface="Noto Sans KR"/>
              </a:rPr>
              <a:t>, </a:t>
            </a:r>
            <a:r>
              <a:rPr lang="ko-KR" altLang="ko-KR" sz="2000" dirty="0">
                <a:solidFill>
                  <a:srgbClr val="222222"/>
                </a:solidFill>
                <a:ea typeface="Noto Sans KR"/>
              </a:rPr>
              <a:t>재고계획</a:t>
            </a:r>
            <a:r>
              <a:rPr lang="en-US" altLang="ko-KR" sz="2000" dirty="0">
                <a:solidFill>
                  <a:srgbClr val="222222"/>
                </a:solidFill>
                <a:ea typeface="Noto Sans KR"/>
              </a:rPr>
              <a:t> </a:t>
            </a:r>
            <a:r>
              <a:rPr lang="ko-KR" altLang="en-US" sz="2000" dirty="0">
                <a:solidFill>
                  <a:srgbClr val="222222"/>
                </a:solidFill>
                <a:ea typeface="Noto Sans KR"/>
              </a:rPr>
              <a:t>가능</a:t>
            </a:r>
            <a:endParaRPr lang="en-US" altLang="ko-KR" sz="2000" dirty="0">
              <a:solidFill>
                <a:srgbClr val="222222"/>
              </a:solidFill>
              <a:ea typeface="Noto Sans KR"/>
            </a:endParaRPr>
          </a:p>
          <a:p>
            <a:pPr marL="342900" lvl="0" indent="-342900" defTabSz="914400">
              <a:buFont typeface="Arial" panose="020B0604020202020204" pitchFamily="34" charset="0"/>
              <a:buChar char="•"/>
            </a:pPr>
            <a:r>
              <a:rPr lang="ko-KR" altLang="ko-KR" sz="2000" dirty="0">
                <a:solidFill>
                  <a:srgbClr val="222222"/>
                </a:solidFill>
                <a:ea typeface="Noto Sans KR"/>
              </a:rPr>
              <a:t>제품의 생산으로 이어</a:t>
            </a:r>
            <a:r>
              <a:rPr lang="ko-KR" altLang="en-US" sz="2000" dirty="0">
                <a:solidFill>
                  <a:srgbClr val="222222"/>
                </a:solidFill>
                <a:ea typeface="Noto Sans KR"/>
              </a:rPr>
              <a:t>지는 </a:t>
            </a:r>
            <a:r>
              <a:rPr lang="ko-KR" altLang="ko-KR" sz="2000" dirty="0" err="1">
                <a:solidFill>
                  <a:srgbClr val="222222"/>
                </a:solidFill>
                <a:ea typeface="Noto Sans KR"/>
              </a:rPr>
              <a:t>공급망에</a:t>
            </a:r>
            <a:r>
              <a:rPr lang="ko-KR" altLang="ko-KR" sz="2000" dirty="0">
                <a:solidFill>
                  <a:srgbClr val="222222"/>
                </a:solidFill>
                <a:ea typeface="Noto Sans KR"/>
              </a:rPr>
              <a:t> 대해 더 알고 싶어하는 소비자와 정보를 공유</a:t>
            </a:r>
            <a:endParaRPr lang="en-US" altLang="ko-KR" sz="2000" dirty="0">
              <a:solidFill>
                <a:srgbClr val="222222"/>
              </a:solidFill>
              <a:ea typeface="Noto Sans KR"/>
            </a:endParaRPr>
          </a:p>
          <a:p>
            <a:pPr lvl="0" defTabSz="914400"/>
            <a:r>
              <a:rPr lang="en-US" altLang="ko-KR" sz="2000" dirty="0">
                <a:solidFill>
                  <a:srgbClr val="222222"/>
                </a:solidFill>
                <a:ea typeface="Noto Sans KR"/>
              </a:rPr>
              <a:t> * </a:t>
            </a:r>
            <a:r>
              <a:rPr lang="ko-KR" altLang="ko-KR" sz="2000" dirty="0">
                <a:solidFill>
                  <a:srgbClr val="222222"/>
                </a:solidFill>
                <a:ea typeface="Noto Sans KR"/>
              </a:rPr>
              <a:t>예를 들어, 소비자가 셔츠</a:t>
            </a:r>
            <a:r>
              <a:rPr lang="en-US" altLang="ko-KR" sz="2000" dirty="0">
                <a:solidFill>
                  <a:srgbClr val="222222"/>
                </a:solidFill>
                <a:ea typeface="Noto Sans KR"/>
              </a:rPr>
              <a:t>/</a:t>
            </a:r>
            <a:r>
              <a:rPr lang="ko-KR" altLang="en-US" sz="2000" dirty="0">
                <a:solidFill>
                  <a:srgbClr val="222222"/>
                </a:solidFill>
                <a:ea typeface="Noto Sans KR"/>
              </a:rPr>
              <a:t>서비스</a:t>
            </a:r>
            <a:r>
              <a:rPr lang="ko-KR" altLang="ko-KR" sz="2000" dirty="0">
                <a:solidFill>
                  <a:srgbClr val="222222"/>
                </a:solidFill>
                <a:ea typeface="Noto Sans KR"/>
              </a:rPr>
              <a:t> 구매에 관심이 있다면 모든 재료</a:t>
            </a:r>
            <a:r>
              <a:rPr lang="en-US" altLang="ko-KR" sz="2000" dirty="0">
                <a:solidFill>
                  <a:srgbClr val="222222"/>
                </a:solidFill>
                <a:ea typeface="Noto Sans KR"/>
              </a:rPr>
              <a:t>/</a:t>
            </a:r>
            <a:r>
              <a:rPr lang="ko-KR" altLang="en-US" sz="2000" dirty="0">
                <a:solidFill>
                  <a:srgbClr val="222222"/>
                </a:solidFill>
                <a:ea typeface="Noto Sans KR"/>
              </a:rPr>
              <a:t>정보소스</a:t>
            </a:r>
            <a:r>
              <a:rPr lang="ko-KR" altLang="ko-KR" sz="2000" dirty="0">
                <a:solidFill>
                  <a:srgbClr val="222222"/>
                </a:solidFill>
                <a:ea typeface="Noto Sans KR"/>
              </a:rPr>
              <a:t>의 원산지가 </a:t>
            </a:r>
            <a:r>
              <a:rPr lang="en-US" altLang="ko-KR" sz="2000" dirty="0">
                <a:solidFill>
                  <a:srgbClr val="222222"/>
                </a:solidFill>
                <a:ea typeface="Noto Sans KR"/>
              </a:rPr>
              <a:t> </a:t>
            </a:r>
            <a:r>
              <a:rPr lang="ko-KR" altLang="en-US" sz="2000" dirty="0">
                <a:solidFill>
                  <a:srgbClr val="222222"/>
                </a:solidFill>
                <a:ea typeface="Noto Sans KR"/>
              </a:rPr>
              <a:t>어딘지</a:t>
            </a:r>
            <a:r>
              <a:rPr lang="en-US" altLang="ko-KR" sz="2000" dirty="0">
                <a:solidFill>
                  <a:srgbClr val="222222"/>
                </a:solidFill>
                <a:ea typeface="Noto Sans KR"/>
              </a:rPr>
              <a:t>, </a:t>
            </a:r>
            <a:r>
              <a:rPr lang="ko-KR" altLang="en-US" sz="2000" dirty="0">
                <a:solidFill>
                  <a:srgbClr val="222222"/>
                </a:solidFill>
                <a:ea typeface="Noto Sans KR"/>
              </a:rPr>
              <a:t>어디가 </a:t>
            </a:r>
            <a:r>
              <a:rPr lang="ko-KR" altLang="ko-KR" sz="2000" dirty="0">
                <a:solidFill>
                  <a:srgbClr val="222222"/>
                </a:solidFill>
                <a:ea typeface="Noto Sans KR"/>
              </a:rPr>
              <a:t>좋은지, 부적절한 노동력이 동원되지 않았는지 관련 정보</a:t>
            </a:r>
            <a:r>
              <a:rPr lang="en-US" altLang="ko-KR" sz="2000" dirty="0">
                <a:solidFill>
                  <a:srgbClr val="222222"/>
                </a:solidFill>
                <a:ea typeface="Noto Sans KR"/>
              </a:rPr>
              <a:t> </a:t>
            </a:r>
            <a:r>
              <a:rPr lang="ko-KR" altLang="en-US" sz="2000" dirty="0">
                <a:solidFill>
                  <a:srgbClr val="222222"/>
                </a:solidFill>
                <a:ea typeface="Noto Sans KR"/>
              </a:rPr>
              <a:t>등도 </a:t>
            </a:r>
            <a:r>
              <a:rPr lang="ko-KR" altLang="ko-KR" sz="2000" dirty="0">
                <a:solidFill>
                  <a:srgbClr val="222222"/>
                </a:solidFill>
                <a:ea typeface="Noto Sans KR"/>
              </a:rPr>
              <a:t>제공</a:t>
            </a:r>
            <a:r>
              <a:rPr lang="en-US" altLang="ko-KR" sz="2000" dirty="0">
                <a:solidFill>
                  <a:srgbClr val="222222"/>
                </a:solidFill>
                <a:ea typeface="Noto Sans KR"/>
              </a:rPr>
              <a:t> </a:t>
            </a:r>
            <a:r>
              <a:rPr lang="ko-KR" altLang="en-US" sz="2000" dirty="0">
                <a:solidFill>
                  <a:srgbClr val="222222"/>
                </a:solidFill>
                <a:ea typeface="Noto Sans KR"/>
              </a:rPr>
              <a:t>가능</a:t>
            </a:r>
            <a:r>
              <a:rPr kumimoji="0" lang="ko-KR" altLang="ko-KR" sz="11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Noto Sans KR"/>
                <a:hlinkClick r:id="rId3"/>
              </a:rPr>
              <a:t> </a:t>
            </a:r>
            <a:r>
              <a:rPr kumimoji="0" lang="ko-KR" altLang="ko-KR" sz="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  </a:t>
            </a:r>
            <a:r>
              <a:rPr kumimoji="0" lang="ko-KR" altLang="ko-KR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 </a:t>
            </a:r>
            <a:endParaRPr kumimoji="0" lang="ko-KR" altLang="ko-KR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pic>
        <p:nvPicPr>
          <p:cNvPr id="6146" name="Picture 2" descr="http://linkback.itworld.co.kr/images/onebyone.gif?action_id=77c7764c88f502b9aaad5ab45e29be9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92725" y="222250"/>
            <a:ext cx="9525" cy="95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170" name="Picture 2" descr="http://linkback.itworld.co.kr/images/onebyone.gif?action_id=78663f4e5dd43f7ab3d3cb1ace87216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38838" y="3561630"/>
            <a:ext cx="9525" cy="95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172" name="Picture 4" descr="http://linkback.itworld.co.kr/images/onebyone.gif?action_id=064853071267fc398bba37eb4085558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11124" y="-2825060"/>
            <a:ext cx="9525" cy="95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174" name="Picture 6" descr="http://linkback.itworld.co.kr/images/onebyone.gif?action_id=f640c2560077734bfec6c80d6d174f4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05413" y="306388"/>
            <a:ext cx="219446" cy="457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049ADCA1-C949-FAF9-C058-2D65AD93AFED}"/>
              </a:ext>
            </a:extLst>
          </p:cNvPr>
          <p:cNvSpPr txBox="1"/>
          <p:nvPr/>
        </p:nvSpPr>
        <p:spPr>
          <a:xfrm>
            <a:off x="456016" y="1932742"/>
            <a:ext cx="10984694" cy="1982048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</p:spPr>
        <p:txBody>
          <a:bodyPr wrap="square">
            <a:spAutoFit/>
          </a:bodyPr>
          <a:lstStyle/>
          <a:p>
            <a:pPr marL="342900" indent="-342900">
              <a:buFont typeface="Wingdings" panose="05000000000000000000" pitchFamily="2" charset="2"/>
              <a:buChar char="l"/>
            </a:pPr>
            <a:r>
              <a:rPr lang="ko-KR" altLang="en-US" sz="2000" b="0" i="0" dirty="0">
                <a:solidFill>
                  <a:srgbClr val="171821"/>
                </a:solidFill>
                <a:effectLst/>
                <a:latin typeface="-apple-system"/>
              </a:rPr>
              <a:t>단순 반복노동에서 창의적 의사결정 작업도 </a:t>
            </a:r>
            <a:r>
              <a:rPr lang="en-US" altLang="ko-KR" sz="2000" b="0" i="0" dirty="0">
                <a:solidFill>
                  <a:srgbClr val="171821"/>
                </a:solidFill>
                <a:effectLst/>
                <a:latin typeface="-apple-system"/>
              </a:rPr>
              <a:t>AI</a:t>
            </a:r>
            <a:r>
              <a:rPr lang="ko-KR" altLang="en-US" sz="2000" b="0" i="0" dirty="0">
                <a:solidFill>
                  <a:srgbClr val="171821"/>
                </a:solidFill>
                <a:effectLst/>
                <a:latin typeface="-apple-system"/>
              </a:rPr>
              <a:t>가 가능 명령을 받아  업무를 진행하는 것도 활성화 될 것</a:t>
            </a:r>
            <a:r>
              <a:rPr lang="en-US" altLang="ko-KR" sz="2000" b="0" i="0" dirty="0">
                <a:solidFill>
                  <a:srgbClr val="171821"/>
                </a:solidFill>
                <a:effectLst/>
                <a:latin typeface="-apple-system"/>
              </a:rPr>
              <a:t>: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ko-KR" altLang="en-US" sz="2000" b="0" i="0" dirty="0">
                <a:solidFill>
                  <a:srgbClr val="171821"/>
                </a:solidFill>
                <a:effectLst/>
                <a:latin typeface="-apple-system"/>
              </a:rPr>
              <a:t>문구 표현</a:t>
            </a:r>
            <a:r>
              <a:rPr lang="en-US" altLang="ko-KR" sz="2000" b="0" i="0" dirty="0">
                <a:solidFill>
                  <a:srgbClr val="171821"/>
                </a:solidFill>
                <a:effectLst/>
                <a:latin typeface="-apple-system"/>
              </a:rPr>
              <a:t>/</a:t>
            </a:r>
            <a:r>
              <a:rPr lang="ko-KR" altLang="en-US" sz="2000" dirty="0">
                <a:solidFill>
                  <a:srgbClr val="171821"/>
                </a:solidFill>
                <a:latin typeface="-apple-system"/>
              </a:rPr>
              <a:t>이미지 작성</a:t>
            </a:r>
            <a:r>
              <a:rPr lang="en-US" altLang="ko-KR" sz="2000" b="0" i="0" dirty="0">
                <a:solidFill>
                  <a:srgbClr val="171821"/>
                </a:solidFill>
                <a:effectLst/>
                <a:latin typeface="-apple-system"/>
              </a:rPr>
              <a:t>: </a:t>
            </a:r>
            <a:r>
              <a:rPr lang="ko-KR" altLang="en-US" sz="2000" b="0" i="0" dirty="0">
                <a:solidFill>
                  <a:srgbClr val="171821"/>
                </a:solidFill>
                <a:effectLst/>
                <a:latin typeface="-apple-system"/>
              </a:rPr>
              <a:t>마케팅 문구의 작성 </a:t>
            </a:r>
            <a:r>
              <a:rPr lang="en-US" altLang="ko-KR" sz="2000" b="0" i="0" dirty="0">
                <a:solidFill>
                  <a:srgbClr val="171821"/>
                </a:solidFill>
                <a:effectLst/>
                <a:latin typeface="-apple-system"/>
              </a:rPr>
              <a:t>&gt;  </a:t>
            </a:r>
            <a:r>
              <a:rPr lang="ko-KR" altLang="en-US" sz="2000" b="0" i="0" dirty="0">
                <a:solidFill>
                  <a:srgbClr val="171821"/>
                </a:solidFill>
                <a:effectLst/>
                <a:latin typeface="-apple-system"/>
              </a:rPr>
              <a:t>카피 작성</a:t>
            </a:r>
            <a:r>
              <a:rPr lang="en-US" altLang="ko-KR" sz="2000" dirty="0">
                <a:solidFill>
                  <a:srgbClr val="171821"/>
                </a:solidFill>
                <a:latin typeface="-apple-system"/>
              </a:rPr>
              <a:t>  </a:t>
            </a:r>
            <a:r>
              <a:rPr lang="ko-KR" altLang="en-US" sz="2000" dirty="0">
                <a:solidFill>
                  <a:srgbClr val="171821"/>
                </a:solidFill>
                <a:latin typeface="-apple-system"/>
              </a:rPr>
              <a:t>홍보 </a:t>
            </a:r>
            <a:r>
              <a:rPr lang="en-US" altLang="ko-KR" sz="2000" b="0" i="0" dirty="0">
                <a:solidFill>
                  <a:srgbClr val="171821"/>
                </a:solidFill>
                <a:effectLst/>
                <a:latin typeface="-apple-system"/>
              </a:rPr>
              <a:t>&amp; </a:t>
            </a:r>
            <a:r>
              <a:rPr lang="ko-KR" altLang="en-US" sz="2000" b="0" i="0" dirty="0">
                <a:solidFill>
                  <a:srgbClr val="171821"/>
                </a:solidFill>
                <a:effectLst/>
                <a:latin typeface="-apple-system"/>
              </a:rPr>
              <a:t>광고문구와 </a:t>
            </a:r>
            <a:r>
              <a:rPr lang="ko-KR" altLang="en-US" sz="2000" dirty="0">
                <a:solidFill>
                  <a:srgbClr val="171821"/>
                </a:solidFill>
                <a:latin typeface="-apple-system"/>
              </a:rPr>
              <a:t>이미지</a:t>
            </a:r>
            <a:r>
              <a:rPr lang="en-US" altLang="ko-KR" sz="2000" dirty="0">
                <a:solidFill>
                  <a:srgbClr val="171821"/>
                </a:solidFill>
                <a:latin typeface="-apple-system"/>
              </a:rPr>
              <a:t>/</a:t>
            </a:r>
            <a:r>
              <a:rPr lang="ko-KR" altLang="en-US" sz="2000" dirty="0">
                <a:solidFill>
                  <a:srgbClr val="171821"/>
                </a:solidFill>
                <a:latin typeface="-apple-system"/>
              </a:rPr>
              <a:t>영상 </a:t>
            </a:r>
            <a:r>
              <a:rPr lang="ko-KR" altLang="en-US" sz="2000" b="0" i="0" dirty="0">
                <a:solidFill>
                  <a:srgbClr val="171821"/>
                </a:solidFill>
                <a:effectLst/>
                <a:latin typeface="-apple-system"/>
              </a:rPr>
              <a:t>  </a:t>
            </a:r>
            <a:r>
              <a:rPr lang="en-US" altLang="ko-KR" sz="2000" b="0" i="0" dirty="0">
                <a:solidFill>
                  <a:srgbClr val="171821"/>
                </a:solidFill>
                <a:effectLst/>
                <a:latin typeface="-apple-system"/>
              </a:rPr>
              <a:t>/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ko-KR" altLang="en-US" sz="2000" b="0" i="0" dirty="0">
                <a:solidFill>
                  <a:srgbClr val="171821"/>
                </a:solidFill>
                <a:effectLst/>
                <a:latin typeface="-apple-system"/>
              </a:rPr>
              <a:t>컴퓨터 프로그래머의 </a:t>
            </a:r>
            <a:r>
              <a:rPr lang="en-US" altLang="ko-KR" sz="2000" b="0" i="0" dirty="0">
                <a:solidFill>
                  <a:srgbClr val="171821"/>
                </a:solidFill>
                <a:effectLst/>
                <a:latin typeface="-apple-system"/>
              </a:rPr>
              <a:t>AI</a:t>
            </a:r>
            <a:r>
              <a:rPr lang="ko-KR" altLang="en-US" sz="2000" b="0" i="0" dirty="0">
                <a:solidFill>
                  <a:srgbClr val="171821"/>
                </a:solidFill>
                <a:effectLst/>
                <a:latin typeface="-apple-system"/>
              </a:rPr>
              <a:t>의 도움을 받아 코딩하는 것</a:t>
            </a:r>
            <a:endParaRPr lang="en-US" altLang="ko-KR" sz="2000" b="0" i="0" dirty="0">
              <a:solidFill>
                <a:srgbClr val="171821"/>
              </a:solidFill>
              <a:effectLst/>
              <a:latin typeface="-apple-system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ko-KR" altLang="en-US" sz="2000" dirty="0">
                <a:solidFill>
                  <a:srgbClr val="171821"/>
                </a:solidFill>
                <a:latin typeface="-apple-system"/>
              </a:rPr>
              <a:t>노인</a:t>
            </a:r>
            <a:r>
              <a:rPr lang="en-US" altLang="ko-KR" sz="2000" dirty="0">
                <a:solidFill>
                  <a:srgbClr val="171821"/>
                </a:solidFill>
                <a:latin typeface="-apple-system"/>
              </a:rPr>
              <a:t>/</a:t>
            </a:r>
            <a:r>
              <a:rPr lang="ko-KR" altLang="en-US" sz="2000" dirty="0">
                <a:solidFill>
                  <a:srgbClr val="171821"/>
                </a:solidFill>
                <a:latin typeface="-apple-system"/>
              </a:rPr>
              <a:t> 가사</a:t>
            </a:r>
            <a:r>
              <a:rPr lang="en-US" altLang="ko-KR" sz="2000" dirty="0">
                <a:solidFill>
                  <a:srgbClr val="171821"/>
                </a:solidFill>
                <a:latin typeface="-apple-system"/>
              </a:rPr>
              <a:t>/</a:t>
            </a:r>
            <a:r>
              <a:rPr lang="ko-KR" altLang="en-US" sz="2000" dirty="0">
                <a:solidFill>
                  <a:srgbClr val="171821"/>
                </a:solidFill>
                <a:latin typeface="-apple-system"/>
              </a:rPr>
              <a:t>어린이 도우미</a:t>
            </a:r>
            <a:r>
              <a:rPr lang="en-US" altLang="ko-KR" sz="2000" dirty="0">
                <a:solidFill>
                  <a:srgbClr val="171821"/>
                </a:solidFill>
                <a:latin typeface="-apple-system"/>
              </a:rPr>
              <a:t>&gt;&gt; </a:t>
            </a:r>
            <a:r>
              <a:rPr lang="ko-KR" altLang="en-US" sz="2000" dirty="0">
                <a:solidFill>
                  <a:srgbClr val="171821"/>
                </a:solidFill>
                <a:latin typeface="-apple-system"/>
              </a:rPr>
              <a:t>개인 비서 </a:t>
            </a:r>
            <a:r>
              <a:rPr lang="en-US" altLang="ko-KR" sz="2000" dirty="0">
                <a:solidFill>
                  <a:srgbClr val="171821"/>
                </a:solidFill>
                <a:latin typeface="-apple-system"/>
              </a:rPr>
              <a:t>&gt; </a:t>
            </a:r>
            <a:r>
              <a:rPr lang="ko-KR" altLang="en-US" sz="2000" dirty="0">
                <a:solidFill>
                  <a:srgbClr val="171821"/>
                </a:solidFill>
                <a:latin typeface="-apple-system"/>
              </a:rPr>
              <a:t>기업 부서별 의사결정시 </a:t>
            </a:r>
            <a:r>
              <a:rPr lang="ko-KR" altLang="en-US" sz="2000" dirty="0" err="1">
                <a:solidFill>
                  <a:srgbClr val="171821"/>
                </a:solidFill>
                <a:latin typeface="-apple-system"/>
              </a:rPr>
              <a:t>자문등</a:t>
            </a:r>
            <a:r>
              <a:rPr lang="ko-KR" altLang="en-US" sz="2000" dirty="0">
                <a:solidFill>
                  <a:srgbClr val="171821"/>
                </a:solidFill>
                <a:latin typeface="-apple-system"/>
              </a:rPr>
              <a:t> </a:t>
            </a:r>
            <a:r>
              <a:rPr lang="en-US" altLang="ko-KR" sz="2000" dirty="0">
                <a:solidFill>
                  <a:srgbClr val="171821"/>
                </a:solidFill>
                <a:latin typeface="-apple-system"/>
              </a:rPr>
              <a:t> </a:t>
            </a:r>
            <a:endParaRPr lang="ko-KR" altLang="en-US" sz="2000" dirty="0"/>
          </a:p>
        </p:txBody>
      </p:sp>
      <p:sp>
        <p:nvSpPr>
          <p:cNvPr id="2" name="제목 1">
            <a:extLst>
              <a:ext uri="{FF2B5EF4-FFF2-40B4-BE49-F238E27FC236}">
                <a16:creationId xmlns:a16="http://schemas.microsoft.com/office/drawing/2014/main" id="{E1DA1CE0-F482-26B5-A9AC-3FEE433AB6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9798" y="100362"/>
            <a:ext cx="11558160" cy="1047718"/>
          </a:xfrm>
          <a:solidFill>
            <a:srgbClr val="0070C0"/>
          </a:solidFill>
        </p:spPr>
        <p:txBody>
          <a:bodyPr>
            <a:normAutofit fontScale="90000"/>
          </a:bodyPr>
          <a:lstStyle/>
          <a:p>
            <a:r>
              <a:rPr lang="en-US" altLang="ko-KR" sz="3600" b="1" kern="0" dirty="0">
                <a:latin typeface="+mj-ea"/>
              </a:rPr>
              <a:t> </a:t>
            </a:r>
            <a:br>
              <a:rPr lang="en-US" altLang="ko-KR" sz="3600" b="1" kern="0" dirty="0">
                <a:latin typeface="+mj-ea"/>
              </a:rPr>
            </a:br>
            <a:r>
              <a:rPr lang="en-US" altLang="ko-KR" sz="3600" b="1" kern="0" dirty="0">
                <a:latin typeface="+mj-ea"/>
              </a:rPr>
              <a:t> </a:t>
            </a:r>
            <a:r>
              <a:rPr kumimoji="0" lang="en-US" altLang="ko-KR" sz="3600" b="1" kern="0" dirty="0">
                <a:solidFill>
                  <a:schemeClr val="bg1"/>
                </a:solidFill>
                <a:latin typeface="+mj-ea"/>
                <a:ea typeface="+mj-ea"/>
              </a:rPr>
              <a:t>II. </a:t>
            </a:r>
            <a:r>
              <a:rPr lang="ko-KR" altLang="en-US" sz="3600" b="1" dirty="0">
                <a:solidFill>
                  <a:schemeClr val="bg1"/>
                </a:solidFill>
                <a:latin typeface="+mj-ea"/>
                <a:ea typeface="+mj-ea"/>
              </a:rPr>
              <a:t>빅데이터</a:t>
            </a:r>
            <a:r>
              <a:rPr lang="en-US" altLang="ko-KR" sz="3600" b="1" dirty="0">
                <a:solidFill>
                  <a:schemeClr val="bg1"/>
                </a:solidFill>
                <a:latin typeface="+mj-ea"/>
                <a:ea typeface="+mj-ea"/>
              </a:rPr>
              <a:t> &amp; AI</a:t>
            </a:r>
            <a:r>
              <a:rPr lang="ko-KR" altLang="en-US" sz="3600" b="1" dirty="0">
                <a:solidFill>
                  <a:schemeClr val="bg1"/>
                </a:solidFill>
                <a:latin typeface="+mj-ea"/>
                <a:ea typeface="+mj-ea"/>
              </a:rPr>
              <a:t>의 의미와 산업사회의 변화</a:t>
            </a:r>
            <a:r>
              <a:rPr lang="en-US" altLang="ko-KR" sz="3100" b="1" dirty="0">
                <a:solidFill>
                  <a:schemeClr val="bg1"/>
                </a:solidFill>
                <a:latin typeface="+mj-ea"/>
              </a:rPr>
              <a:t/>
            </a:r>
            <a:br>
              <a:rPr lang="en-US" altLang="ko-KR" sz="3100" b="1" dirty="0">
                <a:solidFill>
                  <a:schemeClr val="bg1"/>
                </a:solidFill>
                <a:latin typeface="+mj-ea"/>
              </a:rPr>
            </a:br>
            <a:endParaRPr lang="ko-KR" altLang="en-US" sz="3100" b="1" dirty="0">
              <a:solidFill>
                <a:schemeClr val="bg1"/>
              </a:solidFill>
              <a:latin typeface="HY강B" panose="02030600000101010101" pitchFamily="18" charset="-127"/>
              <a:ea typeface="HY강B" panose="02030600000101010101" pitchFamily="18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749183337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날짜 개체 틀 2">
            <a:extLst>
              <a:ext uri="{FF2B5EF4-FFF2-40B4-BE49-F238E27FC236}">
                <a16:creationId xmlns:a16="http://schemas.microsoft.com/office/drawing/2014/main" id="{8BEC0EEF-E580-1F75-2490-8A8B2F4D11C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FC9B95B-9606-41FD-9410-F2B308BBF263}" type="datetime1">
              <a:rPr lang="en-US" altLang="ko-KR" smtClean="0"/>
              <a:t>6/22/2023</a:t>
            </a:fld>
            <a:endParaRPr lang="en-US" dirty="0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818822C7-2AE3-D865-2FBC-85D609571C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smtClean="0"/>
              <a:t>18</a:t>
            </a:fld>
            <a:endParaRPr lang="en-US" dirty="0"/>
          </a:p>
        </p:txBody>
      </p:sp>
      <p:pic>
        <p:nvPicPr>
          <p:cNvPr id="6146" name="Picture 2" descr="http://linkback.itworld.co.kr/images/onebyone.gif?action_id=77c7764c88f502b9aaad5ab45e29be9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92725" y="222250"/>
            <a:ext cx="9525" cy="95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170" name="Picture 2" descr="http://linkback.itworld.co.kr/images/onebyone.gif?action_id=78663f4e5dd43f7ab3d3cb1ace87216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38838" y="3561630"/>
            <a:ext cx="9525" cy="95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Rectangle 3"/>
          <p:cNvSpPr>
            <a:spLocks noChangeArrowheads="1"/>
          </p:cNvSpPr>
          <p:nvPr/>
        </p:nvSpPr>
        <p:spPr bwMode="auto">
          <a:xfrm>
            <a:off x="-389539" y="-3131448"/>
            <a:ext cx="12192000" cy="0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ko-KR" altLang="ko-KR" sz="1100" b="0" i="0" u="none" strike="noStrike" cap="none" normalizeH="0" baseline="0">
                <a:ln>
                  <a:noFill/>
                </a:ln>
                <a:solidFill>
                  <a:srgbClr val="222222"/>
                </a:solidFill>
                <a:effectLst/>
                <a:latin typeface="Arial" panose="020B0604020202020204" pitchFamily="34" charset="0"/>
                <a:ea typeface="Noto Sans KR"/>
              </a:rPr>
              <a:t>빅데이터를 통해 채널별, 고객별, 크기 및 색상별 등 매우 상세하게 재고 이동 계획을 세울 수 있다. 제품의 생산으로 이어진 공급망에 대해 더 알고 싶어하는 소비자와 정보를 공유할 수도 있다. 예를 들어, 소비자가 셔츠 구매에 관심이 있다면 모든 재료의 원산지가 좋은지, 부적절한 노동력이 동원되지 않았는지 관련 정보를 제공</a:t>
            </a:r>
            <a:r>
              <a:rPr kumimoji="0" lang="ko-KR" altLang="ko-KR" sz="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/>
            </a:r>
            <a:br>
              <a:rPr kumimoji="0" lang="ko-KR" altLang="ko-KR" sz="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</a:br>
            <a:r>
              <a:rPr kumimoji="0" lang="ko-KR" altLang="ko-KR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/>
            </a:r>
            <a:br>
              <a:rPr kumimoji="0" lang="ko-KR" altLang="ko-KR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</a:br>
            <a:r>
              <a:rPr kumimoji="0" lang="ko-KR" altLang="ko-KR" sz="1100" b="0" i="0" u="none" strike="noStrike" cap="none" normalizeH="0" baseline="0">
                <a:ln>
                  <a:noFill/>
                </a:ln>
                <a:solidFill>
                  <a:srgbClr val="222222"/>
                </a:solidFill>
                <a:effectLst/>
                <a:latin typeface="Arial" panose="020B0604020202020204" pitchFamily="34" charset="0"/>
                <a:ea typeface="Noto Sans KR"/>
              </a:rPr>
              <a:t>원문보기:</a:t>
            </a:r>
            <a:r>
              <a:rPr kumimoji="0" lang="ko-KR" altLang="ko-KR" sz="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/>
            </a:r>
            <a:br>
              <a:rPr kumimoji="0" lang="ko-KR" altLang="ko-KR" sz="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</a:br>
            <a:r>
              <a:rPr kumimoji="0" lang="ko-KR" altLang="ko-KR" sz="11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Noto Sans KR"/>
                <a:hlinkClick r:id="rId4"/>
              </a:rPr>
              <a:t>https://www.ciokorea.com/news/37023#csidx064853071267fc398bba37eb4085558 </a:t>
            </a:r>
            <a:r>
              <a:rPr kumimoji="0" lang="ko-KR" altLang="ko-KR" sz="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  </a:t>
            </a:r>
            <a:r>
              <a:rPr kumimoji="0" lang="ko-KR" altLang="ko-KR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 </a:t>
            </a:r>
            <a:endParaRPr kumimoji="0" lang="ko-KR" altLang="ko-KR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pic>
        <p:nvPicPr>
          <p:cNvPr id="7172" name="Picture 4" descr="http://linkback.itworld.co.kr/images/onebyone.gif?action_id=064853071267fc398bba37eb4085558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11124" y="-2825060"/>
            <a:ext cx="9525" cy="95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174" name="Picture 6" descr="http://linkback.itworld.co.kr/images/onebyone.gif?action_id=f640c2560077734bfec6c80d6d174f4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05413" y="306388"/>
            <a:ext cx="219446" cy="457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표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07602781"/>
              </p:ext>
            </p:extLst>
          </p:nvPr>
        </p:nvGraphicFramePr>
        <p:xfrm>
          <a:off x="618564" y="1250510"/>
          <a:ext cx="10829365" cy="55778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57315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107124">
                  <a:extLst>
                    <a:ext uri="{9D8B030D-6E8A-4147-A177-3AD203B41FA5}">
                      <a16:colId xmlns:a16="http://schemas.microsoft.com/office/drawing/2014/main" val="2739258876"/>
                    </a:ext>
                  </a:extLst>
                </a:gridCol>
                <a:gridCol w="5149088">
                  <a:extLst>
                    <a:ext uri="{9D8B030D-6E8A-4147-A177-3AD203B41FA5}">
                      <a16:colId xmlns:a16="http://schemas.microsoft.com/office/drawing/2014/main" val="1565299352"/>
                    </a:ext>
                  </a:extLst>
                </a:gridCol>
              </a:tblGrid>
              <a:tr h="172231">
                <a:tc gridSpan="3">
                  <a:txBody>
                    <a:bodyPr/>
                    <a:lstStyle/>
                    <a:p>
                      <a:pPr latinLnBrk="1"/>
                      <a:r>
                        <a:rPr lang="ko-KR" altLang="en-US" sz="2400" dirty="0"/>
                        <a:t>현행  빅데이터 기반 </a:t>
                      </a:r>
                      <a:r>
                        <a:rPr lang="en-US" altLang="ko-KR" sz="2400" dirty="0"/>
                        <a:t>AI </a:t>
                      </a:r>
                      <a:r>
                        <a:rPr lang="ko-KR" altLang="en-US" sz="2400" dirty="0"/>
                        <a:t>산업</a:t>
                      </a:r>
                      <a:r>
                        <a:rPr lang="en-US" altLang="ko-KR" sz="2400" dirty="0"/>
                        <a:t>  </a:t>
                      </a:r>
                      <a:r>
                        <a:rPr lang="ko-KR" altLang="en-US" sz="2400" dirty="0"/>
                        <a:t>현황</a:t>
                      </a:r>
                      <a:r>
                        <a:rPr lang="en-US" altLang="ko-KR" sz="2400" dirty="0"/>
                        <a:t>&gt; </a:t>
                      </a:r>
                      <a:r>
                        <a:rPr lang="ko-KR" altLang="en-US" sz="2400" dirty="0"/>
                        <a:t>새로운 비즈니스의 탄생  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47800">
                <a:tc>
                  <a:txBody>
                    <a:bodyPr/>
                    <a:lstStyle/>
                    <a:p>
                      <a:r>
                        <a:rPr lang="ko-KR" altLang="en-US" dirty="0"/>
                        <a:t>공통</a:t>
                      </a:r>
                      <a:r>
                        <a:rPr lang="en-US" altLang="ko-KR" dirty="0"/>
                        <a:t> </a:t>
                      </a:r>
                      <a:r>
                        <a:rPr lang="ko-KR" altLang="en-US" dirty="0"/>
                        <a:t>현황</a:t>
                      </a:r>
                      <a:r>
                        <a:rPr lang="en-US" altLang="ko-KR" dirty="0"/>
                        <a:t> </a:t>
                      </a:r>
                      <a:endParaRPr lang="ko-KR" altLang="en-US" dirty="0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285750" indent="-285750">
                        <a:buFont typeface="Wingdings" panose="05000000000000000000" pitchFamily="2" charset="2"/>
                        <a:buChar char="l"/>
                      </a:pPr>
                      <a:r>
                        <a:rPr lang="ko-KR" altLang="en-US" dirty="0"/>
                        <a:t>기술</a:t>
                      </a:r>
                      <a:r>
                        <a:rPr lang="en-US" altLang="ko-KR" dirty="0"/>
                        <a:t> </a:t>
                      </a:r>
                      <a:r>
                        <a:rPr lang="ko-KR" altLang="en-US" dirty="0"/>
                        <a:t>오픈 </a:t>
                      </a:r>
                      <a:r>
                        <a:rPr lang="en-US" altLang="ko-KR" dirty="0"/>
                        <a:t>&gt; </a:t>
                      </a:r>
                      <a:r>
                        <a:rPr lang="ko-KR" altLang="en-US" dirty="0"/>
                        <a:t>활용인식 </a:t>
                      </a:r>
                      <a:r>
                        <a:rPr lang="en-US" altLang="ko-KR" dirty="0"/>
                        <a:t>/</a:t>
                      </a:r>
                      <a:r>
                        <a:rPr lang="ko-KR" altLang="en-US" dirty="0"/>
                        <a:t>학습화</a:t>
                      </a:r>
                      <a:r>
                        <a:rPr lang="en-US" altLang="ko-KR" dirty="0"/>
                        <a:t>&gt;  </a:t>
                      </a:r>
                      <a:r>
                        <a:rPr lang="ko-KR" altLang="en-US" dirty="0"/>
                        <a:t>기술 독점화 </a:t>
                      </a:r>
                      <a:endParaRPr lang="en-US" altLang="ko-KR" dirty="0"/>
                    </a:p>
                    <a:p>
                      <a:pPr marL="285750" indent="-285750">
                        <a:buFont typeface="Wingdings" panose="05000000000000000000" pitchFamily="2" charset="2"/>
                        <a:buChar char="l"/>
                      </a:pPr>
                      <a:r>
                        <a:rPr lang="ko-KR" altLang="en-US" dirty="0"/>
                        <a:t>확산 급증</a:t>
                      </a:r>
                      <a:r>
                        <a:rPr lang="en-US" altLang="ko-KR" dirty="0"/>
                        <a:t>&gt; </a:t>
                      </a:r>
                      <a:r>
                        <a:rPr lang="ko-KR" altLang="en-US" dirty="0"/>
                        <a:t>개인 </a:t>
                      </a:r>
                      <a:r>
                        <a:rPr lang="en-US" altLang="ko-KR" dirty="0"/>
                        <a:t>&amp; </a:t>
                      </a:r>
                      <a:r>
                        <a:rPr lang="ko-KR" altLang="en-US" dirty="0"/>
                        <a:t> 산업의 필수 경쟁력 원천</a:t>
                      </a:r>
                      <a:endParaRPr lang="en-US" altLang="ko-KR" dirty="0"/>
                    </a:p>
                    <a:p>
                      <a:pPr marL="285750" indent="-285750">
                        <a:buFont typeface="Wingdings" panose="05000000000000000000" pitchFamily="2" charset="2"/>
                        <a:buChar char="l"/>
                      </a:pPr>
                      <a:r>
                        <a:rPr lang="ko-KR" altLang="en-US" dirty="0"/>
                        <a:t>각국 정부의 지원 정책 확대 </a:t>
                      </a:r>
                      <a:r>
                        <a:rPr lang="en-US" altLang="ko-KR" dirty="0"/>
                        <a:t> </a:t>
                      </a:r>
                      <a:r>
                        <a:rPr lang="ko-KR" altLang="en-US" dirty="0"/>
                        <a:t> </a:t>
                      </a:r>
                      <a:endParaRPr lang="en-US" altLang="ko-KR" dirty="0"/>
                    </a:p>
                    <a:p>
                      <a:pPr marL="285750" indent="-285750">
                        <a:buFont typeface="Wingdings" panose="05000000000000000000" pitchFamily="2" charset="2"/>
                        <a:buChar char="l"/>
                      </a:pPr>
                      <a:r>
                        <a:rPr lang="ko-KR" altLang="en-US" dirty="0"/>
                        <a:t>문제점 대두 </a:t>
                      </a:r>
                      <a:r>
                        <a:rPr lang="en-US" altLang="ko-KR" dirty="0"/>
                        <a:t>&gt;  </a:t>
                      </a:r>
                      <a:r>
                        <a:rPr lang="ko-KR" altLang="en-US" dirty="0"/>
                        <a:t>글로벌 규제의 필요성  대두 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ko-KR" alt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64509755"/>
                  </a:ext>
                </a:extLst>
              </a:tr>
              <a:tr h="137785">
                <a:tc>
                  <a:txBody>
                    <a:bodyPr/>
                    <a:lstStyle/>
                    <a:p>
                      <a:r>
                        <a:rPr lang="en-US" altLang="ko-KR" dirty="0"/>
                        <a:t> </a:t>
                      </a:r>
                      <a:r>
                        <a:rPr lang="ko-KR" altLang="en-US" dirty="0"/>
                        <a:t>구 분 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ko-KR" altLang="en-US" baseline="0" dirty="0"/>
                        <a:t>글로벌 </a:t>
                      </a:r>
                      <a:r>
                        <a:rPr lang="ko-KR" altLang="en-US" dirty="0"/>
                        <a:t>현황</a:t>
                      </a:r>
                      <a:r>
                        <a:rPr lang="en-US" altLang="ko-KR" dirty="0"/>
                        <a:t>/</a:t>
                      </a:r>
                      <a:r>
                        <a:rPr lang="ko-KR" altLang="en-US" dirty="0"/>
                        <a:t>사례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dirty="0"/>
                        <a:t>국내 현황</a:t>
                      </a:r>
                      <a:r>
                        <a:rPr lang="en-US" altLang="ko-KR" dirty="0"/>
                        <a:t>/</a:t>
                      </a:r>
                      <a:r>
                        <a:rPr lang="ko-KR" altLang="en-US" dirty="0"/>
                        <a:t>사례 </a:t>
                      </a:r>
                      <a:endParaRPr lang="en-US" altLang="ko-KR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18008257"/>
                  </a:ext>
                </a:extLst>
              </a:tr>
              <a:tr h="447800">
                <a:tc>
                  <a:txBody>
                    <a:bodyPr/>
                    <a:lstStyle/>
                    <a:p>
                      <a:r>
                        <a:rPr lang="en-US" altLang="ko-KR" dirty="0"/>
                        <a:t>AI</a:t>
                      </a:r>
                      <a:r>
                        <a:rPr lang="ko-KR" altLang="en-US" dirty="0" err="1"/>
                        <a:t>플렛폼</a:t>
                      </a:r>
                      <a:r>
                        <a:rPr lang="en-US" altLang="ko-KR" dirty="0"/>
                        <a:t>/ </a:t>
                      </a:r>
                      <a:r>
                        <a:rPr lang="ko-KR" altLang="en-US" dirty="0"/>
                        <a:t>서비스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ko-KR" altLang="en-US" dirty="0"/>
                        <a:t>시리</a:t>
                      </a:r>
                      <a:r>
                        <a:rPr lang="en-US" altLang="ko-KR" dirty="0"/>
                        <a:t>( </a:t>
                      </a:r>
                      <a:r>
                        <a:rPr lang="ko-KR" altLang="en-US" dirty="0"/>
                        <a:t>애플</a:t>
                      </a:r>
                      <a:r>
                        <a:rPr lang="en-US" altLang="ko-KR" dirty="0"/>
                        <a:t>), </a:t>
                      </a:r>
                      <a:r>
                        <a:rPr lang="ko-KR" altLang="en-US" dirty="0"/>
                        <a:t>오픈 </a:t>
                      </a:r>
                      <a:r>
                        <a:rPr lang="en-US" altLang="ko-KR" dirty="0"/>
                        <a:t>AI, </a:t>
                      </a:r>
                      <a:r>
                        <a:rPr lang="ko-KR" altLang="en-US" dirty="0" err="1"/>
                        <a:t>엘라이</a:t>
                      </a:r>
                      <a:r>
                        <a:rPr lang="en-US" altLang="ko-KR" dirty="0"/>
                        <a:t>( </a:t>
                      </a:r>
                      <a:r>
                        <a:rPr lang="ko-KR" altLang="en-US" dirty="0"/>
                        <a:t>영상</a:t>
                      </a:r>
                      <a:r>
                        <a:rPr lang="en-US" altLang="ko-KR" dirty="0"/>
                        <a:t>), </a:t>
                      </a:r>
                      <a:r>
                        <a:rPr lang="ko-KR" altLang="en-US" dirty="0"/>
                        <a:t>캐릭터</a:t>
                      </a:r>
                      <a:r>
                        <a:rPr lang="en-US" altLang="ko-KR" dirty="0"/>
                        <a:t>(</a:t>
                      </a:r>
                      <a:r>
                        <a:rPr lang="ko-KR" altLang="en-US" dirty="0" err="1"/>
                        <a:t>쳇봇</a:t>
                      </a:r>
                      <a:r>
                        <a:rPr lang="en-US" altLang="ko-KR" dirty="0"/>
                        <a:t>), </a:t>
                      </a:r>
                      <a:r>
                        <a:rPr lang="ko-KR" altLang="en-US" dirty="0" err="1"/>
                        <a:t>뮤지코</a:t>
                      </a:r>
                      <a:r>
                        <a:rPr lang="ko-KR" altLang="en-US" dirty="0"/>
                        <a:t> </a:t>
                      </a:r>
                      <a:r>
                        <a:rPr lang="en-US" altLang="ko-KR" dirty="0"/>
                        <a:t>( </a:t>
                      </a:r>
                      <a:r>
                        <a:rPr lang="ko-KR" altLang="en-US" dirty="0"/>
                        <a:t>음악</a:t>
                      </a:r>
                      <a:r>
                        <a:rPr lang="en-US" altLang="ko-KR" dirty="0"/>
                        <a:t>)/</a:t>
                      </a:r>
                      <a:r>
                        <a:rPr lang="ko-KR" altLang="en-US" dirty="0" err="1"/>
                        <a:t>스태빌리지</a:t>
                      </a:r>
                      <a:r>
                        <a:rPr lang="en-US" altLang="ko-KR" dirty="0"/>
                        <a:t>/</a:t>
                      </a:r>
                      <a:r>
                        <a:rPr lang="ko-KR" altLang="en-US" dirty="0" err="1"/>
                        <a:t>미드저니</a:t>
                      </a:r>
                      <a:r>
                        <a:rPr lang="ko-KR" altLang="en-US" dirty="0"/>
                        <a:t> </a:t>
                      </a:r>
                      <a:r>
                        <a:rPr lang="en-US" altLang="ko-KR" dirty="0"/>
                        <a:t>( </a:t>
                      </a:r>
                      <a:r>
                        <a:rPr lang="ko-KR" altLang="en-US" dirty="0"/>
                        <a:t>이미지</a:t>
                      </a:r>
                      <a:r>
                        <a:rPr lang="en-US" altLang="ko-KR" dirty="0"/>
                        <a:t>)/</a:t>
                      </a:r>
                      <a:endParaRPr lang="ko-KR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ko-KR" altLang="en-US" dirty="0"/>
                        <a:t>클로버</a:t>
                      </a:r>
                      <a:r>
                        <a:rPr lang="en-US" altLang="ko-KR" dirty="0"/>
                        <a:t>(</a:t>
                      </a:r>
                      <a:r>
                        <a:rPr lang="ko-KR" altLang="en-US" dirty="0"/>
                        <a:t>네이버</a:t>
                      </a:r>
                      <a:r>
                        <a:rPr lang="en-US" altLang="ko-KR" dirty="0"/>
                        <a:t>)/</a:t>
                      </a:r>
                      <a:r>
                        <a:rPr lang="ko-KR" altLang="en-US" dirty="0" err="1"/>
                        <a:t>빅스비</a:t>
                      </a:r>
                      <a:r>
                        <a:rPr lang="en-US" altLang="ko-KR" dirty="0"/>
                        <a:t> ( </a:t>
                      </a:r>
                      <a:r>
                        <a:rPr lang="ko-KR" altLang="en-US" dirty="0"/>
                        <a:t>삼성</a:t>
                      </a:r>
                      <a:r>
                        <a:rPr lang="en-US" altLang="ko-KR" dirty="0"/>
                        <a:t>), </a:t>
                      </a:r>
                      <a:r>
                        <a:rPr lang="ko-KR" altLang="en-US" dirty="0" err="1"/>
                        <a:t>뤼튼</a:t>
                      </a:r>
                      <a:r>
                        <a:rPr lang="en-US" altLang="ko-KR" dirty="0"/>
                        <a:t>(</a:t>
                      </a:r>
                      <a:r>
                        <a:rPr lang="ko-KR" altLang="en-US" dirty="0" err="1"/>
                        <a:t>인ㄱ</a:t>
                      </a:r>
                      <a:r>
                        <a:rPr lang="en-US" altLang="ko-KR" dirty="0"/>
                        <a:t>A</a:t>
                      </a:r>
                      <a:r>
                        <a:rPr lang="ko-KR" altLang="en-US" dirty="0" err="1"/>
                        <a:t>먀한국어</a:t>
                      </a:r>
                      <a:r>
                        <a:rPr lang="ko-KR" altLang="en-US" dirty="0"/>
                        <a:t> 작문</a:t>
                      </a:r>
                      <a:r>
                        <a:rPr lang="en-US" altLang="ko-KR" dirty="0"/>
                        <a:t>), </a:t>
                      </a:r>
                      <a:r>
                        <a:rPr lang="ko-KR" altLang="en-US" dirty="0" err="1"/>
                        <a:t>딥브레인</a:t>
                      </a:r>
                      <a:r>
                        <a:rPr lang="ko-KR" altLang="en-US" dirty="0"/>
                        <a:t> </a:t>
                      </a:r>
                      <a:r>
                        <a:rPr lang="en-US" altLang="ko-KR" dirty="0"/>
                        <a:t>AI( </a:t>
                      </a:r>
                      <a:r>
                        <a:rPr lang="ko-KR" altLang="en-US" dirty="0"/>
                        <a:t>연상</a:t>
                      </a:r>
                      <a:r>
                        <a:rPr lang="en-US" altLang="ko-KR" dirty="0"/>
                        <a:t>), </a:t>
                      </a:r>
                      <a:r>
                        <a:rPr lang="ko-KR" altLang="en-US" dirty="0" err="1"/>
                        <a:t>포자랩스</a:t>
                      </a:r>
                      <a:r>
                        <a:rPr lang="en-US" altLang="ko-KR" dirty="0"/>
                        <a:t>( </a:t>
                      </a:r>
                      <a:r>
                        <a:rPr lang="ko-KR" altLang="en-US" dirty="0"/>
                        <a:t>음악</a:t>
                      </a:r>
                      <a:r>
                        <a:rPr lang="en-US" altLang="ko-KR" dirty="0"/>
                        <a:t>), </a:t>
                      </a:r>
                      <a:r>
                        <a:rPr lang="ko-KR" altLang="en-US" dirty="0" err="1"/>
                        <a:t>스케트랩</a:t>
                      </a:r>
                      <a:r>
                        <a:rPr lang="en-US" altLang="ko-KR" dirty="0"/>
                        <a:t>( </a:t>
                      </a:r>
                      <a:r>
                        <a:rPr lang="ko-KR" altLang="en-US" dirty="0" err="1"/>
                        <a:t>쳇봇</a:t>
                      </a:r>
                      <a:r>
                        <a:rPr lang="en-US" altLang="ko-KR" dirty="0"/>
                        <a:t>), </a:t>
                      </a:r>
                      <a:r>
                        <a:rPr lang="ko-KR" altLang="en-US" dirty="0"/>
                        <a:t>라이언 로켓</a:t>
                      </a:r>
                      <a:r>
                        <a:rPr lang="en-US" altLang="ko-KR" dirty="0"/>
                        <a:t>(</a:t>
                      </a:r>
                      <a:r>
                        <a:rPr lang="ko-KR" altLang="en-US" dirty="0"/>
                        <a:t>이미지</a:t>
                      </a:r>
                      <a:r>
                        <a:rPr lang="en-US" altLang="ko-KR" dirty="0"/>
                        <a:t>) </a:t>
                      </a:r>
                      <a:r>
                        <a:rPr lang="ko-KR" altLang="en-US" dirty="0" err="1"/>
                        <a:t>네오사피엔스</a:t>
                      </a:r>
                      <a:r>
                        <a:rPr lang="en-US" altLang="ko-KR" dirty="0"/>
                        <a:t>(</a:t>
                      </a:r>
                      <a:r>
                        <a:rPr lang="ko-KR" altLang="en-US" dirty="0"/>
                        <a:t>음성</a:t>
                      </a:r>
                      <a:r>
                        <a:rPr lang="en-US" altLang="ko-KR" dirty="0"/>
                        <a:t>), </a:t>
                      </a:r>
                      <a:endParaRPr lang="ko-KR" alt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38624647"/>
                  </a:ext>
                </a:extLst>
              </a:tr>
              <a:tr h="137785">
                <a:tc>
                  <a:txBody>
                    <a:bodyPr/>
                    <a:lstStyle/>
                    <a:p>
                      <a:r>
                        <a:rPr lang="ko-KR" altLang="en-US" dirty="0"/>
                        <a:t>데이터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ko-KR" altLang="en-US" dirty="0"/>
                        <a:t>스케일 </a:t>
                      </a:r>
                      <a:r>
                        <a:rPr lang="en-US" altLang="ko-KR" dirty="0"/>
                        <a:t>AI, </a:t>
                      </a:r>
                      <a:r>
                        <a:rPr lang="ko-KR" altLang="en-US" dirty="0" err="1"/>
                        <a:t>디파인드</a:t>
                      </a:r>
                      <a:r>
                        <a:rPr lang="en-US" altLang="ko-KR" dirty="0"/>
                        <a:t>AI, </a:t>
                      </a:r>
                      <a:r>
                        <a:rPr lang="ko-KR" altLang="en-US" dirty="0"/>
                        <a:t>사마</a:t>
                      </a:r>
                      <a:r>
                        <a:rPr lang="en-US" altLang="ko-KR" dirty="0"/>
                        <a:t>AI</a:t>
                      </a:r>
                      <a:endParaRPr lang="ko-KR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ko-KR" altLang="en-US" dirty="0" err="1"/>
                        <a:t>셀렉트스타</a:t>
                      </a:r>
                      <a:r>
                        <a:rPr lang="en-US" altLang="ko-KR" dirty="0"/>
                        <a:t>, </a:t>
                      </a:r>
                      <a:r>
                        <a:rPr lang="ko-KR" altLang="en-US" dirty="0" err="1"/>
                        <a:t>플리토</a:t>
                      </a:r>
                      <a:r>
                        <a:rPr lang="en-US" altLang="ko-KR" dirty="0"/>
                        <a:t>, </a:t>
                      </a:r>
                      <a:r>
                        <a:rPr lang="ko-KR" altLang="en-US" dirty="0" err="1"/>
                        <a:t>크라우드윅스</a:t>
                      </a:r>
                      <a:r>
                        <a:rPr lang="en-US" altLang="ko-KR" dirty="0"/>
                        <a:t>, </a:t>
                      </a:r>
                      <a:r>
                        <a:rPr lang="ko-KR" altLang="en-US" dirty="0" err="1"/>
                        <a:t>슈퍼브</a:t>
                      </a:r>
                      <a:r>
                        <a:rPr lang="ko-KR" altLang="en-US" dirty="0"/>
                        <a:t> </a:t>
                      </a:r>
                      <a:r>
                        <a:rPr lang="en-US" altLang="ko-KR" dirty="0"/>
                        <a:t>AI</a:t>
                      </a:r>
                      <a:endParaRPr lang="ko-KR" alt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79056599"/>
                  </a:ext>
                </a:extLst>
              </a:tr>
              <a:tr h="241123">
                <a:tc>
                  <a:txBody>
                    <a:bodyPr/>
                    <a:lstStyle/>
                    <a:p>
                      <a:r>
                        <a:rPr lang="en-US" altLang="ko-KR" dirty="0"/>
                        <a:t>AI</a:t>
                      </a:r>
                      <a:r>
                        <a:rPr lang="ko-KR" altLang="en-US" dirty="0"/>
                        <a:t> 개발 </a:t>
                      </a:r>
                      <a:r>
                        <a:rPr lang="ko-KR" altLang="en-US" dirty="0" err="1"/>
                        <a:t>플렛폼</a:t>
                      </a:r>
                      <a:r>
                        <a:rPr lang="ko-KR" altLang="en-US" dirty="0"/>
                        <a:t>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ko-KR" dirty="0"/>
                        <a:t>MS, </a:t>
                      </a:r>
                      <a:r>
                        <a:rPr lang="ko-KR" altLang="en-US" dirty="0"/>
                        <a:t>구글</a:t>
                      </a:r>
                      <a:r>
                        <a:rPr lang="en-US" altLang="ko-KR" dirty="0"/>
                        <a:t>, AWS </a:t>
                      </a:r>
                      <a:r>
                        <a:rPr lang="ko-KR" altLang="en-US" dirty="0" err="1"/>
                        <a:t>갓허브</a:t>
                      </a:r>
                      <a:r>
                        <a:rPr lang="en-US" altLang="ko-KR" dirty="0"/>
                        <a:t>,IBM, </a:t>
                      </a:r>
                      <a:r>
                        <a:rPr lang="ko-KR" altLang="en-US" dirty="0" err="1"/>
                        <a:t>허깅페이스</a:t>
                      </a:r>
                      <a:endParaRPr lang="ko-KR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ko-KR" altLang="en-US" dirty="0" err="1"/>
                        <a:t>레블업</a:t>
                      </a:r>
                      <a:r>
                        <a:rPr lang="en-US" altLang="ko-KR" dirty="0"/>
                        <a:t>, </a:t>
                      </a:r>
                      <a:r>
                        <a:rPr lang="ko-KR" altLang="en-US" dirty="0" err="1"/>
                        <a:t>프렌틀리</a:t>
                      </a:r>
                      <a:r>
                        <a:rPr lang="ko-KR" altLang="en-US" dirty="0"/>
                        <a:t> </a:t>
                      </a:r>
                      <a:r>
                        <a:rPr lang="en-US" altLang="ko-KR" dirty="0"/>
                        <a:t>AI,  </a:t>
                      </a:r>
                      <a:r>
                        <a:rPr lang="ko-KR" altLang="en-US" dirty="0" err="1"/>
                        <a:t>노타</a:t>
                      </a:r>
                      <a:r>
                        <a:rPr lang="en-US" altLang="ko-KR" dirty="0"/>
                        <a:t>AI</a:t>
                      </a:r>
                      <a:endParaRPr lang="ko-KR" alt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59168549"/>
                  </a:ext>
                </a:extLst>
              </a:tr>
              <a:tr h="137785">
                <a:tc>
                  <a:txBody>
                    <a:bodyPr/>
                    <a:lstStyle/>
                    <a:p>
                      <a:r>
                        <a:rPr lang="ko-KR" altLang="en-US" dirty="0"/>
                        <a:t>클라우드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ko-KR" dirty="0"/>
                        <a:t>MS, </a:t>
                      </a:r>
                      <a:r>
                        <a:rPr lang="ko-KR" altLang="en-US" dirty="0"/>
                        <a:t>아마존</a:t>
                      </a:r>
                      <a:r>
                        <a:rPr lang="en-US" altLang="ko-KR" dirty="0"/>
                        <a:t>, </a:t>
                      </a:r>
                      <a:r>
                        <a:rPr lang="ko-KR" altLang="en-US" dirty="0"/>
                        <a:t>구글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ko-KR" altLang="en-US" dirty="0"/>
                        <a:t>네이버</a:t>
                      </a:r>
                      <a:r>
                        <a:rPr lang="en-US" altLang="ko-KR" dirty="0"/>
                        <a:t>, KT, NHN</a:t>
                      </a:r>
                      <a:endParaRPr lang="ko-KR" alt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215644"/>
                  </a:ext>
                </a:extLst>
              </a:tr>
              <a:tr h="241123">
                <a:tc>
                  <a:txBody>
                    <a:bodyPr/>
                    <a:lstStyle/>
                    <a:p>
                      <a:r>
                        <a:rPr lang="ko-KR" altLang="en-US" dirty="0"/>
                        <a:t>반도체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ko-KR" altLang="en-US" dirty="0" err="1"/>
                        <a:t>앤디비아</a:t>
                      </a:r>
                      <a:r>
                        <a:rPr lang="en-US" altLang="ko-KR" dirty="0"/>
                        <a:t>, AMD, MS, </a:t>
                      </a:r>
                      <a:r>
                        <a:rPr lang="ko-KR" altLang="en-US" dirty="0"/>
                        <a:t>아마존</a:t>
                      </a:r>
                      <a:r>
                        <a:rPr lang="en-US" altLang="ko-KR" dirty="0"/>
                        <a:t>, </a:t>
                      </a:r>
                      <a:r>
                        <a:rPr lang="ko-KR" altLang="en-US" dirty="0"/>
                        <a:t>구글</a:t>
                      </a:r>
                      <a:r>
                        <a:rPr lang="en-US" altLang="ko-KR" dirty="0"/>
                        <a:t>, </a:t>
                      </a:r>
                      <a:r>
                        <a:rPr lang="ko-KR" altLang="en-US" dirty="0"/>
                        <a:t>메타</a:t>
                      </a:r>
                      <a:r>
                        <a:rPr lang="en-US" altLang="ko-KR" dirty="0"/>
                        <a:t>, </a:t>
                      </a:r>
                      <a:r>
                        <a:rPr lang="ko-KR" altLang="en-US" dirty="0" err="1"/>
                        <a:t>바이두</a:t>
                      </a:r>
                      <a:endParaRPr lang="ko-KR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ko-KR" altLang="en-US" dirty="0"/>
                        <a:t>삼성</a:t>
                      </a:r>
                      <a:r>
                        <a:rPr lang="en-US" altLang="ko-KR" dirty="0"/>
                        <a:t>,</a:t>
                      </a:r>
                      <a:r>
                        <a:rPr lang="ko-KR" altLang="en-US" dirty="0" err="1"/>
                        <a:t>시피온</a:t>
                      </a:r>
                      <a:r>
                        <a:rPr lang="en-US" altLang="ko-KR" dirty="0"/>
                        <a:t>(SKT)</a:t>
                      </a:r>
                      <a:r>
                        <a:rPr lang="ko-KR" altLang="en-US" dirty="0" err="1"/>
                        <a:t>리벨리온</a:t>
                      </a:r>
                      <a:r>
                        <a:rPr lang="en-US" altLang="ko-KR" dirty="0"/>
                        <a:t>( KT)</a:t>
                      </a:r>
                      <a:r>
                        <a:rPr lang="ko-KR" altLang="en-US" dirty="0" err="1"/>
                        <a:t>퓨리오사</a:t>
                      </a:r>
                      <a:r>
                        <a:rPr lang="ko-KR" altLang="en-US" dirty="0"/>
                        <a:t> </a:t>
                      </a:r>
                      <a:r>
                        <a:rPr lang="en-US" altLang="ko-KR" dirty="0"/>
                        <a:t>AI (Naver)</a:t>
                      </a:r>
                      <a:endParaRPr lang="ko-KR" alt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19904485"/>
                  </a:ext>
                </a:extLst>
              </a:tr>
              <a:tr h="322637">
                <a:tc gridSpan="3">
                  <a:txBody>
                    <a:bodyPr/>
                    <a:lstStyle/>
                    <a:p>
                      <a:r>
                        <a:rPr lang="ko-KR" altLang="en-US" dirty="0"/>
                        <a:t>개방</a:t>
                      </a:r>
                      <a:r>
                        <a:rPr lang="en-US" altLang="ko-KR" dirty="0"/>
                        <a:t>/</a:t>
                      </a:r>
                      <a:r>
                        <a:rPr lang="ko-KR" altLang="en-US" dirty="0" err="1"/>
                        <a:t>패쇄의</a:t>
                      </a:r>
                      <a:r>
                        <a:rPr lang="ko-KR" altLang="en-US" dirty="0"/>
                        <a:t> 전환기</a:t>
                      </a:r>
                      <a:r>
                        <a:rPr lang="en-US" altLang="ko-KR" dirty="0"/>
                        <a:t>&gt; M&amp;A &gt; </a:t>
                      </a:r>
                      <a:r>
                        <a:rPr lang="ko-KR" altLang="en-US" dirty="0"/>
                        <a:t>전문 특화  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ko-KR" alt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ko-KR" alt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01816301"/>
                  </a:ext>
                </a:extLst>
              </a:tr>
            </a:tbl>
          </a:graphicData>
        </a:graphic>
      </p:graphicFrame>
      <p:sp>
        <p:nvSpPr>
          <p:cNvPr id="5" name="제목 1">
            <a:extLst>
              <a:ext uri="{FF2B5EF4-FFF2-40B4-BE49-F238E27FC236}">
                <a16:creationId xmlns:a16="http://schemas.microsoft.com/office/drawing/2014/main" id="{159D0E68-BECC-B107-40A2-161B3112B9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9798" y="100362"/>
            <a:ext cx="11558160" cy="1047718"/>
          </a:xfrm>
          <a:solidFill>
            <a:srgbClr val="0070C0"/>
          </a:solidFill>
        </p:spPr>
        <p:txBody>
          <a:bodyPr>
            <a:normAutofit fontScale="90000"/>
          </a:bodyPr>
          <a:lstStyle/>
          <a:p>
            <a:r>
              <a:rPr lang="en-US" altLang="ko-KR" sz="3600" b="1" kern="0" dirty="0">
                <a:latin typeface="+mj-ea"/>
              </a:rPr>
              <a:t> </a:t>
            </a:r>
            <a:br>
              <a:rPr lang="en-US" altLang="ko-KR" sz="3600" b="1" kern="0" dirty="0">
                <a:latin typeface="+mj-ea"/>
              </a:rPr>
            </a:br>
            <a:r>
              <a:rPr lang="en-US" altLang="ko-KR" sz="3600" b="1" kern="0" dirty="0">
                <a:latin typeface="+mj-ea"/>
              </a:rPr>
              <a:t> </a:t>
            </a:r>
            <a:r>
              <a:rPr kumimoji="0" lang="en-US" altLang="ko-KR" sz="3600" b="1" kern="0" dirty="0">
                <a:solidFill>
                  <a:schemeClr val="bg1"/>
                </a:solidFill>
                <a:latin typeface="+mj-ea"/>
                <a:ea typeface="+mj-ea"/>
              </a:rPr>
              <a:t>II. </a:t>
            </a:r>
            <a:r>
              <a:rPr lang="ko-KR" altLang="en-US" sz="3600" b="1" dirty="0">
                <a:solidFill>
                  <a:schemeClr val="bg1"/>
                </a:solidFill>
                <a:latin typeface="+mj-ea"/>
                <a:ea typeface="+mj-ea"/>
              </a:rPr>
              <a:t>빅데이터</a:t>
            </a:r>
            <a:r>
              <a:rPr lang="en-US" altLang="ko-KR" sz="3600" b="1" dirty="0">
                <a:solidFill>
                  <a:schemeClr val="bg1"/>
                </a:solidFill>
                <a:latin typeface="+mj-ea"/>
                <a:ea typeface="+mj-ea"/>
              </a:rPr>
              <a:t> &amp; AI</a:t>
            </a:r>
            <a:r>
              <a:rPr lang="ko-KR" altLang="en-US" sz="3600" b="1" dirty="0">
                <a:solidFill>
                  <a:schemeClr val="bg1"/>
                </a:solidFill>
                <a:latin typeface="+mj-ea"/>
                <a:ea typeface="+mj-ea"/>
              </a:rPr>
              <a:t>의 의미와 산업사회의 변화</a:t>
            </a:r>
            <a:r>
              <a:rPr lang="en-US" altLang="ko-KR" sz="3100" b="1" dirty="0">
                <a:solidFill>
                  <a:schemeClr val="bg1"/>
                </a:solidFill>
                <a:latin typeface="+mj-ea"/>
              </a:rPr>
              <a:t/>
            </a:r>
            <a:br>
              <a:rPr lang="en-US" altLang="ko-KR" sz="3100" b="1" dirty="0">
                <a:solidFill>
                  <a:schemeClr val="bg1"/>
                </a:solidFill>
                <a:latin typeface="+mj-ea"/>
              </a:rPr>
            </a:br>
            <a:endParaRPr lang="ko-KR" altLang="en-US" sz="3100" b="1" dirty="0">
              <a:solidFill>
                <a:schemeClr val="bg1"/>
              </a:solidFill>
              <a:latin typeface="HY강B" panose="02030600000101010101" pitchFamily="18" charset="-127"/>
              <a:ea typeface="HY강B" panose="02030600000101010101" pitchFamily="18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439839155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215700" y="1131571"/>
            <a:ext cx="9060185" cy="612718"/>
          </a:xfrm>
          <a:solidFill>
            <a:srgbClr val="002060"/>
          </a:solidFill>
        </p:spPr>
        <p:txBody>
          <a:bodyPr>
            <a:normAutofit fontScale="90000"/>
          </a:bodyPr>
          <a:lstStyle/>
          <a:p>
            <a:r>
              <a:rPr lang="ko-KR" altLang="en-US" sz="3600" dirty="0">
                <a:solidFill>
                  <a:schemeClr val="bg1"/>
                </a:solidFill>
                <a:latin typeface="HY강B" panose="02030600000101010101" pitchFamily="18" charset="-127"/>
                <a:ea typeface="HY강B" panose="02030600000101010101" pitchFamily="18" charset="-127"/>
              </a:rPr>
              <a:t> </a:t>
            </a:r>
            <a:r>
              <a:rPr lang="ko-KR" altLang="en-US" sz="2700" dirty="0">
                <a:solidFill>
                  <a:schemeClr val="bg1"/>
                </a:solidFill>
                <a:latin typeface="+mj-ea"/>
              </a:rPr>
              <a:t>빅데이터 </a:t>
            </a:r>
            <a:r>
              <a:rPr lang="en-US" altLang="ko-KR" sz="2700" dirty="0">
                <a:solidFill>
                  <a:schemeClr val="bg1"/>
                </a:solidFill>
                <a:latin typeface="+mj-ea"/>
              </a:rPr>
              <a:t>&amp; AI</a:t>
            </a:r>
            <a:r>
              <a:rPr lang="ko-KR" altLang="en-US" sz="2700" dirty="0">
                <a:solidFill>
                  <a:schemeClr val="bg1"/>
                </a:solidFill>
                <a:latin typeface="+mj-ea"/>
              </a:rPr>
              <a:t>의 활용</a:t>
            </a:r>
            <a:r>
              <a:rPr lang="en-US" altLang="ko-KR" sz="2700" dirty="0">
                <a:solidFill>
                  <a:schemeClr val="bg1"/>
                </a:solidFill>
                <a:latin typeface="+mj-ea"/>
              </a:rPr>
              <a:t>: </a:t>
            </a:r>
            <a:r>
              <a:rPr lang="ko-KR" altLang="en-US" sz="2700" dirty="0">
                <a:solidFill>
                  <a:schemeClr val="bg1"/>
                </a:solidFill>
                <a:latin typeface="+mj-ea"/>
              </a:rPr>
              <a:t>인간의 모든 과거 행위</a:t>
            </a:r>
            <a:r>
              <a:rPr lang="en-US" altLang="ko-KR" sz="2700" dirty="0">
                <a:solidFill>
                  <a:schemeClr val="bg1"/>
                </a:solidFill>
                <a:latin typeface="+mj-ea"/>
              </a:rPr>
              <a:t>&gt; </a:t>
            </a:r>
            <a:r>
              <a:rPr lang="ko-KR" altLang="en-US" sz="2700" dirty="0">
                <a:solidFill>
                  <a:schemeClr val="bg1"/>
                </a:solidFill>
                <a:latin typeface="+mj-ea"/>
              </a:rPr>
              <a:t>창조도 가능</a:t>
            </a:r>
            <a:r>
              <a:rPr lang="en-US" altLang="ko-KR" sz="2700" dirty="0">
                <a:solidFill>
                  <a:schemeClr val="bg1"/>
                </a:solidFill>
                <a:latin typeface="+mj-ea"/>
              </a:rPr>
              <a:t>? </a:t>
            </a:r>
            <a:r>
              <a:rPr lang="ko-KR" altLang="en-US" sz="2700" dirty="0">
                <a:solidFill>
                  <a:schemeClr val="bg1"/>
                </a:solidFill>
                <a:latin typeface="HY강B" panose="02030600000101010101" pitchFamily="18" charset="-127"/>
                <a:ea typeface="HY강B" panose="02030600000101010101" pitchFamily="18" charset="-127"/>
              </a:rPr>
              <a:t>  </a:t>
            </a:r>
          </a:p>
        </p:txBody>
      </p:sp>
      <p:sp>
        <p:nvSpPr>
          <p:cNvPr id="3" name="날짜 개체 틀 2">
            <a:extLst>
              <a:ext uri="{FF2B5EF4-FFF2-40B4-BE49-F238E27FC236}">
                <a16:creationId xmlns:a16="http://schemas.microsoft.com/office/drawing/2014/main" id="{8BEC0EEF-E580-1F75-2490-8A8B2F4D11C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32806" y="6383383"/>
            <a:ext cx="1016725" cy="474617"/>
          </a:xfrm>
        </p:spPr>
        <p:txBody>
          <a:bodyPr/>
          <a:lstStyle/>
          <a:p>
            <a:r>
              <a:rPr lang="en-US" altLang="ko-KR" dirty="0"/>
              <a:t>06/01/2023</a:t>
            </a:r>
            <a:endParaRPr lang="en-US" dirty="0"/>
          </a:p>
        </p:txBody>
      </p:sp>
      <p:graphicFrame>
        <p:nvGraphicFramePr>
          <p:cNvPr id="5" name="표 6">
            <a:extLst>
              <a:ext uri="{FF2B5EF4-FFF2-40B4-BE49-F238E27FC236}">
                <a16:creationId xmlns:a16="http://schemas.microsoft.com/office/drawing/2014/main" id="{B6C9FB9C-9FE0-A86D-1CDA-36ED2123796F}"/>
              </a:ext>
            </a:extLst>
          </p:cNvPr>
          <p:cNvGraphicFramePr>
            <a:graphicFrameLocks noGrp="1"/>
          </p:cNvGraphicFramePr>
          <p:nvPr/>
        </p:nvGraphicFramePr>
        <p:xfrm>
          <a:off x="4378037" y="1995568"/>
          <a:ext cx="7176653" cy="472834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390749">
                  <a:extLst>
                    <a:ext uri="{9D8B030D-6E8A-4147-A177-3AD203B41FA5}">
                      <a16:colId xmlns:a16="http://schemas.microsoft.com/office/drawing/2014/main" val="4174394798"/>
                    </a:ext>
                  </a:extLst>
                </a:gridCol>
                <a:gridCol w="1446476">
                  <a:extLst>
                    <a:ext uri="{9D8B030D-6E8A-4147-A177-3AD203B41FA5}">
                      <a16:colId xmlns:a16="http://schemas.microsoft.com/office/drawing/2014/main" val="3319405526"/>
                    </a:ext>
                  </a:extLst>
                </a:gridCol>
                <a:gridCol w="1446476">
                  <a:extLst>
                    <a:ext uri="{9D8B030D-6E8A-4147-A177-3AD203B41FA5}">
                      <a16:colId xmlns:a16="http://schemas.microsoft.com/office/drawing/2014/main" val="1938649275"/>
                    </a:ext>
                  </a:extLst>
                </a:gridCol>
                <a:gridCol w="1446476">
                  <a:extLst>
                    <a:ext uri="{9D8B030D-6E8A-4147-A177-3AD203B41FA5}">
                      <a16:colId xmlns:a16="http://schemas.microsoft.com/office/drawing/2014/main" val="715375755"/>
                    </a:ext>
                  </a:extLst>
                </a:gridCol>
                <a:gridCol w="1446476">
                  <a:extLst>
                    <a:ext uri="{9D8B030D-6E8A-4147-A177-3AD203B41FA5}">
                      <a16:colId xmlns:a16="http://schemas.microsoft.com/office/drawing/2014/main" val="2218404838"/>
                    </a:ext>
                  </a:extLst>
                </a:gridCol>
              </a:tblGrid>
              <a:tr h="473427"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dirty="0"/>
                        <a:t>유통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dirty="0"/>
                        <a:t>제조 </a:t>
                      </a:r>
                      <a:endParaRPr lang="en-US" altLang="ko-K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dirty="0"/>
                        <a:t>GO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ko-KR" altLang="en-US" dirty="0"/>
                        <a:t>상품관리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dirty="0"/>
                        <a:t>학교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52923361"/>
                  </a:ext>
                </a:extLst>
              </a:tr>
              <a:tr h="473427"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dirty="0"/>
                        <a:t>기획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dirty="0"/>
                        <a:t>R&amp;D </a:t>
                      </a:r>
                      <a:endParaRPr lang="ko-KR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dirty="0"/>
                        <a:t>Condition deal</a:t>
                      </a:r>
                      <a:r>
                        <a:rPr lang="ko-KR" altLang="en-US" dirty="0"/>
                        <a:t> </a:t>
                      </a:r>
                      <a:r>
                        <a:rPr lang="en-US" altLang="ko-KR" dirty="0"/>
                        <a:t> </a:t>
                      </a:r>
                      <a:endParaRPr lang="ko-KR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ko-KR" altLang="en-US" dirty="0"/>
                        <a:t>디자인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dirty="0"/>
                        <a:t> 선택학습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88299064"/>
                  </a:ext>
                </a:extLst>
              </a:tr>
              <a:tr h="473427"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dirty="0"/>
                        <a:t>GOS</a:t>
                      </a:r>
                      <a:endParaRPr lang="ko-KR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dirty="0"/>
                        <a:t>신제품</a:t>
                      </a:r>
                      <a:r>
                        <a:rPr lang="en-US" altLang="ko-KR" dirty="0"/>
                        <a:t> </a:t>
                      </a:r>
                      <a:r>
                        <a:rPr lang="ko-KR" altLang="en-US" dirty="0"/>
                        <a:t>확인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dirty="0"/>
                        <a:t>P</a:t>
                      </a:r>
                      <a:endParaRPr lang="ko-KR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ko-KR" altLang="en-US" dirty="0"/>
                        <a:t>가공</a:t>
                      </a:r>
                      <a:r>
                        <a:rPr lang="en-US" altLang="ko-KR" dirty="0"/>
                        <a:t>/</a:t>
                      </a:r>
                      <a:r>
                        <a:rPr lang="ko-KR" altLang="en-US" dirty="0"/>
                        <a:t>분반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dirty="0"/>
                        <a:t>숙제</a:t>
                      </a:r>
                      <a:r>
                        <a:rPr lang="en-US" altLang="ko-KR" dirty="0"/>
                        <a:t>/</a:t>
                      </a:r>
                      <a:r>
                        <a:rPr lang="ko-KR" altLang="en-US" dirty="0" err="1"/>
                        <a:t>레포트</a:t>
                      </a:r>
                      <a:endParaRPr lang="ko-KR" alt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93731792"/>
                  </a:ext>
                </a:extLst>
              </a:tr>
              <a:tr h="473427"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dirty="0"/>
                        <a:t>상권분리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dirty="0" err="1"/>
                        <a:t>시장력</a:t>
                      </a:r>
                      <a:r>
                        <a:rPr lang="ko-KR" altLang="en-US" dirty="0"/>
                        <a:t> 검증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dirty="0"/>
                        <a:t>C</a:t>
                      </a:r>
                      <a:endParaRPr lang="ko-KR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ko-KR" altLang="en-US" dirty="0"/>
                        <a:t>포장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dirty="0"/>
                        <a:t>동아리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50396362"/>
                  </a:ext>
                </a:extLst>
              </a:tr>
              <a:tr h="473427"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dirty="0"/>
                        <a:t>품질 관리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dirty="0"/>
                        <a:t>Co</a:t>
                      </a:r>
                      <a:r>
                        <a:rPr lang="ko-KR" altLang="en-US" dirty="0"/>
                        <a:t> </a:t>
                      </a:r>
                      <a:r>
                        <a:rPr lang="en-US" altLang="ko-KR" dirty="0"/>
                        <a:t>-</a:t>
                      </a:r>
                      <a:r>
                        <a:rPr lang="ko-KR" altLang="en-US" dirty="0"/>
                        <a:t> </a:t>
                      </a:r>
                      <a:r>
                        <a:rPr lang="en-US" altLang="ko-KR" dirty="0" err="1"/>
                        <a:t>Prodution</a:t>
                      </a:r>
                      <a:endParaRPr lang="ko-KR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dirty="0" err="1"/>
                        <a:t>디지인</a:t>
                      </a:r>
                      <a:r>
                        <a:rPr lang="en-US" altLang="ko-KR" dirty="0"/>
                        <a:t> </a:t>
                      </a:r>
                      <a:r>
                        <a:rPr lang="ko-KR" altLang="en-US" dirty="0"/>
                        <a:t>변경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ko-KR" altLang="en-US" dirty="0"/>
                        <a:t>상품배열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dirty="0"/>
                        <a:t>리그전 참가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2311709"/>
                  </a:ext>
                </a:extLst>
              </a:tr>
              <a:tr h="473427"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dirty="0"/>
                        <a:t>재고관리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dirty="0"/>
                        <a:t>특허</a:t>
                      </a:r>
                    </a:p>
                    <a:p>
                      <a:pPr latinLnBrk="1"/>
                      <a:endParaRPr lang="ko-KR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dirty="0"/>
                        <a:t>법적 문제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ko-KR" altLang="en-US" dirty="0"/>
                        <a:t>상품 </a:t>
                      </a:r>
                      <a:r>
                        <a:rPr lang="ko-KR" altLang="en-US" dirty="0" err="1"/>
                        <a:t>그룹핑</a:t>
                      </a:r>
                      <a:r>
                        <a:rPr lang="ko-KR" altLang="en-US" dirty="0"/>
                        <a:t>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dirty="0"/>
                        <a:t>그룹학습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98870283"/>
                  </a:ext>
                </a:extLst>
              </a:tr>
              <a:tr h="473427"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dirty="0"/>
                        <a:t>Macro</a:t>
                      </a:r>
                      <a:r>
                        <a:rPr lang="ko-KR" altLang="en-US" dirty="0"/>
                        <a:t> </a:t>
                      </a:r>
                      <a:r>
                        <a:rPr lang="en-US" altLang="ko-KR" dirty="0"/>
                        <a:t>– Ful </a:t>
                      </a:r>
                      <a:r>
                        <a:rPr lang="en-US" altLang="ko-KR" dirty="0" err="1"/>
                        <a:t>fillment</a:t>
                      </a:r>
                      <a:r>
                        <a:rPr lang="en-US" altLang="ko-KR" dirty="0"/>
                        <a:t> Sys.</a:t>
                      </a:r>
                      <a:endParaRPr lang="ko-KR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dirty="0"/>
                        <a:t> </a:t>
                      </a:r>
                    </a:p>
                    <a:p>
                      <a:pPr latinLnBrk="1"/>
                      <a:r>
                        <a:rPr lang="ko-KR" altLang="en-US" dirty="0"/>
                        <a:t>공정관리</a:t>
                      </a:r>
                      <a:r>
                        <a:rPr lang="en-US" altLang="ko-KR" dirty="0"/>
                        <a:t> </a:t>
                      </a:r>
                      <a:endParaRPr lang="ko-KR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dirty="0"/>
                        <a:t>재고</a:t>
                      </a:r>
                      <a:r>
                        <a:rPr lang="en-US" altLang="ko-KR" dirty="0"/>
                        <a:t> </a:t>
                      </a:r>
                      <a:r>
                        <a:rPr lang="ko-KR" altLang="en-US" dirty="0"/>
                        <a:t>상품</a:t>
                      </a:r>
                      <a:r>
                        <a:rPr lang="en-US" altLang="ko-KR" dirty="0"/>
                        <a:t> </a:t>
                      </a:r>
                      <a:r>
                        <a:rPr lang="ko-KR" altLang="en-US" dirty="0"/>
                        <a:t>처리</a:t>
                      </a:r>
                    </a:p>
                    <a:p>
                      <a:pPr latinLnBrk="1"/>
                      <a:endParaRPr lang="ko-KR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ko-KR" altLang="en-US" dirty="0"/>
                        <a:t>신선도 관리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dirty="0" err="1"/>
                        <a:t>자율복습</a:t>
                      </a:r>
                      <a:r>
                        <a:rPr lang="ko-KR" altLang="en-US" dirty="0"/>
                        <a:t>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13707032"/>
                  </a:ext>
                </a:extLst>
              </a:tr>
              <a:tr h="473427"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dirty="0"/>
                        <a:t>최적 운송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dirty="0"/>
                        <a:t>판매처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dirty="0"/>
                        <a:t>OS </a:t>
                      </a:r>
                      <a:r>
                        <a:rPr lang="ko-KR" altLang="en-US" dirty="0"/>
                        <a:t>선택</a:t>
                      </a:r>
                      <a:r>
                        <a:rPr lang="en-US" altLang="ko-KR" dirty="0"/>
                        <a:t> </a:t>
                      </a:r>
                      <a:endParaRPr lang="ko-KR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ko-KR" altLang="en-US" dirty="0"/>
                        <a:t>폐기</a:t>
                      </a:r>
                      <a:r>
                        <a:rPr lang="en-US" altLang="ko-KR" dirty="0"/>
                        <a:t>/</a:t>
                      </a:r>
                      <a:r>
                        <a:rPr lang="ko-KR" altLang="en-US" dirty="0" err="1"/>
                        <a:t>땡처리</a:t>
                      </a:r>
                      <a:r>
                        <a:rPr lang="ko-KR" altLang="en-US" dirty="0"/>
                        <a:t>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dirty="0" err="1"/>
                        <a:t>자율예습</a:t>
                      </a:r>
                      <a:endParaRPr lang="ko-KR" alt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92150663"/>
                  </a:ext>
                </a:extLst>
              </a:tr>
            </a:tbl>
          </a:graphicData>
        </a:graphic>
      </p:graphicFrame>
      <p:sp>
        <p:nvSpPr>
          <p:cNvPr id="7" name="TextBox 6">
            <a:extLst>
              <a:ext uri="{FF2B5EF4-FFF2-40B4-BE49-F238E27FC236}">
                <a16:creationId xmlns:a16="http://schemas.microsoft.com/office/drawing/2014/main" id="{EF0FB6CB-E1D0-29F1-7E26-B4E7121E5C68}"/>
              </a:ext>
            </a:extLst>
          </p:cNvPr>
          <p:cNvSpPr txBox="1"/>
          <p:nvPr/>
        </p:nvSpPr>
        <p:spPr>
          <a:xfrm>
            <a:off x="9984508" y="1555483"/>
            <a:ext cx="157018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dirty="0"/>
              <a:t>활용 예시 </a:t>
            </a:r>
            <a:r>
              <a:rPr lang="en-US" altLang="ko-KR" dirty="0"/>
              <a:t>:</a:t>
            </a:r>
            <a:endParaRPr lang="ko-KR" altLang="en-US" dirty="0"/>
          </a:p>
        </p:txBody>
      </p:sp>
      <p:graphicFrame>
        <p:nvGraphicFramePr>
          <p:cNvPr id="10" name="다이어그램 9">
            <a:extLst>
              <a:ext uri="{FF2B5EF4-FFF2-40B4-BE49-F238E27FC236}">
                <a16:creationId xmlns:a16="http://schemas.microsoft.com/office/drawing/2014/main" id="{88116D07-40FD-C63D-45A1-D92A04CCAA4A}"/>
              </a:ext>
            </a:extLst>
          </p:cNvPr>
          <p:cNvGraphicFramePr/>
          <p:nvPr/>
        </p:nvGraphicFramePr>
        <p:xfrm>
          <a:off x="1565695" y="1995568"/>
          <a:ext cx="2013527" cy="445731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4" name="제목 1">
            <a:extLst>
              <a:ext uri="{FF2B5EF4-FFF2-40B4-BE49-F238E27FC236}">
                <a16:creationId xmlns:a16="http://schemas.microsoft.com/office/drawing/2014/main" id="{889BAC44-FB9F-AFEA-DC87-A44827FB7BB4}"/>
              </a:ext>
            </a:extLst>
          </p:cNvPr>
          <p:cNvSpPr txBox="1">
            <a:spLocks/>
          </p:cNvSpPr>
          <p:nvPr/>
        </p:nvSpPr>
        <p:spPr>
          <a:xfrm>
            <a:off x="131846" y="58750"/>
            <a:ext cx="11558160" cy="906925"/>
          </a:xfrm>
          <a:prstGeom prst="rect">
            <a:avLst/>
          </a:prstGeom>
          <a:solidFill>
            <a:srgbClr val="0070C0"/>
          </a:solidFill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1" hangingPunct="1">
              <a:lnSpc>
                <a:spcPct val="85000"/>
              </a:lnSpc>
              <a:spcBef>
                <a:spcPct val="0"/>
              </a:spcBef>
              <a:buNone/>
              <a:defRPr sz="5400" kern="1200" spc="-120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altLang="ko-KR" sz="3600" b="1" kern="0" dirty="0">
                <a:solidFill>
                  <a:schemeClr val="bg1"/>
                </a:solidFill>
                <a:latin typeface="+mj-ea"/>
              </a:rPr>
              <a:t>III. </a:t>
            </a:r>
            <a:r>
              <a:rPr lang="ko-KR" altLang="en-US" sz="3600" b="1" dirty="0">
                <a:solidFill>
                  <a:schemeClr val="bg1"/>
                </a:solidFill>
                <a:latin typeface="+mj-ea"/>
              </a:rPr>
              <a:t>빅데이터</a:t>
            </a:r>
            <a:r>
              <a:rPr lang="en-US" altLang="ko-KR" sz="3600" b="1" dirty="0">
                <a:solidFill>
                  <a:schemeClr val="bg1"/>
                </a:solidFill>
                <a:latin typeface="+mj-ea"/>
              </a:rPr>
              <a:t> &amp; AI</a:t>
            </a:r>
            <a:r>
              <a:rPr lang="ko-KR" altLang="en-US" sz="3600" b="1" dirty="0">
                <a:solidFill>
                  <a:schemeClr val="bg1"/>
                </a:solidFill>
                <a:latin typeface="+mj-ea"/>
              </a:rPr>
              <a:t>의 </a:t>
            </a:r>
            <a:r>
              <a:rPr lang="ko-KR" altLang="en-US" sz="3600" b="1" dirty="0" smtClean="0">
                <a:solidFill>
                  <a:schemeClr val="bg1"/>
                </a:solidFill>
                <a:latin typeface="+mj-ea"/>
              </a:rPr>
              <a:t> 유통산업 내 활용 사례</a:t>
            </a:r>
            <a:endParaRPr lang="ko-KR" altLang="en-US" sz="3600" dirty="0">
              <a:solidFill>
                <a:schemeClr val="bg1"/>
              </a:solidFill>
              <a:latin typeface="HY강B" panose="02030600000101010101" pitchFamily="18" charset="-127"/>
              <a:ea typeface="HY강B" panose="02030600000101010101" pitchFamily="18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89498670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266" name="Rectangle 2" hidden="1"/>
          <p:cNvGraphicFramePr>
            <a:graphicFrameLocks noSelect="1"/>
          </p:cNvGraphicFramePr>
          <p:nvPr/>
        </p:nvGraphicFramePr>
        <p:xfrm>
          <a:off x="152400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2"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11266" name="Rectangle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400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2"/>
          <p:cNvSpPr>
            <a:spLocks noChangeArrowheads="1"/>
          </p:cNvSpPr>
          <p:nvPr/>
        </p:nvSpPr>
        <p:spPr>
          <a:xfrm>
            <a:off x="155339" y="233966"/>
            <a:ext cx="3985837" cy="944532"/>
          </a:xfrm>
          <a:prstGeom prst="rect">
            <a:avLst/>
          </a:prstGeom>
          <a:solidFill>
            <a:srgbClr val="002060"/>
          </a:solidFill>
          <a:ln w="12700" algn="ctr">
            <a:noFill/>
            <a:miter/>
          </a:ln>
        </p:spPr>
        <p:txBody>
          <a:bodyPr wrap="none" lIns="72000" tIns="72000" rIns="72000" bIns="72000" anchor="ctr"/>
          <a:lstStyle/>
          <a:p>
            <a:pPr algn="ctr" latinLnBrk="0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7D0900"/>
              </a:buClr>
              <a:defRPr/>
            </a:pPr>
            <a:endParaRPr kumimoji="0" lang="ko-KR" altLang="en-US">
              <a:solidFill>
                <a:srgbClr val="000000"/>
              </a:solidFill>
              <a:latin typeface="Arial"/>
              <a:ea typeface="맑은 고딕"/>
            </a:endParaRPr>
          </a:p>
        </p:txBody>
      </p:sp>
      <p:sp>
        <p:nvSpPr>
          <p:cNvPr id="11268" name="Rectangle 5"/>
          <p:cNvSpPr>
            <a:spLocks noGrp="1" noChangeArrowheads="1"/>
          </p:cNvSpPr>
          <p:nvPr>
            <p:ph type="title"/>
          </p:nvPr>
        </p:nvSpPr>
        <p:spPr>
          <a:xfrm>
            <a:off x="240869" y="484633"/>
            <a:ext cx="3768423" cy="443198"/>
          </a:xfrm>
        </p:spPr>
        <p:txBody>
          <a:bodyPr>
            <a:normAutofit fontScale="90000"/>
          </a:bodyPr>
          <a:lstStyle/>
          <a:p>
            <a:pPr lvl="0">
              <a:defRPr/>
            </a:pPr>
            <a:r>
              <a:rPr lang="ko-KR" altLang="en-US" sz="3200" dirty="0" smtClean="0">
                <a:solidFill>
                  <a:schemeClr val="bg1"/>
                </a:solidFill>
              </a:rPr>
              <a:t>  목       차</a:t>
            </a:r>
            <a:r>
              <a:rPr lang="en-US" altLang="ko-KR" sz="3200" dirty="0" smtClean="0">
                <a:solidFill>
                  <a:schemeClr val="bg1"/>
                </a:solidFill>
              </a:rPr>
              <a:t>( 1~ 40)</a:t>
            </a:r>
            <a:endParaRPr lang="ko-KR" altLang="en-US" sz="3200" dirty="0">
              <a:solidFill>
                <a:schemeClr val="bg1"/>
              </a:solidFill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90686A41-EB54-EA5A-60B1-EA831685279B}"/>
              </a:ext>
            </a:extLst>
          </p:cNvPr>
          <p:cNvSpPr txBox="1"/>
          <p:nvPr/>
        </p:nvSpPr>
        <p:spPr>
          <a:xfrm>
            <a:off x="1591464" y="1798880"/>
            <a:ext cx="9417912" cy="3508653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>
              <a:lnSpc>
                <a:spcPct val="200000"/>
              </a:lnSpc>
              <a:spcBef>
                <a:spcPts val="1200"/>
              </a:spcBef>
              <a:spcAft>
                <a:spcPts val="0"/>
              </a:spcAft>
              <a:buClr>
                <a:srgbClr val="FFFFFF"/>
              </a:buClr>
              <a:defRPr/>
            </a:pPr>
            <a:r>
              <a:rPr kumimoji="0" lang="en-US" altLang="ko-KR" sz="2400" b="1" kern="0" dirty="0">
                <a:solidFill>
                  <a:schemeClr val="tx1"/>
                </a:solidFill>
                <a:latin typeface="+mj-ea"/>
                <a:ea typeface="+mj-ea"/>
              </a:rPr>
              <a:t> I. </a:t>
            </a:r>
            <a:r>
              <a:rPr kumimoji="0" lang="ko-KR" altLang="en-US" sz="2400" b="1" kern="0" dirty="0">
                <a:solidFill>
                  <a:schemeClr val="tx1"/>
                </a:solidFill>
                <a:latin typeface="+mj-ea"/>
                <a:ea typeface="+mj-ea"/>
              </a:rPr>
              <a:t>서론</a:t>
            </a:r>
            <a:r>
              <a:rPr kumimoji="0" lang="en-US" altLang="ko-KR" sz="2400" b="1" kern="0" dirty="0">
                <a:solidFill>
                  <a:schemeClr val="tx1"/>
                </a:solidFill>
                <a:latin typeface="+mj-ea"/>
                <a:ea typeface="+mj-ea"/>
              </a:rPr>
              <a:t>: </a:t>
            </a:r>
            <a:r>
              <a:rPr kumimoji="0" lang="ko-KR" altLang="en-US" sz="2400" b="1" kern="0" dirty="0">
                <a:solidFill>
                  <a:schemeClr val="tx1"/>
                </a:solidFill>
                <a:latin typeface="+mj-ea"/>
                <a:ea typeface="+mj-ea"/>
              </a:rPr>
              <a:t>연구 목적</a:t>
            </a:r>
            <a:r>
              <a:rPr kumimoji="0" lang="en-US" altLang="ko-KR" sz="2400" b="1" kern="0" dirty="0">
                <a:solidFill>
                  <a:schemeClr val="tx1"/>
                </a:solidFill>
                <a:latin typeface="+mj-ea"/>
                <a:ea typeface="+mj-ea"/>
              </a:rPr>
              <a:t>/</a:t>
            </a:r>
            <a:r>
              <a:rPr kumimoji="0" lang="ko-KR" altLang="en-US" sz="2400" b="1" kern="0" dirty="0">
                <a:solidFill>
                  <a:schemeClr val="tx1"/>
                </a:solidFill>
                <a:latin typeface="+mj-ea"/>
                <a:ea typeface="+mj-ea"/>
              </a:rPr>
              <a:t>연구 방법론</a:t>
            </a:r>
            <a:r>
              <a:rPr kumimoji="0" lang="en-US" altLang="ko-KR" sz="2400" b="1" kern="0" dirty="0">
                <a:solidFill>
                  <a:schemeClr val="tx1"/>
                </a:solidFill>
                <a:latin typeface="+mj-ea"/>
                <a:ea typeface="+mj-ea"/>
              </a:rPr>
              <a:t>/</a:t>
            </a:r>
            <a:r>
              <a:rPr kumimoji="0" lang="ko-KR" altLang="en-US" sz="2400" b="1" kern="0" dirty="0">
                <a:solidFill>
                  <a:schemeClr val="tx1"/>
                </a:solidFill>
                <a:latin typeface="+mj-ea"/>
                <a:ea typeface="+mj-ea"/>
              </a:rPr>
              <a:t>선행연구와 </a:t>
            </a:r>
            <a:r>
              <a:rPr lang="en-US" altLang="ko-KR" sz="2400" b="1" dirty="0">
                <a:solidFill>
                  <a:schemeClr val="tx1"/>
                </a:solidFill>
              </a:rPr>
              <a:t>&amp; </a:t>
            </a:r>
            <a:r>
              <a:rPr lang="ko-KR" altLang="en-US" sz="2400" b="1" dirty="0">
                <a:solidFill>
                  <a:schemeClr val="tx1"/>
                </a:solidFill>
              </a:rPr>
              <a:t>본 연구의 </a:t>
            </a:r>
            <a:r>
              <a:rPr lang="ko-KR" altLang="en-US" sz="2400" b="1" dirty="0" smtClean="0">
                <a:solidFill>
                  <a:schemeClr val="tx1"/>
                </a:solidFill>
              </a:rPr>
              <a:t>차별성</a:t>
            </a:r>
            <a:r>
              <a:rPr lang="en-US" altLang="ko-KR" sz="2400" b="1" dirty="0" smtClean="0">
                <a:solidFill>
                  <a:schemeClr val="tx1"/>
                </a:solidFill>
              </a:rPr>
              <a:t>- 1</a:t>
            </a:r>
            <a:endParaRPr kumimoji="0" lang="ko-KR" altLang="en-US" sz="2400" b="1" kern="0" dirty="0">
              <a:solidFill>
                <a:schemeClr val="tx1"/>
              </a:solidFill>
              <a:latin typeface="+mj-ea"/>
              <a:ea typeface="+mj-ea"/>
            </a:endParaRPr>
          </a:p>
          <a:p>
            <a:pPr>
              <a:lnSpc>
                <a:spcPct val="200000"/>
              </a:lnSpc>
              <a:spcBef>
                <a:spcPts val="1200"/>
              </a:spcBef>
              <a:spcAft>
                <a:spcPts val="0"/>
              </a:spcAft>
              <a:buClr>
                <a:srgbClr val="FFFFFF"/>
              </a:buClr>
              <a:defRPr/>
            </a:pPr>
            <a:r>
              <a:rPr kumimoji="0" lang="en-US" altLang="ko-KR" sz="2400" b="1" kern="0" dirty="0">
                <a:solidFill>
                  <a:schemeClr val="tx1"/>
                </a:solidFill>
                <a:latin typeface="+mj-ea"/>
                <a:ea typeface="+mj-ea"/>
              </a:rPr>
              <a:t> II. </a:t>
            </a:r>
            <a:r>
              <a:rPr lang="ko-KR" altLang="en-US" sz="2400" b="1" dirty="0">
                <a:solidFill>
                  <a:schemeClr val="tx1"/>
                </a:solidFill>
                <a:latin typeface="+mj-ea"/>
                <a:ea typeface="+mj-ea"/>
              </a:rPr>
              <a:t>빅데이터</a:t>
            </a:r>
            <a:r>
              <a:rPr lang="en-US" altLang="ko-KR" sz="2400" b="1" dirty="0">
                <a:solidFill>
                  <a:schemeClr val="tx1"/>
                </a:solidFill>
                <a:latin typeface="+mj-ea"/>
                <a:ea typeface="+mj-ea"/>
              </a:rPr>
              <a:t> &amp; AI</a:t>
            </a:r>
            <a:r>
              <a:rPr lang="ko-KR" altLang="en-US" sz="2400" b="1" dirty="0">
                <a:solidFill>
                  <a:schemeClr val="tx1"/>
                </a:solidFill>
                <a:latin typeface="+mj-ea"/>
                <a:ea typeface="+mj-ea"/>
              </a:rPr>
              <a:t>의 의미와 산업사회의 </a:t>
            </a:r>
            <a:r>
              <a:rPr lang="ko-KR" altLang="en-US" sz="2400" b="1" dirty="0" smtClean="0">
                <a:solidFill>
                  <a:schemeClr val="tx1"/>
                </a:solidFill>
                <a:latin typeface="+mj-ea"/>
                <a:ea typeface="+mj-ea"/>
              </a:rPr>
              <a:t>변화 </a:t>
            </a:r>
            <a:r>
              <a:rPr lang="en-US" altLang="ko-KR" sz="2400" b="1" dirty="0" smtClean="0">
                <a:solidFill>
                  <a:schemeClr val="tx1"/>
                </a:solidFill>
                <a:latin typeface="+mj-ea"/>
                <a:ea typeface="+mj-ea"/>
              </a:rPr>
              <a:t>-7 </a:t>
            </a:r>
            <a:endParaRPr lang="en-US" altLang="ko-KR" sz="2400" b="1" dirty="0">
              <a:solidFill>
                <a:schemeClr val="tx1"/>
              </a:solidFill>
              <a:latin typeface="+mj-ea"/>
              <a:ea typeface="+mj-ea"/>
            </a:endParaRPr>
          </a:p>
          <a:p>
            <a:pPr>
              <a:lnSpc>
                <a:spcPct val="200000"/>
              </a:lnSpc>
              <a:spcBef>
                <a:spcPts val="1200"/>
              </a:spcBef>
              <a:spcAft>
                <a:spcPts val="0"/>
              </a:spcAft>
              <a:buClr>
                <a:srgbClr val="FFFFFF"/>
              </a:buClr>
              <a:defRPr/>
            </a:pPr>
            <a:r>
              <a:rPr lang="en-US" altLang="ko-KR" sz="2400" b="1" kern="0" dirty="0">
                <a:solidFill>
                  <a:schemeClr val="tx1"/>
                </a:solidFill>
                <a:latin typeface="+mj-ea"/>
                <a:ea typeface="+mj-ea"/>
              </a:rPr>
              <a:t> III</a:t>
            </a:r>
            <a:r>
              <a:rPr kumimoji="0" lang="en-US" altLang="ko-KR" sz="2400" b="1" kern="0" dirty="0">
                <a:solidFill>
                  <a:schemeClr val="tx1"/>
                </a:solidFill>
                <a:latin typeface="+mj-ea"/>
                <a:ea typeface="+mj-ea"/>
              </a:rPr>
              <a:t>. </a:t>
            </a:r>
            <a:r>
              <a:rPr lang="ko-KR" altLang="en-US" sz="2400" b="1" dirty="0">
                <a:solidFill>
                  <a:schemeClr val="tx1"/>
                </a:solidFill>
                <a:latin typeface="+mj-ea"/>
              </a:rPr>
              <a:t>빅데이터</a:t>
            </a:r>
            <a:r>
              <a:rPr lang="en-US" altLang="ko-KR" sz="2400" b="1" dirty="0">
                <a:solidFill>
                  <a:schemeClr val="tx1"/>
                </a:solidFill>
                <a:latin typeface="+mj-ea"/>
              </a:rPr>
              <a:t> &amp; AI</a:t>
            </a:r>
            <a:r>
              <a:rPr lang="ko-KR" altLang="en-US" sz="2400" b="1" dirty="0">
                <a:solidFill>
                  <a:schemeClr val="tx1"/>
                </a:solidFill>
                <a:latin typeface="+mj-ea"/>
              </a:rPr>
              <a:t>의 유통산업 내 활용 사례 </a:t>
            </a:r>
            <a:r>
              <a:rPr lang="en-US" altLang="ko-KR" sz="2400" b="1" dirty="0" smtClean="0">
                <a:solidFill>
                  <a:schemeClr val="tx1"/>
                </a:solidFill>
                <a:latin typeface="+mj-ea"/>
              </a:rPr>
              <a:t>- 19 </a:t>
            </a:r>
            <a:endParaRPr lang="ko-KR" altLang="en-US" sz="2400" dirty="0">
              <a:solidFill>
                <a:schemeClr val="tx1"/>
              </a:solidFill>
            </a:endParaRPr>
          </a:p>
          <a:p>
            <a:pPr>
              <a:lnSpc>
                <a:spcPct val="200000"/>
              </a:lnSpc>
              <a:spcBef>
                <a:spcPts val="1200"/>
              </a:spcBef>
              <a:spcAft>
                <a:spcPts val="0"/>
              </a:spcAft>
              <a:buClr>
                <a:srgbClr val="FFFFFF"/>
              </a:buClr>
              <a:defRPr/>
            </a:pPr>
            <a:r>
              <a:rPr lang="en-US" altLang="ko-KR" sz="2400" b="1" kern="0" dirty="0">
                <a:solidFill>
                  <a:schemeClr val="tx1"/>
                </a:solidFill>
                <a:latin typeface="+mj-ea"/>
                <a:ea typeface="+mj-ea"/>
              </a:rPr>
              <a:t> IV. </a:t>
            </a:r>
            <a:r>
              <a:rPr lang="ko-KR" altLang="en-US" sz="2400" b="1" kern="0" dirty="0">
                <a:solidFill>
                  <a:schemeClr val="tx1"/>
                </a:solidFill>
                <a:latin typeface="+mj-ea"/>
                <a:ea typeface="+mj-ea"/>
              </a:rPr>
              <a:t>유통기업내 활용전략 및 </a:t>
            </a:r>
            <a:r>
              <a:rPr lang="ko-KR" altLang="en-US" sz="2400" b="1" kern="0" dirty="0" smtClean="0">
                <a:solidFill>
                  <a:schemeClr val="tx1"/>
                </a:solidFill>
                <a:latin typeface="+mj-ea"/>
                <a:ea typeface="+mj-ea"/>
              </a:rPr>
              <a:t>정부지원 정책제안</a:t>
            </a:r>
            <a:r>
              <a:rPr lang="en-US" altLang="ko-KR" sz="2400" b="1" kern="0" dirty="0" smtClean="0">
                <a:solidFill>
                  <a:schemeClr val="tx1"/>
                </a:solidFill>
                <a:latin typeface="+mj-ea"/>
                <a:ea typeface="+mj-ea"/>
              </a:rPr>
              <a:t>-</a:t>
            </a:r>
            <a:r>
              <a:rPr lang="ko-KR" altLang="en-US" sz="2400" b="1" kern="0" dirty="0" smtClean="0">
                <a:solidFill>
                  <a:schemeClr val="tx1"/>
                </a:solidFill>
                <a:latin typeface="+mj-ea"/>
                <a:ea typeface="+mj-ea"/>
              </a:rPr>
              <a:t> </a:t>
            </a:r>
            <a:r>
              <a:rPr lang="en-US" altLang="ko-KR" sz="2400" b="1" kern="0" dirty="0" smtClean="0">
                <a:solidFill>
                  <a:schemeClr val="tx1"/>
                </a:solidFill>
                <a:latin typeface="+mj-ea"/>
                <a:ea typeface="+mj-ea"/>
              </a:rPr>
              <a:t>25</a:t>
            </a:r>
            <a:r>
              <a:rPr lang="ko-KR" altLang="en-US" sz="2400" b="1" kern="0" dirty="0" smtClean="0">
                <a:solidFill>
                  <a:schemeClr val="tx1"/>
                </a:solidFill>
                <a:latin typeface="+mj-ea"/>
                <a:ea typeface="+mj-ea"/>
              </a:rPr>
              <a:t>  </a:t>
            </a:r>
            <a:endParaRPr kumimoji="0" lang="en-US" altLang="ko-KR" sz="2400" b="1" kern="0" dirty="0">
              <a:solidFill>
                <a:schemeClr val="tx1"/>
              </a:solidFill>
              <a:latin typeface="+mj-ea"/>
              <a:ea typeface="+mj-ea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advClick="0"/>
    </mc:Choice>
    <mc:Fallback xmlns="" xmlns:c="http://schemas.openxmlformats.org/drawingml/2006/chart" xmlns:dgm="http://schemas.openxmlformats.org/drawingml/2006/diagram" xmlns:dsp="http://schemas.microsoft.com/office/drawing/2008/diagram">
      <p:transition/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FDF68FC-CD59-45D2-ABC1-5F93AE6F73A8}" type="datetime1">
              <a:rPr lang="en-US" altLang="ko-KR" smtClean="0"/>
              <a:t>6/22/2023</a:t>
            </a:fld>
            <a:endParaRPr lang="en-US" dirty="0"/>
          </a:p>
        </p:txBody>
      </p:sp>
      <p:sp>
        <p:nvSpPr>
          <p:cNvPr id="5" name="슬라이드 번호 개체 틀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smtClean="0"/>
              <a:t>20</a:t>
            </a:fld>
            <a:endParaRPr lang="en-US" dirty="0"/>
          </a:p>
        </p:txBody>
      </p:sp>
      <p:sp>
        <p:nvSpPr>
          <p:cNvPr id="7" name="TextBox 6"/>
          <p:cNvSpPr txBox="1"/>
          <p:nvPr/>
        </p:nvSpPr>
        <p:spPr>
          <a:xfrm>
            <a:off x="131846" y="1111362"/>
            <a:ext cx="4549194" cy="369332"/>
          </a:xfrm>
          <a:prstGeom prst="rect">
            <a:avLst/>
          </a:prstGeom>
          <a:solidFill>
            <a:srgbClr val="002060"/>
          </a:solidFill>
          <a:ln>
            <a:solidFill>
              <a:schemeClr val="bg1"/>
            </a:solidFill>
          </a:ln>
        </p:spPr>
        <p:txBody>
          <a:bodyPr wrap="square" rtlCol="0">
            <a:spAutoFit/>
          </a:bodyPr>
          <a:lstStyle/>
          <a:p>
            <a:r>
              <a:rPr lang="ko-KR" altLang="en-US" dirty="0">
                <a:solidFill>
                  <a:schemeClr val="bg1"/>
                </a:solidFill>
              </a:rPr>
              <a:t>유통산업 내 </a:t>
            </a:r>
            <a:r>
              <a:rPr lang="ko-KR" altLang="en-US" dirty="0" err="1">
                <a:solidFill>
                  <a:schemeClr val="bg1"/>
                </a:solidFill>
              </a:rPr>
              <a:t>빅</a:t>
            </a:r>
            <a:r>
              <a:rPr lang="ko-KR" altLang="en-US" dirty="0">
                <a:solidFill>
                  <a:schemeClr val="bg1"/>
                </a:solidFill>
              </a:rPr>
              <a:t> 데이터의 활용 대상 범주     </a:t>
            </a:r>
          </a:p>
        </p:txBody>
      </p:sp>
      <p:graphicFrame>
        <p:nvGraphicFramePr>
          <p:cNvPr id="8" name="다이어그램 7"/>
          <p:cNvGraphicFramePr/>
          <p:nvPr>
            <p:extLst>
              <p:ext uri="{D42A27DB-BD31-4B8C-83A1-F6EECF244321}">
                <p14:modId xmlns:p14="http://schemas.microsoft.com/office/powerpoint/2010/main" val="1427935817"/>
              </p:ext>
            </p:extLst>
          </p:nvPr>
        </p:nvGraphicFramePr>
        <p:xfrm>
          <a:off x="251436" y="1323885"/>
          <a:ext cx="9884398" cy="561011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aphicFrame>
        <p:nvGraphicFramePr>
          <p:cNvPr id="9" name="다이어그램 8"/>
          <p:cNvGraphicFramePr/>
          <p:nvPr>
            <p:extLst>
              <p:ext uri="{D42A27DB-BD31-4B8C-83A1-F6EECF244321}">
                <p14:modId xmlns:p14="http://schemas.microsoft.com/office/powerpoint/2010/main" val="2779228491"/>
              </p:ext>
            </p:extLst>
          </p:nvPr>
        </p:nvGraphicFramePr>
        <p:xfrm>
          <a:off x="661587" y="3968497"/>
          <a:ext cx="2187723" cy="205892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sp>
        <p:nvSpPr>
          <p:cNvPr id="10" name="왼쪽/오른쪽 화살표 9"/>
          <p:cNvSpPr/>
          <p:nvPr/>
        </p:nvSpPr>
        <p:spPr>
          <a:xfrm>
            <a:off x="2657742" y="5725682"/>
            <a:ext cx="5050565" cy="686765"/>
          </a:xfrm>
          <a:prstGeom prst="leftRightArrow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altLang="ko-KR" dirty="0">
                <a:solidFill>
                  <a:srgbClr val="002060"/>
                </a:solidFill>
              </a:rPr>
              <a:t>Controlling by Big</a:t>
            </a:r>
            <a:r>
              <a:rPr lang="ko-KR" altLang="en-US" dirty="0">
                <a:solidFill>
                  <a:srgbClr val="002060"/>
                </a:solidFill>
              </a:rPr>
              <a:t> </a:t>
            </a:r>
            <a:r>
              <a:rPr lang="en-US" altLang="ko-KR" dirty="0">
                <a:solidFill>
                  <a:srgbClr val="002060"/>
                </a:solidFill>
              </a:rPr>
              <a:t>Data </a:t>
            </a:r>
            <a:r>
              <a:rPr lang="ko-KR" altLang="en-US" dirty="0">
                <a:solidFill>
                  <a:srgbClr val="002060"/>
                </a:solidFill>
              </a:rPr>
              <a:t> </a:t>
            </a:r>
          </a:p>
        </p:txBody>
      </p:sp>
      <p:sp>
        <p:nvSpPr>
          <p:cNvPr id="12" name="Rectangle 1"/>
          <p:cNvSpPr>
            <a:spLocks noChangeArrowheads="1"/>
          </p:cNvSpPr>
          <p:nvPr/>
        </p:nvSpPr>
        <p:spPr bwMode="auto">
          <a:xfrm>
            <a:off x="4914675" y="1323885"/>
            <a:ext cx="3811941" cy="297525"/>
          </a:xfrm>
          <a:prstGeom prst="rect">
            <a:avLst/>
          </a:prstGeom>
          <a:solidFill>
            <a:srgbClr val="92D050"/>
          </a:solidFill>
          <a:ln>
            <a:noFill/>
          </a:ln>
          <a:effectLst/>
        </p:spPr>
        <p:txBody>
          <a:bodyPr vert="horz" wrap="none" lIns="0" tIns="-12696" rIns="0" bIns="-12696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ko-KR" altLang="ko-KR" sz="2100" b="0" i="0" u="none" strike="noStrike" cap="none" normalizeH="0" baseline="0" dirty="0">
                <a:ln>
                  <a:noFill/>
                </a:ln>
                <a:solidFill>
                  <a:srgbClr val="202124"/>
                </a:solidFill>
                <a:effectLst/>
                <a:latin typeface="Arial Unicode MS" panose="020B0604020202020204" pitchFamily="50" charset="-127"/>
                <a:ea typeface="inherit"/>
              </a:rPr>
              <a:t>Strategy concept and targeting</a:t>
            </a:r>
            <a:r>
              <a:rPr kumimoji="0" lang="en-US" altLang="ko-KR" sz="2100" b="0" i="0" u="none" strike="noStrike" cap="none" normalizeH="0" baseline="0" dirty="0">
                <a:ln>
                  <a:noFill/>
                </a:ln>
                <a:solidFill>
                  <a:srgbClr val="202124"/>
                </a:solidFill>
                <a:effectLst/>
                <a:latin typeface="Arial Unicode MS" panose="020B0604020202020204" pitchFamily="50" charset="-127"/>
                <a:ea typeface="inherit"/>
              </a:rPr>
              <a:t>: </a:t>
            </a:r>
            <a:endParaRPr kumimoji="0" lang="ko-KR" altLang="ko-KR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09DD17E-49E5-1917-175F-2A183648E1EC}"/>
              </a:ext>
            </a:extLst>
          </p:cNvPr>
          <p:cNvSpPr txBox="1"/>
          <p:nvPr/>
        </p:nvSpPr>
        <p:spPr>
          <a:xfrm>
            <a:off x="10135834" y="4184551"/>
            <a:ext cx="1778884" cy="2308324"/>
          </a:xfrm>
          <a:prstGeom prst="rect">
            <a:avLst/>
          </a:prstGeom>
          <a:solidFill>
            <a:srgbClr val="FFC000"/>
          </a:solidFill>
        </p:spPr>
        <p:txBody>
          <a:bodyPr wrap="square" rtlCol="0">
            <a:spAutoFit/>
          </a:bodyPr>
          <a:lstStyle/>
          <a:p>
            <a:r>
              <a:rPr lang="en-US" altLang="ko-KR" dirty="0"/>
              <a:t>Customization</a:t>
            </a:r>
          </a:p>
          <a:p>
            <a:r>
              <a:rPr lang="en-US" altLang="ko-KR" dirty="0"/>
              <a:t>O</a:t>
            </a:r>
            <a:r>
              <a:rPr lang="ko-KR" altLang="en-US" dirty="0" err="1"/>
              <a:t>ptimization</a:t>
            </a:r>
            <a:endParaRPr lang="en-US" altLang="ko-KR" dirty="0"/>
          </a:p>
          <a:p>
            <a:endParaRPr lang="en-US" altLang="ko-KR" dirty="0"/>
          </a:p>
          <a:p>
            <a:r>
              <a:rPr lang="en-US" altLang="ko-KR" dirty="0"/>
              <a:t>&amp;</a:t>
            </a:r>
          </a:p>
          <a:p>
            <a:endParaRPr lang="en-US" altLang="ko-KR" dirty="0"/>
          </a:p>
          <a:p>
            <a:r>
              <a:rPr lang="en-US" altLang="ko-KR" dirty="0"/>
              <a:t>Customer Convenience</a:t>
            </a:r>
            <a:endParaRPr lang="ko-KR" altLang="en-US" dirty="0"/>
          </a:p>
          <a:p>
            <a:r>
              <a:rPr lang="ko-KR" altLang="en-US" dirty="0" err="1"/>
              <a:t>Maximizing</a:t>
            </a:r>
            <a:r>
              <a:rPr lang="en-US" altLang="ko-KR" dirty="0"/>
              <a:t> </a:t>
            </a:r>
          </a:p>
        </p:txBody>
      </p:sp>
      <p:sp>
        <p:nvSpPr>
          <p:cNvPr id="13" name="제목 1">
            <a:extLst>
              <a:ext uri="{FF2B5EF4-FFF2-40B4-BE49-F238E27FC236}">
                <a16:creationId xmlns:a16="http://schemas.microsoft.com/office/drawing/2014/main" id="{889BAC44-FB9F-AFEA-DC87-A44827FB7BB4}"/>
              </a:ext>
            </a:extLst>
          </p:cNvPr>
          <p:cNvSpPr txBox="1">
            <a:spLocks/>
          </p:cNvSpPr>
          <p:nvPr/>
        </p:nvSpPr>
        <p:spPr>
          <a:xfrm>
            <a:off x="131846" y="58750"/>
            <a:ext cx="11558160" cy="906925"/>
          </a:xfrm>
          <a:prstGeom prst="rect">
            <a:avLst/>
          </a:prstGeom>
          <a:solidFill>
            <a:srgbClr val="0070C0"/>
          </a:solidFill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1" hangingPunct="1">
              <a:lnSpc>
                <a:spcPct val="85000"/>
              </a:lnSpc>
              <a:spcBef>
                <a:spcPct val="0"/>
              </a:spcBef>
              <a:buNone/>
              <a:defRPr sz="5400" kern="1200" spc="-120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altLang="ko-KR" sz="3600" b="1" kern="0" dirty="0">
                <a:solidFill>
                  <a:schemeClr val="bg1"/>
                </a:solidFill>
                <a:latin typeface="+mj-ea"/>
              </a:rPr>
              <a:t>III. </a:t>
            </a:r>
            <a:r>
              <a:rPr lang="ko-KR" altLang="en-US" sz="3600" b="1" dirty="0">
                <a:solidFill>
                  <a:schemeClr val="bg1"/>
                </a:solidFill>
                <a:latin typeface="+mj-ea"/>
              </a:rPr>
              <a:t>빅데이터</a:t>
            </a:r>
            <a:r>
              <a:rPr lang="en-US" altLang="ko-KR" sz="3600" b="1" dirty="0">
                <a:solidFill>
                  <a:schemeClr val="bg1"/>
                </a:solidFill>
                <a:latin typeface="+mj-ea"/>
              </a:rPr>
              <a:t> &amp; AI</a:t>
            </a:r>
            <a:r>
              <a:rPr lang="ko-KR" altLang="en-US" sz="3600" b="1" dirty="0">
                <a:solidFill>
                  <a:schemeClr val="bg1"/>
                </a:solidFill>
                <a:latin typeface="+mj-ea"/>
              </a:rPr>
              <a:t>의 </a:t>
            </a:r>
            <a:r>
              <a:rPr lang="ko-KR" altLang="en-US" sz="3600" b="1" dirty="0" smtClean="0">
                <a:solidFill>
                  <a:schemeClr val="bg1"/>
                </a:solidFill>
                <a:latin typeface="+mj-ea"/>
              </a:rPr>
              <a:t> 유통산업 내 활용 사례</a:t>
            </a:r>
            <a:endParaRPr lang="ko-KR" altLang="en-US" sz="3600" dirty="0">
              <a:solidFill>
                <a:schemeClr val="bg1"/>
              </a:solidFill>
              <a:latin typeface="HY강B" panose="02030600000101010101" pitchFamily="18" charset="-127"/>
              <a:ea typeface="HY강B" panose="02030600000101010101" pitchFamily="18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4154433143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날짜 개체 틀 2">
            <a:extLst>
              <a:ext uri="{FF2B5EF4-FFF2-40B4-BE49-F238E27FC236}">
                <a16:creationId xmlns:a16="http://schemas.microsoft.com/office/drawing/2014/main" id="{8BEC0EEF-E580-1F75-2490-8A8B2F4D11C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FC9B95B-9606-41FD-9410-F2B308BBF263}" type="datetime1">
              <a:rPr lang="en-US" altLang="ko-KR" smtClean="0"/>
              <a:t>6/22/2023</a:t>
            </a:fld>
            <a:endParaRPr lang="en-US" dirty="0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818822C7-2AE3-D865-2FBC-85D609571C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smtClean="0"/>
              <a:t>21</a:t>
            </a:fld>
            <a:endParaRPr lang="en-US" dirty="0"/>
          </a:p>
        </p:txBody>
      </p:sp>
      <p:sp>
        <p:nvSpPr>
          <p:cNvPr id="5" name="직사각형 4"/>
          <p:cNvSpPr/>
          <p:nvPr/>
        </p:nvSpPr>
        <p:spPr>
          <a:xfrm>
            <a:off x="900085" y="1437629"/>
            <a:ext cx="10997873" cy="3293209"/>
          </a:xfrm>
          <a:prstGeom prst="rect">
            <a:avLst/>
          </a:prstGeom>
          <a:solidFill>
            <a:schemeClr val="accent2">
              <a:lumMod val="20000"/>
              <a:lumOff val="80000"/>
              <a:alpha val="55000"/>
            </a:schemeClr>
          </a:solidFill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marL="342900" indent="-342900">
              <a:buFont typeface="Wingdings" panose="05000000000000000000" pitchFamily="2" charset="2"/>
              <a:buChar char="l"/>
            </a:pPr>
            <a:r>
              <a:rPr lang="ko-KR" altLang="en-US" sz="2400" dirty="0">
                <a:solidFill>
                  <a:schemeClr val="tx1"/>
                </a:solidFill>
              </a:rPr>
              <a:t>고객 개개인의 특성에 맞춘 마이크로 제조</a:t>
            </a:r>
            <a:r>
              <a:rPr lang="en-US" altLang="ko-KR" sz="2400" dirty="0">
                <a:solidFill>
                  <a:schemeClr val="tx1"/>
                </a:solidFill>
              </a:rPr>
              <a:t>&amp; </a:t>
            </a:r>
            <a:r>
              <a:rPr lang="ko-KR" altLang="en-US" sz="2400" dirty="0">
                <a:solidFill>
                  <a:schemeClr val="tx1"/>
                </a:solidFill>
              </a:rPr>
              <a:t>마케팅</a:t>
            </a:r>
            <a:endParaRPr lang="en-US" altLang="ko-KR" sz="2400" dirty="0">
              <a:solidFill>
                <a:schemeClr val="tx1"/>
              </a:solidFill>
            </a:endParaRPr>
          </a:p>
          <a:p>
            <a:r>
              <a:rPr lang="en-US" altLang="ko-KR" sz="2400" dirty="0">
                <a:solidFill>
                  <a:schemeClr val="tx1"/>
                </a:solidFill>
                <a:latin typeface="Nanum Gothic"/>
              </a:rPr>
              <a:t>    (Micro </a:t>
            </a:r>
            <a:r>
              <a:rPr lang="en-US" altLang="ko-KR" sz="2400" dirty="0" err="1">
                <a:solidFill>
                  <a:schemeClr val="tx1"/>
                </a:solidFill>
                <a:latin typeface="Nanum Gothic"/>
              </a:rPr>
              <a:t>manufacturingMarketing</a:t>
            </a:r>
            <a:r>
              <a:rPr lang="en-US" altLang="ko-KR" sz="2400" dirty="0">
                <a:solidFill>
                  <a:schemeClr val="tx1"/>
                </a:solidFill>
                <a:latin typeface="Nanum Gothic"/>
              </a:rPr>
              <a:t>)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ko-KR" altLang="en-US" sz="2000" dirty="0" err="1">
                <a:solidFill>
                  <a:schemeClr val="tx1"/>
                </a:solidFill>
              </a:rPr>
              <a:t>빅데이터는</a:t>
            </a:r>
            <a:r>
              <a:rPr lang="ko-KR" altLang="en-US" sz="2000" dirty="0">
                <a:solidFill>
                  <a:schemeClr val="tx1"/>
                </a:solidFill>
              </a:rPr>
              <a:t> </a:t>
            </a:r>
            <a:r>
              <a:rPr lang="ko-KR" altLang="en-US" sz="2000" dirty="0" err="1">
                <a:solidFill>
                  <a:schemeClr val="tx1"/>
                </a:solidFill>
              </a:rPr>
              <a:t>타겟팅</a:t>
            </a:r>
            <a:r>
              <a:rPr lang="en-US" altLang="ko-KR" sz="2000" dirty="0">
                <a:solidFill>
                  <a:schemeClr val="tx1"/>
                </a:solidFill>
              </a:rPr>
              <a:t>, </a:t>
            </a:r>
            <a:r>
              <a:rPr lang="ko-KR" altLang="en-US" sz="2000" dirty="0" err="1">
                <a:solidFill>
                  <a:schemeClr val="tx1"/>
                </a:solidFill>
              </a:rPr>
              <a:t>커스텀마이징을</a:t>
            </a:r>
            <a:r>
              <a:rPr lang="ko-KR" altLang="en-US" sz="2000" dirty="0">
                <a:solidFill>
                  <a:schemeClr val="tx1"/>
                </a:solidFill>
              </a:rPr>
              <a:t> 위한 목적으로 활용</a:t>
            </a:r>
            <a:endParaRPr lang="en-US" altLang="ko-KR" sz="2000" dirty="0">
              <a:solidFill>
                <a:schemeClr val="tx1"/>
              </a:solidFill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ko-KR" altLang="en-US" sz="2000" dirty="0" err="1">
                <a:solidFill>
                  <a:schemeClr val="tx1"/>
                </a:solidFill>
                <a:latin typeface="Nanum Gothic"/>
              </a:rPr>
              <a:t>빅데이터에</a:t>
            </a:r>
            <a:r>
              <a:rPr lang="ko-KR" altLang="en-US" sz="2000" dirty="0">
                <a:solidFill>
                  <a:schemeClr val="tx1"/>
                </a:solidFill>
                <a:latin typeface="Nanum Gothic"/>
              </a:rPr>
              <a:t> 의존해 고객의 구매 정보</a:t>
            </a:r>
            <a:r>
              <a:rPr lang="en-US" altLang="ko-KR" sz="2000" dirty="0">
                <a:solidFill>
                  <a:schemeClr val="tx1"/>
                </a:solidFill>
                <a:latin typeface="Nanum Gothic"/>
              </a:rPr>
              <a:t>(</a:t>
            </a:r>
            <a:r>
              <a:rPr lang="ko-KR" altLang="en-US" sz="2000" dirty="0">
                <a:solidFill>
                  <a:schemeClr val="tx1"/>
                </a:solidFill>
                <a:latin typeface="Nanum Gothic"/>
              </a:rPr>
              <a:t> 분석</a:t>
            </a:r>
            <a:r>
              <a:rPr lang="ko-KR" altLang="en-US" sz="2000" dirty="0">
                <a:solidFill>
                  <a:schemeClr val="tx1"/>
                </a:solidFill>
              </a:rPr>
              <a:t>카드사가 고객의 카드 사용내역을 </a:t>
            </a:r>
            <a:r>
              <a:rPr lang="ko-KR" altLang="en-US" sz="2000" dirty="0" err="1">
                <a:solidFill>
                  <a:schemeClr val="tx1"/>
                </a:solidFill>
              </a:rPr>
              <a:t>빅데이터로</a:t>
            </a:r>
            <a:r>
              <a:rPr lang="ko-KR" altLang="en-US" sz="2000" dirty="0">
                <a:solidFill>
                  <a:schemeClr val="tx1"/>
                </a:solidFill>
              </a:rPr>
              <a:t> 분석해</a:t>
            </a:r>
            <a:r>
              <a:rPr lang="en-US" altLang="ko-KR" sz="2000" dirty="0">
                <a:solidFill>
                  <a:schemeClr val="tx1"/>
                </a:solidFill>
              </a:rPr>
              <a:t>, </a:t>
            </a:r>
            <a:r>
              <a:rPr lang="ko-KR" altLang="en-US" sz="2000" dirty="0">
                <a:solidFill>
                  <a:schemeClr val="tx1"/>
                </a:solidFill>
              </a:rPr>
              <a:t>고객의 나이</a:t>
            </a:r>
            <a:r>
              <a:rPr lang="en-US" altLang="ko-KR" sz="2000" dirty="0">
                <a:solidFill>
                  <a:schemeClr val="tx1"/>
                </a:solidFill>
              </a:rPr>
              <a:t>, </a:t>
            </a:r>
            <a:r>
              <a:rPr lang="ko-KR" altLang="en-US" sz="2000" dirty="0">
                <a:solidFill>
                  <a:schemeClr val="tx1"/>
                </a:solidFill>
              </a:rPr>
              <a:t>성별</a:t>
            </a:r>
            <a:r>
              <a:rPr lang="en-US" altLang="ko-KR" sz="2000" dirty="0">
                <a:solidFill>
                  <a:schemeClr val="tx1"/>
                </a:solidFill>
              </a:rPr>
              <a:t>, </a:t>
            </a:r>
            <a:r>
              <a:rPr lang="ko-KR" altLang="en-US" sz="2000" dirty="0">
                <a:solidFill>
                  <a:schemeClr val="tx1"/>
                </a:solidFill>
              </a:rPr>
              <a:t>거주지 등</a:t>
            </a:r>
            <a:r>
              <a:rPr lang="en-US" altLang="ko-KR" sz="2000" dirty="0">
                <a:solidFill>
                  <a:schemeClr val="tx1"/>
                </a:solidFill>
              </a:rPr>
              <a:t>)</a:t>
            </a:r>
            <a:endParaRPr lang="en-US" altLang="ko-KR" sz="2000" dirty="0">
              <a:solidFill>
                <a:schemeClr val="tx1"/>
              </a:solidFill>
              <a:latin typeface="Nanum Gothic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ko-KR" altLang="en-US" sz="2000" dirty="0">
                <a:solidFill>
                  <a:schemeClr val="tx1"/>
                </a:solidFill>
              </a:rPr>
              <a:t>온라인 검색이력</a:t>
            </a:r>
            <a:r>
              <a:rPr lang="en-US" altLang="ko-KR" sz="2000" dirty="0">
                <a:solidFill>
                  <a:schemeClr val="tx1"/>
                </a:solidFill>
              </a:rPr>
              <a:t>, SNS </a:t>
            </a:r>
            <a:r>
              <a:rPr lang="ko-KR" altLang="en-US" sz="2000" dirty="0">
                <a:solidFill>
                  <a:schemeClr val="tx1"/>
                </a:solidFill>
              </a:rPr>
              <a:t>활동이력</a:t>
            </a:r>
            <a:r>
              <a:rPr lang="en-US" altLang="ko-KR" sz="2000" dirty="0">
                <a:solidFill>
                  <a:schemeClr val="tx1"/>
                </a:solidFill>
              </a:rPr>
              <a:t>, </a:t>
            </a:r>
            <a:r>
              <a:rPr lang="ko-KR" altLang="en-US" sz="2000" dirty="0">
                <a:solidFill>
                  <a:schemeClr val="tx1"/>
                </a:solidFill>
              </a:rPr>
              <a:t>위치 정보 등의 데이터를 분석하면 고객의 관심사</a:t>
            </a:r>
            <a:r>
              <a:rPr lang="en-US" altLang="ko-KR" sz="2000" dirty="0">
                <a:solidFill>
                  <a:schemeClr val="tx1"/>
                </a:solidFill>
              </a:rPr>
              <a:t>, </a:t>
            </a:r>
            <a:r>
              <a:rPr lang="ko-KR" altLang="en-US" sz="2000" dirty="0">
                <a:solidFill>
                  <a:schemeClr val="tx1"/>
                </a:solidFill>
              </a:rPr>
              <a:t>성향</a:t>
            </a:r>
            <a:r>
              <a:rPr lang="en-US" altLang="ko-KR" sz="2000" dirty="0">
                <a:solidFill>
                  <a:schemeClr val="tx1"/>
                </a:solidFill>
              </a:rPr>
              <a:t>, </a:t>
            </a:r>
            <a:r>
              <a:rPr lang="ko-KR" altLang="en-US" sz="2000" dirty="0">
                <a:solidFill>
                  <a:schemeClr val="tx1"/>
                </a:solidFill>
              </a:rPr>
              <a:t>패턴 등을 확인하여  </a:t>
            </a:r>
            <a:r>
              <a:rPr lang="ko-KR" altLang="en-US" sz="2000" dirty="0">
                <a:solidFill>
                  <a:schemeClr val="tx1"/>
                </a:solidFill>
                <a:latin typeface="Nanum Gothic"/>
              </a:rPr>
              <a:t>구매할 가능성이 높은 고객을 콕 찍어 </a:t>
            </a:r>
            <a:r>
              <a:rPr lang="ko-KR" altLang="en-US" sz="2000" dirty="0" err="1">
                <a:solidFill>
                  <a:schemeClr val="tx1"/>
                </a:solidFill>
                <a:latin typeface="Nanum Gothic"/>
              </a:rPr>
              <a:t>마케팅하는</a:t>
            </a:r>
            <a:r>
              <a:rPr lang="ko-KR" altLang="en-US" sz="2000" dirty="0">
                <a:solidFill>
                  <a:schemeClr val="tx1"/>
                </a:solidFill>
                <a:latin typeface="Nanum Gothic"/>
              </a:rPr>
              <a:t> 추천 마케팅</a:t>
            </a:r>
            <a:r>
              <a:rPr lang="en-US" altLang="ko-KR" sz="2000" dirty="0">
                <a:solidFill>
                  <a:schemeClr val="tx1"/>
                </a:solidFill>
                <a:latin typeface="Nanum Gothic"/>
              </a:rPr>
              <a:t>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ko-KR" altLang="en-US" sz="2000" dirty="0">
                <a:solidFill>
                  <a:schemeClr val="tx1"/>
                </a:solidFill>
                <a:latin typeface="Nanum Gothic"/>
              </a:rPr>
              <a:t>관련 제품 </a:t>
            </a:r>
            <a:r>
              <a:rPr lang="en-US" altLang="ko-KR" sz="2000" dirty="0">
                <a:solidFill>
                  <a:schemeClr val="tx1"/>
                </a:solidFill>
                <a:latin typeface="Nanum Gothic"/>
              </a:rPr>
              <a:t>/</a:t>
            </a:r>
            <a:r>
              <a:rPr lang="ko-KR" altLang="en-US" sz="2000" dirty="0">
                <a:solidFill>
                  <a:schemeClr val="tx1"/>
                </a:solidFill>
                <a:latin typeface="Nanum Gothic"/>
              </a:rPr>
              <a:t>디자인</a:t>
            </a:r>
            <a:r>
              <a:rPr lang="en-US" altLang="ko-KR" sz="2000" dirty="0">
                <a:solidFill>
                  <a:schemeClr val="tx1"/>
                </a:solidFill>
                <a:latin typeface="Nanum Gothic"/>
              </a:rPr>
              <a:t>/</a:t>
            </a:r>
            <a:r>
              <a:rPr lang="ko-KR" altLang="en-US" sz="2000" dirty="0">
                <a:solidFill>
                  <a:schemeClr val="tx1"/>
                </a:solidFill>
                <a:latin typeface="Nanum Gothic"/>
              </a:rPr>
              <a:t>컬러 등 판매가능 제품의  제조 또는 </a:t>
            </a:r>
            <a:r>
              <a:rPr lang="ko-KR" altLang="en-US" sz="2000" dirty="0" err="1">
                <a:solidFill>
                  <a:schemeClr val="tx1"/>
                </a:solidFill>
                <a:latin typeface="Nanum Gothic"/>
              </a:rPr>
              <a:t>사전소싱을</a:t>
            </a:r>
            <a:r>
              <a:rPr lang="ko-KR" altLang="en-US" sz="2000" dirty="0">
                <a:solidFill>
                  <a:schemeClr val="tx1"/>
                </a:solidFill>
                <a:latin typeface="Nanum Gothic"/>
              </a:rPr>
              <a:t> 통한 구매가격 낮추고 </a:t>
            </a:r>
            <a:r>
              <a:rPr lang="en-US" altLang="ko-KR" sz="2000" dirty="0">
                <a:solidFill>
                  <a:schemeClr val="tx1"/>
                </a:solidFill>
                <a:latin typeface="Nanum Gothic"/>
              </a:rPr>
              <a:t>/</a:t>
            </a:r>
            <a:r>
              <a:rPr lang="ko-KR" altLang="en-US" sz="2000" dirty="0">
                <a:solidFill>
                  <a:schemeClr val="tx1"/>
                </a:solidFill>
                <a:latin typeface="Nanum Gothic"/>
              </a:rPr>
              <a:t>재고 감소</a:t>
            </a:r>
            <a:r>
              <a:rPr lang="en-US" altLang="ko-KR" sz="2000" dirty="0">
                <a:solidFill>
                  <a:schemeClr val="tx1"/>
                </a:solidFill>
                <a:latin typeface="Nanum Gothic"/>
              </a:rPr>
              <a:t>( </a:t>
            </a:r>
            <a:r>
              <a:rPr lang="ko-KR" altLang="en-US" sz="2000" dirty="0">
                <a:solidFill>
                  <a:schemeClr val="tx1"/>
                </a:solidFill>
                <a:latin typeface="Nanum Gothic"/>
              </a:rPr>
              <a:t>유럽자동차</a:t>
            </a:r>
            <a:r>
              <a:rPr lang="en-US" altLang="ko-KR" sz="2000" dirty="0">
                <a:solidFill>
                  <a:schemeClr val="tx1"/>
                </a:solidFill>
                <a:latin typeface="Nanum Gothic"/>
              </a:rPr>
              <a:t> Color: </a:t>
            </a:r>
            <a:r>
              <a:rPr lang="ko-KR" altLang="en-US" sz="2000" dirty="0">
                <a:solidFill>
                  <a:schemeClr val="tx1"/>
                </a:solidFill>
                <a:latin typeface="Nanum Gothic"/>
              </a:rPr>
              <a:t>☜</a:t>
            </a:r>
            <a:r>
              <a:rPr lang="en-US" altLang="ko-KR" sz="2000" dirty="0">
                <a:solidFill>
                  <a:schemeClr val="tx1"/>
                </a:solidFill>
                <a:latin typeface="Nanum Gothic"/>
              </a:rPr>
              <a:t> </a:t>
            </a:r>
            <a:r>
              <a:rPr lang="ko-KR" altLang="en-US" sz="2000" dirty="0" err="1">
                <a:solidFill>
                  <a:schemeClr val="tx1"/>
                </a:solidFill>
                <a:latin typeface="Nanum Gothic"/>
              </a:rPr>
              <a:t>노랑체크옷</a:t>
            </a:r>
            <a:r>
              <a:rPr lang="ko-KR" altLang="en-US" sz="2000" dirty="0">
                <a:solidFill>
                  <a:schemeClr val="tx1"/>
                </a:solidFill>
                <a:latin typeface="Nanum Gothic"/>
              </a:rPr>
              <a:t> </a:t>
            </a:r>
            <a:r>
              <a:rPr lang="ko-KR" altLang="en-US" sz="2000" dirty="0" err="1">
                <a:solidFill>
                  <a:schemeClr val="tx1"/>
                </a:solidFill>
                <a:latin typeface="Nanum Gothic"/>
              </a:rPr>
              <a:t>빨강차</a:t>
            </a:r>
            <a:r>
              <a:rPr lang="ko-KR" altLang="en-US" sz="2000" dirty="0">
                <a:solidFill>
                  <a:schemeClr val="tx1"/>
                </a:solidFill>
                <a:latin typeface="Nanum Gothic"/>
              </a:rPr>
              <a:t> </a:t>
            </a:r>
            <a:r>
              <a:rPr lang="en-US" altLang="ko-KR" sz="2000" dirty="0">
                <a:solidFill>
                  <a:schemeClr val="tx1"/>
                </a:solidFill>
                <a:latin typeface="Nanum Gothic"/>
              </a:rPr>
              <a:t>)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ko-KR" altLang="en-US" sz="2000" b="1" dirty="0">
                <a:solidFill>
                  <a:srgbClr val="FF0000"/>
                </a:solidFill>
                <a:latin typeface="MD아트체" panose="02020603020101020101" pitchFamily="18" charset="-127"/>
                <a:ea typeface="MD아트체" panose="02020603020101020101" pitchFamily="18" charset="-127"/>
              </a:rPr>
              <a:t>나만의 특정 장소</a:t>
            </a:r>
            <a:r>
              <a:rPr lang="en-US" altLang="ko-KR" sz="2000" b="1" dirty="0">
                <a:solidFill>
                  <a:srgbClr val="FF0000"/>
                </a:solidFill>
                <a:latin typeface="MD아트체" panose="02020603020101020101" pitchFamily="18" charset="-127"/>
                <a:ea typeface="MD아트체" panose="02020603020101020101" pitchFamily="18" charset="-127"/>
              </a:rPr>
              <a:t>/</a:t>
            </a:r>
            <a:r>
              <a:rPr lang="ko-KR" altLang="en-US" sz="2000" b="1" dirty="0">
                <a:solidFill>
                  <a:srgbClr val="FF0000"/>
                </a:solidFill>
                <a:latin typeface="MD아트체" panose="02020603020101020101" pitchFamily="18" charset="-127"/>
                <a:ea typeface="MD아트체" panose="02020603020101020101" pitchFamily="18" charset="-127"/>
              </a:rPr>
              <a:t>특정상품의 </a:t>
            </a:r>
            <a:r>
              <a:rPr lang="en-US" altLang="ko-KR" sz="2000" b="1" dirty="0">
                <a:solidFill>
                  <a:srgbClr val="FF0000"/>
                </a:solidFill>
                <a:latin typeface="MD아트체" panose="02020603020101020101" pitchFamily="18" charset="-127"/>
                <a:ea typeface="MD아트체" panose="02020603020101020101" pitchFamily="18" charset="-127"/>
              </a:rPr>
              <a:t>P </a:t>
            </a:r>
            <a:r>
              <a:rPr lang="ko-KR" altLang="en-US" sz="2000" b="1" dirty="0">
                <a:solidFill>
                  <a:srgbClr val="FF0000"/>
                </a:solidFill>
                <a:latin typeface="MD아트체" panose="02020603020101020101" pitchFamily="18" charset="-127"/>
                <a:ea typeface="MD아트체" panose="02020603020101020101" pitchFamily="18" charset="-127"/>
              </a:rPr>
              <a:t>상이 </a:t>
            </a:r>
            <a:r>
              <a:rPr lang="en-US" altLang="ko-KR" sz="2000" b="1" dirty="0">
                <a:solidFill>
                  <a:srgbClr val="FF0000"/>
                </a:solidFill>
                <a:latin typeface="MD아트체" panose="02020603020101020101" pitchFamily="18" charset="-127"/>
                <a:ea typeface="MD아트체" panose="02020603020101020101" pitchFamily="18" charset="-127"/>
              </a:rPr>
              <a:t>*</a:t>
            </a:r>
            <a:r>
              <a:rPr lang="ko-KR" altLang="en-US" sz="2000" b="1" dirty="0">
                <a:solidFill>
                  <a:srgbClr val="FF0000"/>
                </a:solidFill>
                <a:latin typeface="MD아트체" panose="02020603020101020101" pitchFamily="18" charset="-127"/>
                <a:ea typeface="MD아트체" panose="02020603020101020101" pitchFamily="18" charset="-127"/>
              </a:rPr>
              <a:t>가상 사례 </a:t>
            </a:r>
            <a:r>
              <a:rPr lang="en-US" altLang="ko-KR" sz="2000" b="1" dirty="0">
                <a:solidFill>
                  <a:srgbClr val="FF0000"/>
                </a:solidFill>
                <a:latin typeface="MD아트체" panose="02020603020101020101" pitchFamily="18" charset="-127"/>
                <a:ea typeface="MD아트체" panose="02020603020101020101" pitchFamily="18" charset="-127"/>
              </a:rPr>
              <a:t>: </a:t>
            </a:r>
            <a:r>
              <a:rPr lang="ko-KR" altLang="en-US" sz="2000" b="1" dirty="0" err="1">
                <a:solidFill>
                  <a:srgbClr val="FF0000"/>
                </a:solidFill>
                <a:latin typeface="MD아트체" panose="02020603020101020101" pitchFamily="18" charset="-127"/>
                <a:ea typeface="MD아트체" panose="02020603020101020101" pitchFamily="18" charset="-127"/>
              </a:rPr>
              <a:t>월곡동</a:t>
            </a:r>
            <a:r>
              <a:rPr lang="ko-KR" altLang="en-US" sz="2000" b="1" dirty="0">
                <a:solidFill>
                  <a:srgbClr val="FF0000"/>
                </a:solidFill>
                <a:latin typeface="MD아트체" panose="02020603020101020101" pitchFamily="18" charset="-127"/>
                <a:ea typeface="MD아트체" panose="02020603020101020101" pitchFamily="18" charset="-127"/>
              </a:rPr>
              <a:t> </a:t>
            </a:r>
            <a:r>
              <a:rPr lang="ko-KR" altLang="en-US" sz="2000" b="1" dirty="0" err="1">
                <a:solidFill>
                  <a:srgbClr val="FF0000"/>
                </a:solidFill>
                <a:latin typeface="MD아트체" panose="02020603020101020101" pitchFamily="18" charset="-127"/>
                <a:ea typeface="MD아트체" panose="02020603020101020101" pitchFamily="18" charset="-127"/>
              </a:rPr>
              <a:t>짜장면</a:t>
            </a:r>
            <a:r>
              <a:rPr lang="ko-KR" altLang="en-US" sz="2000" b="1" dirty="0">
                <a:solidFill>
                  <a:srgbClr val="FF0000"/>
                </a:solidFill>
                <a:latin typeface="MD아트체" panose="02020603020101020101" pitchFamily="18" charset="-127"/>
                <a:ea typeface="MD아트체" panose="02020603020101020101" pitchFamily="18" charset="-127"/>
              </a:rPr>
              <a:t> </a:t>
            </a:r>
            <a:r>
              <a:rPr lang="en-US" altLang="ko-KR" sz="2000" b="1" dirty="0">
                <a:solidFill>
                  <a:srgbClr val="FF0000"/>
                </a:solidFill>
                <a:latin typeface="MD아트체" panose="02020603020101020101" pitchFamily="18" charset="-127"/>
                <a:ea typeface="MD아트체" panose="02020603020101020101" pitchFamily="18" charset="-127"/>
              </a:rPr>
              <a:t>12</a:t>
            </a:r>
            <a:r>
              <a:rPr lang="ko-KR" altLang="en-US" sz="2000" b="1" dirty="0">
                <a:solidFill>
                  <a:srgbClr val="FF0000"/>
                </a:solidFill>
                <a:latin typeface="MD아트체" panose="02020603020101020101" pitchFamily="18" charset="-127"/>
                <a:ea typeface="MD아트체" panose="02020603020101020101" pitchFamily="18" charset="-127"/>
              </a:rPr>
              <a:t>시 </a:t>
            </a:r>
            <a:r>
              <a:rPr lang="en-US" altLang="ko-KR" sz="2000" b="1" dirty="0">
                <a:solidFill>
                  <a:srgbClr val="FF0000"/>
                </a:solidFill>
                <a:latin typeface="MD아트체" panose="02020603020101020101" pitchFamily="18" charset="-127"/>
                <a:ea typeface="MD아트체" panose="02020603020101020101" pitchFamily="18" charset="-127"/>
              </a:rPr>
              <a:t>P/</a:t>
            </a:r>
            <a:r>
              <a:rPr lang="ko-KR" altLang="en-US" sz="2000" b="1" dirty="0" err="1">
                <a:solidFill>
                  <a:srgbClr val="FF0000"/>
                </a:solidFill>
                <a:latin typeface="MD아트체" panose="02020603020101020101" pitchFamily="18" charset="-127"/>
                <a:ea typeface="MD아트체" panose="02020603020101020101" pitchFamily="18" charset="-127"/>
              </a:rPr>
              <a:t>쿠팡의</a:t>
            </a:r>
            <a:r>
              <a:rPr lang="ko-KR" altLang="en-US" sz="2000" b="1" dirty="0">
                <a:solidFill>
                  <a:srgbClr val="FF0000"/>
                </a:solidFill>
                <a:latin typeface="MD아트체" panose="02020603020101020101" pitchFamily="18" charset="-127"/>
                <a:ea typeface="MD아트체" panose="02020603020101020101" pitchFamily="18" charset="-127"/>
              </a:rPr>
              <a:t> 사이다</a:t>
            </a:r>
            <a:r>
              <a:rPr lang="en-US" altLang="ko-KR" sz="2000" b="1" dirty="0">
                <a:solidFill>
                  <a:srgbClr val="FF0000"/>
                </a:solidFill>
                <a:latin typeface="MD아트체" panose="02020603020101020101" pitchFamily="18" charset="-127"/>
                <a:ea typeface="MD아트체" panose="02020603020101020101" pitchFamily="18" charset="-127"/>
              </a:rPr>
              <a:t>. </a:t>
            </a:r>
          </a:p>
        </p:txBody>
      </p:sp>
      <p:sp>
        <p:nvSpPr>
          <p:cNvPr id="6" name="직사각형 5"/>
          <p:cNvSpPr/>
          <p:nvPr/>
        </p:nvSpPr>
        <p:spPr>
          <a:xfrm>
            <a:off x="888802" y="4882160"/>
            <a:ext cx="11020437" cy="1692771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</p:spPr>
        <p:txBody>
          <a:bodyPr wrap="square">
            <a:spAutoFit/>
          </a:bodyPr>
          <a:lstStyle/>
          <a:p>
            <a:pPr marL="342900" indent="-342900">
              <a:buFont typeface="Wingdings" panose="05000000000000000000" pitchFamily="2" charset="2"/>
              <a:buChar char="v"/>
            </a:pPr>
            <a:r>
              <a:rPr lang="ko-KR" altLang="en-US" sz="2400" dirty="0">
                <a:solidFill>
                  <a:srgbClr val="444444"/>
                </a:solidFill>
                <a:latin typeface="Nanum Gothic"/>
              </a:rPr>
              <a:t> 사례</a:t>
            </a:r>
            <a:r>
              <a:rPr lang="en-US" altLang="ko-KR" sz="2400" dirty="0">
                <a:solidFill>
                  <a:srgbClr val="444444"/>
                </a:solidFill>
                <a:latin typeface="Nanum Gothic"/>
              </a:rPr>
              <a:t>: </a:t>
            </a:r>
            <a:r>
              <a:rPr lang="ko-KR" altLang="en-US" sz="2400" dirty="0">
                <a:solidFill>
                  <a:srgbClr val="444444"/>
                </a:solidFill>
                <a:latin typeface="Nanum Gothic"/>
              </a:rPr>
              <a:t>영국의 </a:t>
            </a:r>
            <a:r>
              <a:rPr lang="ko-KR" altLang="en-US" sz="2400" dirty="0" err="1">
                <a:solidFill>
                  <a:srgbClr val="444444"/>
                </a:solidFill>
                <a:latin typeface="Nanum Gothic"/>
              </a:rPr>
              <a:t>테스코</a:t>
            </a:r>
            <a:r>
              <a:rPr lang="en-US" altLang="ko-KR" sz="2400" dirty="0">
                <a:solidFill>
                  <a:srgbClr val="444444"/>
                </a:solidFill>
                <a:latin typeface="Nanum Gothic"/>
              </a:rPr>
              <a:t>(Tesco)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ko-KR" altLang="en-US" sz="2000" dirty="0">
                <a:solidFill>
                  <a:srgbClr val="444444"/>
                </a:solidFill>
                <a:latin typeface="Nanum Gothic"/>
              </a:rPr>
              <a:t> 클럽카드를 이용하여 고객의 구매 식품 리스트를 분석하여 고객의 성향을 추적</a:t>
            </a:r>
            <a:endParaRPr lang="en-US" altLang="ko-KR" sz="2000" dirty="0">
              <a:solidFill>
                <a:srgbClr val="444444"/>
              </a:solidFill>
              <a:latin typeface="Nanum Gothic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ko-KR" altLang="en-US" sz="2000" dirty="0">
                <a:solidFill>
                  <a:srgbClr val="444444"/>
                </a:solidFill>
                <a:latin typeface="Nanum Gothic"/>
              </a:rPr>
              <a:t> 구매자들의 성향</a:t>
            </a:r>
            <a:r>
              <a:rPr lang="en-US" altLang="ko-KR" sz="2000" dirty="0">
                <a:solidFill>
                  <a:srgbClr val="444444"/>
                </a:solidFill>
                <a:latin typeface="Nanum Gothic"/>
              </a:rPr>
              <a:t>, </a:t>
            </a:r>
            <a:r>
              <a:rPr lang="ko-KR" altLang="en-US" sz="2000" dirty="0">
                <a:solidFill>
                  <a:srgbClr val="444444"/>
                </a:solidFill>
                <a:latin typeface="Nanum Gothic"/>
              </a:rPr>
              <a:t>생활 습관</a:t>
            </a:r>
            <a:r>
              <a:rPr lang="en-US" altLang="ko-KR" sz="2000" dirty="0">
                <a:solidFill>
                  <a:srgbClr val="444444"/>
                </a:solidFill>
                <a:latin typeface="Nanum Gothic"/>
              </a:rPr>
              <a:t>, </a:t>
            </a:r>
            <a:r>
              <a:rPr lang="ko-KR" altLang="en-US" sz="2000" dirty="0">
                <a:solidFill>
                  <a:srgbClr val="444444"/>
                </a:solidFill>
                <a:latin typeface="Nanum Gothic"/>
              </a:rPr>
              <a:t>쇼핑의 성향 등을 파악해 </a:t>
            </a:r>
            <a:endParaRPr lang="en-US" altLang="ko-KR" sz="2000" dirty="0">
              <a:solidFill>
                <a:srgbClr val="444444"/>
              </a:solidFill>
              <a:latin typeface="Nanum Gothic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ko-KR" altLang="en-US" sz="2000" dirty="0">
                <a:solidFill>
                  <a:srgbClr val="444444"/>
                </a:solidFill>
                <a:latin typeface="Nanum Gothic"/>
              </a:rPr>
              <a:t>고객을 세분화하여 맞춤 마케팅을 진행</a:t>
            </a:r>
            <a:r>
              <a:rPr lang="en-US" altLang="ko-KR" sz="2000" dirty="0">
                <a:solidFill>
                  <a:srgbClr val="444444"/>
                </a:solidFill>
                <a:latin typeface="Nanum Gothic"/>
              </a:rPr>
              <a:t>( </a:t>
            </a:r>
            <a:r>
              <a:rPr lang="ko-KR" altLang="en-US" sz="2000" dirty="0">
                <a:solidFill>
                  <a:srgbClr val="444444"/>
                </a:solidFill>
                <a:latin typeface="Nanum Gothic"/>
              </a:rPr>
              <a:t>고객 </a:t>
            </a:r>
            <a:r>
              <a:rPr lang="ko-KR" altLang="en-US" sz="2000" dirty="0" err="1">
                <a:solidFill>
                  <a:srgbClr val="444444"/>
                </a:solidFill>
                <a:latin typeface="Nanum Gothic"/>
              </a:rPr>
              <a:t>입장시간대</a:t>
            </a:r>
            <a:r>
              <a:rPr lang="en-US" altLang="ko-KR" sz="2000" dirty="0">
                <a:solidFill>
                  <a:srgbClr val="444444"/>
                </a:solidFill>
                <a:latin typeface="Nanum Gothic"/>
              </a:rPr>
              <a:t>&gt;&gt; </a:t>
            </a:r>
            <a:r>
              <a:rPr lang="ko-KR" altLang="en-US" sz="2000" dirty="0">
                <a:solidFill>
                  <a:srgbClr val="444444"/>
                </a:solidFill>
                <a:latin typeface="Nanum Gothic"/>
              </a:rPr>
              <a:t>방송 등 고객에게 정보 제공</a:t>
            </a:r>
            <a:r>
              <a:rPr lang="en-US" altLang="ko-KR" sz="2000" dirty="0">
                <a:solidFill>
                  <a:srgbClr val="444444"/>
                </a:solidFill>
                <a:latin typeface="Nanum Gothic"/>
              </a:rPr>
              <a:t>)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ko-KR" altLang="en-US" sz="2000" dirty="0">
                <a:solidFill>
                  <a:srgbClr val="444444"/>
                </a:solidFill>
                <a:latin typeface="Nanum Gothic"/>
              </a:rPr>
              <a:t>고객의 만족도가 높아졌고 매우 큰 매출 증가로 이어짐 </a:t>
            </a:r>
            <a:endParaRPr lang="ko-KR" altLang="en-US" sz="2000" dirty="0"/>
          </a:p>
        </p:txBody>
      </p:sp>
      <p:sp>
        <p:nvSpPr>
          <p:cNvPr id="8" name="제목 1">
            <a:extLst>
              <a:ext uri="{FF2B5EF4-FFF2-40B4-BE49-F238E27FC236}">
                <a16:creationId xmlns:a16="http://schemas.microsoft.com/office/drawing/2014/main" id="{889BAC44-FB9F-AFEA-DC87-A44827FB7BB4}"/>
              </a:ext>
            </a:extLst>
          </p:cNvPr>
          <p:cNvSpPr txBox="1">
            <a:spLocks/>
          </p:cNvSpPr>
          <p:nvPr/>
        </p:nvSpPr>
        <p:spPr>
          <a:xfrm>
            <a:off x="131846" y="58750"/>
            <a:ext cx="11558160" cy="906925"/>
          </a:xfrm>
          <a:prstGeom prst="rect">
            <a:avLst/>
          </a:prstGeom>
          <a:solidFill>
            <a:srgbClr val="0070C0"/>
          </a:solidFill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1" hangingPunct="1">
              <a:lnSpc>
                <a:spcPct val="85000"/>
              </a:lnSpc>
              <a:spcBef>
                <a:spcPct val="0"/>
              </a:spcBef>
              <a:buNone/>
              <a:defRPr sz="5400" kern="1200" spc="-120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altLang="ko-KR" sz="3600" b="1" kern="0" dirty="0">
                <a:solidFill>
                  <a:schemeClr val="bg1"/>
                </a:solidFill>
                <a:latin typeface="+mj-ea"/>
              </a:rPr>
              <a:t>III. </a:t>
            </a:r>
            <a:r>
              <a:rPr lang="ko-KR" altLang="en-US" sz="3600" b="1" dirty="0">
                <a:solidFill>
                  <a:schemeClr val="bg1"/>
                </a:solidFill>
                <a:latin typeface="+mj-ea"/>
              </a:rPr>
              <a:t>빅데이터</a:t>
            </a:r>
            <a:r>
              <a:rPr lang="en-US" altLang="ko-KR" sz="3600" b="1" dirty="0">
                <a:solidFill>
                  <a:schemeClr val="bg1"/>
                </a:solidFill>
                <a:latin typeface="+mj-ea"/>
              </a:rPr>
              <a:t> &amp; AI</a:t>
            </a:r>
            <a:r>
              <a:rPr lang="ko-KR" altLang="en-US" sz="3600" b="1" dirty="0">
                <a:solidFill>
                  <a:schemeClr val="bg1"/>
                </a:solidFill>
                <a:latin typeface="+mj-ea"/>
              </a:rPr>
              <a:t>의 </a:t>
            </a:r>
            <a:r>
              <a:rPr lang="ko-KR" altLang="en-US" sz="3600" b="1" dirty="0" smtClean="0">
                <a:solidFill>
                  <a:schemeClr val="bg1"/>
                </a:solidFill>
                <a:latin typeface="+mj-ea"/>
              </a:rPr>
              <a:t> 유통산업 내 활용 사례</a:t>
            </a:r>
            <a:endParaRPr lang="ko-KR" altLang="en-US" sz="3600" dirty="0">
              <a:solidFill>
                <a:schemeClr val="bg1"/>
              </a:solidFill>
              <a:latin typeface="HY강B" panose="02030600000101010101" pitchFamily="18" charset="-127"/>
              <a:ea typeface="HY강B" panose="02030600000101010101" pitchFamily="18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140949804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날짜 개체 틀 2">
            <a:extLst>
              <a:ext uri="{FF2B5EF4-FFF2-40B4-BE49-F238E27FC236}">
                <a16:creationId xmlns:a16="http://schemas.microsoft.com/office/drawing/2014/main" id="{8BEC0EEF-E580-1F75-2490-8A8B2F4D11C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FC9B95B-9606-41FD-9410-F2B308BBF263}" type="datetime1">
              <a:rPr lang="en-US" altLang="ko-KR" smtClean="0"/>
              <a:t>6/22/2023</a:t>
            </a:fld>
            <a:endParaRPr lang="en-US" dirty="0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818822C7-2AE3-D865-2FBC-85D609571C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smtClean="0"/>
              <a:t>22</a:t>
            </a:fld>
            <a:endParaRPr lang="en-US" dirty="0"/>
          </a:p>
        </p:txBody>
      </p:sp>
      <p:pic>
        <p:nvPicPr>
          <p:cNvPr id="6146" name="Picture 2" descr="http://linkback.itworld.co.kr/images/onebyone.gif?action_id=77c7764c88f502b9aaad5ab45e29be9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92725" y="222250"/>
            <a:ext cx="9525" cy="95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170" name="Picture 2" descr="http://linkback.itworld.co.kr/images/onebyone.gif?action_id=78663f4e5dd43f7ab3d3cb1ace87216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38838" y="3561630"/>
            <a:ext cx="9525" cy="95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172" name="Picture 4" descr="http://linkback.itworld.co.kr/images/onebyone.gif?action_id=064853071267fc398bba37eb4085558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11124" y="-2825060"/>
            <a:ext cx="9525" cy="95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174" name="Picture 6" descr="http://linkback.itworld.co.kr/images/onebyone.gif?action_id=f640c2560077734bfec6c80d6d174f4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05413" y="306388"/>
            <a:ext cx="219446" cy="457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5" name="다이어그램 4"/>
          <p:cNvGraphicFramePr/>
          <p:nvPr>
            <p:extLst>
              <p:ext uri="{D42A27DB-BD31-4B8C-83A1-F6EECF244321}">
                <p14:modId xmlns:p14="http://schemas.microsoft.com/office/powerpoint/2010/main" val="2772166952"/>
              </p:ext>
            </p:extLst>
          </p:nvPr>
        </p:nvGraphicFramePr>
        <p:xfrm>
          <a:off x="0" y="1771650"/>
          <a:ext cx="12192000" cy="544321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sp>
        <p:nvSpPr>
          <p:cNvPr id="11" name="TextBox 10"/>
          <p:cNvSpPr txBox="1"/>
          <p:nvPr/>
        </p:nvSpPr>
        <p:spPr>
          <a:xfrm>
            <a:off x="246146" y="1332354"/>
            <a:ext cx="4452334" cy="369332"/>
          </a:xfrm>
          <a:prstGeom prst="rect">
            <a:avLst/>
          </a:prstGeom>
          <a:solidFill>
            <a:srgbClr val="002060"/>
          </a:solidFill>
          <a:ln>
            <a:solidFill>
              <a:schemeClr val="bg1"/>
            </a:solidFill>
          </a:ln>
        </p:spPr>
        <p:txBody>
          <a:bodyPr wrap="square" rtlCol="0">
            <a:spAutoFit/>
          </a:bodyPr>
          <a:lstStyle/>
          <a:p>
            <a:r>
              <a:rPr lang="ko-KR" altLang="en-US" dirty="0" err="1" smtClean="0">
                <a:solidFill>
                  <a:schemeClr val="bg1"/>
                </a:solidFill>
              </a:rPr>
              <a:t>유통산업내</a:t>
            </a:r>
            <a:r>
              <a:rPr lang="ko-KR" altLang="en-US" dirty="0" smtClean="0">
                <a:solidFill>
                  <a:schemeClr val="bg1"/>
                </a:solidFill>
              </a:rPr>
              <a:t> </a:t>
            </a:r>
            <a:r>
              <a:rPr lang="ko-KR" altLang="en-US" dirty="0" smtClean="0">
                <a:solidFill>
                  <a:schemeClr val="bg1"/>
                </a:solidFill>
              </a:rPr>
              <a:t>빅 </a:t>
            </a:r>
            <a:r>
              <a:rPr lang="ko-KR" altLang="en-US" dirty="0">
                <a:solidFill>
                  <a:schemeClr val="bg1"/>
                </a:solidFill>
              </a:rPr>
              <a:t>데이터 </a:t>
            </a:r>
            <a:r>
              <a:rPr lang="en-US" altLang="ko-KR" dirty="0">
                <a:solidFill>
                  <a:schemeClr val="bg1"/>
                </a:solidFill>
              </a:rPr>
              <a:t>&amp; AI </a:t>
            </a:r>
            <a:r>
              <a:rPr lang="ko-KR" altLang="en-US" dirty="0">
                <a:solidFill>
                  <a:schemeClr val="bg1"/>
                </a:solidFill>
              </a:rPr>
              <a:t>의 활용 사례</a:t>
            </a:r>
          </a:p>
        </p:txBody>
      </p:sp>
      <p:sp>
        <p:nvSpPr>
          <p:cNvPr id="14" name="제목 1">
            <a:extLst>
              <a:ext uri="{FF2B5EF4-FFF2-40B4-BE49-F238E27FC236}">
                <a16:creationId xmlns:a16="http://schemas.microsoft.com/office/drawing/2014/main" id="{889BAC44-FB9F-AFEA-DC87-A44827FB7BB4}"/>
              </a:ext>
            </a:extLst>
          </p:cNvPr>
          <p:cNvSpPr txBox="1">
            <a:spLocks/>
          </p:cNvSpPr>
          <p:nvPr/>
        </p:nvSpPr>
        <p:spPr>
          <a:xfrm>
            <a:off x="131846" y="58750"/>
            <a:ext cx="11558160" cy="906925"/>
          </a:xfrm>
          <a:prstGeom prst="rect">
            <a:avLst/>
          </a:prstGeom>
          <a:solidFill>
            <a:srgbClr val="0070C0"/>
          </a:solidFill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1" hangingPunct="1">
              <a:lnSpc>
                <a:spcPct val="85000"/>
              </a:lnSpc>
              <a:spcBef>
                <a:spcPct val="0"/>
              </a:spcBef>
              <a:buNone/>
              <a:defRPr sz="5400" kern="1200" spc="-120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altLang="ko-KR" sz="3600" b="1" kern="0" dirty="0">
                <a:solidFill>
                  <a:schemeClr val="bg1"/>
                </a:solidFill>
                <a:latin typeface="+mj-ea"/>
              </a:rPr>
              <a:t>III. </a:t>
            </a:r>
            <a:r>
              <a:rPr lang="ko-KR" altLang="en-US" sz="3600" b="1" dirty="0">
                <a:solidFill>
                  <a:schemeClr val="bg1"/>
                </a:solidFill>
                <a:latin typeface="+mj-ea"/>
              </a:rPr>
              <a:t>빅데이터</a:t>
            </a:r>
            <a:r>
              <a:rPr lang="en-US" altLang="ko-KR" sz="3600" b="1" dirty="0">
                <a:solidFill>
                  <a:schemeClr val="bg1"/>
                </a:solidFill>
                <a:latin typeface="+mj-ea"/>
              </a:rPr>
              <a:t> &amp; AI</a:t>
            </a:r>
            <a:r>
              <a:rPr lang="ko-KR" altLang="en-US" sz="3600" b="1" dirty="0">
                <a:solidFill>
                  <a:schemeClr val="bg1"/>
                </a:solidFill>
                <a:latin typeface="+mj-ea"/>
              </a:rPr>
              <a:t>의 </a:t>
            </a:r>
            <a:r>
              <a:rPr lang="ko-KR" altLang="en-US" sz="3600" b="1" dirty="0" smtClean="0">
                <a:solidFill>
                  <a:schemeClr val="bg1"/>
                </a:solidFill>
                <a:latin typeface="+mj-ea"/>
              </a:rPr>
              <a:t> 유통산업 내 활용 사례</a:t>
            </a:r>
            <a:endParaRPr lang="ko-KR" altLang="en-US" sz="3600" dirty="0">
              <a:solidFill>
                <a:schemeClr val="bg1"/>
              </a:solidFill>
              <a:latin typeface="HY강B" panose="02030600000101010101" pitchFamily="18" charset="-127"/>
              <a:ea typeface="HY강B" panose="02030600000101010101" pitchFamily="18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4078622723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날짜 개체 틀 2">
            <a:extLst>
              <a:ext uri="{FF2B5EF4-FFF2-40B4-BE49-F238E27FC236}">
                <a16:creationId xmlns:a16="http://schemas.microsoft.com/office/drawing/2014/main" id="{8BEC0EEF-E580-1F75-2490-8A8B2F4D11C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FC9B95B-9606-41FD-9410-F2B308BBF263}" type="datetime1">
              <a:rPr lang="en-US" altLang="ko-KR" smtClean="0"/>
              <a:t>6/22/2023</a:t>
            </a:fld>
            <a:endParaRPr lang="en-US" dirty="0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818822C7-2AE3-D865-2FBC-85D609571C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smtClean="0"/>
              <a:t>23</a:t>
            </a:fld>
            <a:endParaRPr lang="en-US" dirty="0"/>
          </a:p>
        </p:txBody>
      </p:sp>
      <p:pic>
        <p:nvPicPr>
          <p:cNvPr id="6146" name="Picture 2" descr="http://linkback.itworld.co.kr/images/onebyone.gif?action_id=77c7764c88f502b9aaad5ab45e29be9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92725" y="222250"/>
            <a:ext cx="9525" cy="95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170" name="Picture 2" descr="http://linkback.itworld.co.kr/images/onebyone.gif?action_id=78663f4e5dd43f7ab3d3cb1ace87216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38838" y="3561630"/>
            <a:ext cx="9525" cy="95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172" name="Picture 4" descr="http://linkback.itworld.co.kr/images/onebyone.gif?action_id=064853071267fc398bba37eb4085558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11124" y="-2825060"/>
            <a:ext cx="9525" cy="95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174" name="Picture 6" descr="http://linkback.itworld.co.kr/images/onebyone.gif?action_id=f640c2560077734bfec6c80d6d174f4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05413" y="306388"/>
            <a:ext cx="219446" cy="457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TextBox 10"/>
          <p:cNvSpPr txBox="1"/>
          <p:nvPr/>
        </p:nvSpPr>
        <p:spPr>
          <a:xfrm>
            <a:off x="246146" y="1332354"/>
            <a:ext cx="4452334" cy="369332"/>
          </a:xfrm>
          <a:prstGeom prst="rect">
            <a:avLst/>
          </a:prstGeom>
          <a:solidFill>
            <a:srgbClr val="002060"/>
          </a:solidFill>
          <a:ln>
            <a:solidFill>
              <a:schemeClr val="bg1"/>
            </a:solidFill>
          </a:ln>
        </p:spPr>
        <p:txBody>
          <a:bodyPr wrap="square" rtlCol="0">
            <a:spAutoFit/>
          </a:bodyPr>
          <a:lstStyle/>
          <a:p>
            <a:r>
              <a:rPr lang="ko-KR" altLang="en-US" dirty="0" err="1" smtClean="0">
                <a:solidFill>
                  <a:schemeClr val="bg1"/>
                </a:solidFill>
              </a:rPr>
              <a:t>유통산업내</a:t>
            </a:r>
            <a:r>
              <a:rPr lang="ko-KR" altLang="en-US" dirty="0" smtClean="0">
                <a:solidFill>
                  <a:schemeClr val="bg1"/>
                </a:solidFill>
              </a:rPr>
              <a:t> </a:t>
            </a:r>
            <a:r>
              <a:rPr lang="ko-KR" altLang="en-US" dirty="0" smtClean="0">
                <a:solidFill>
                  <a:schemeClr val="bg1"/>
                </a:solidFill>
              </a:rPr>
              <a:t>빅 </a:t>
            </a:r>
            <a:r>
              <a:rPr lang="ko-KR" altLang="en-US" dirty="0">
                <a:solidFill>
                  <a:schemeClr val="bg1"/>
                </a:solidFill>
              </a:rPr>
              <a:t>데이터 </a:t>
            </a:r>
            <a:r>
              <a:rPr lang="en-US" altLang="ko-KR" dirty="0">
                <a:solidFill>
                  <a:schemeClr val="bg1"/>
                </a:solidFill>
              </a:rPr>
              <a:t>&amp; AI </a:t>
            </a:r>
            <a:r>
              <a:rPr lang="ko-KR" altLang="en-US" dirty="0">
                <a:solidFill>
                  <a:schemeClr val="bg1"/>
                </a:solidFill>
              </a:rPr>
              <a:t>의 활용 사례</a:t>
            </a:r>
          </a:p>
        </p:txBody>
      </p:sp>
      <p:grpSp>
        <p:nvGrpSpPr>
          <p:cNvPr id="2" name="그룹 1"/>
          <p:cNvGrpSpPr/>
          <p:nvPr/>
        </p:nvGrpSpPr>
        <p:grpSpPr>
          <a:xfrm>
            <a:off x="410983" y="1261651"/>
            <a:ext cx="11419878" cy="5914003"/>
            <a:chOff x="247249" y="1353658"/>
            <a:chExt cx="11419878" cy="5914003"/>
          </a:xfrm>
        </p:grpSpPr>
        <p:sp>
          <p:nvSpPr>
            <p:cNvPr id="6" name="자유형 5"/>
            <p:cNvSpPr/>
            <p:nvPr/>
          </p:nvSpPr>
          <p:spPr>
            <a:xfrm>
              <a:off x="247249" y="1986322"/>
              <a:ext cx="2622766" cy="798199"/>
            </a:xfrm>
            <a:custGeom>
              <a:avLst/>
              <a:gdLst>
                <a:gd name="connsiteX0" fmla="*/ 0 w 2622766"/>
                <a:gd name="connsiteY0" fmla="*/ 0 h 798199"/>
                <a:gd name="connsiteX1" fmla="*/ 2622766 w 2622766"/>
                <a:gd name="connsiteY1" fmla="*/ 0 h 798199"/>
                <a:gd name="connsiteX2" fmla="*/ 2622766 w 2622766"/>
                <a:gd name="connsiteY2" fmla="*/ 798199 h 798199"/>
                <a:gd name="connsiteX3" fmla="*/ 0 w 2622766"/>
                <a:gd name="connsiteY3" fmla="*/ 798199 h 798199"/>
                <a:gd name="connsiteX4" fmla="*/ 0 w 2622766"/>
                <a:gd name="connsiteY4" fmla="*/ 0 h 7981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622766" h="798199">
                  <a:moveTo>
                    <a:pt x="0" y="0"/>
                  </a:moveTo>
                  <a:lnTo>
                    <a:pt x="2622766" y="0"/>
                  </a:lnTo>
                  <a:lnTo>
                    <a:pt x="2622766" y="798199"/>
                  </a:lnTo>
                  <a:lnTo>
                    <a:pt x="0" y="798199"/>
                  </a:lnTo>
                  <a:lnTo>
                    <a:pt x="0" y="0"/>
                  </a:lnTo>
                  <a:close/>
                </a:path>
              </a:pathLst>
            </a:custGeom>
          </p:spPr>
          <p:style>
            <a:lnRef idx="2">
              <a:schemeClr val="dk2">
                <a:hueOff val="0"/>
                <a:satOff val="0"/>
                <a:lumOff val="0"/>
                <a:alphaOff val="0"/>
              </a:schemeClr>
            </a:lnRef>
            <a:fillRef idx="1">
              <a:schemeClr val="dk2">
                <a:hueOff val="0"/>
                <a:satOff val="0"/>
                <a:lumOff val="0"/>
                <a:alphaOff val="0"/>
              </a:schemeClr>
            </a:fillRef>
            <a:effectRef idx="0">
              <a:schemeClr val="dk2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13792" tIns="65024" rIns="113792" bIns="65024" numCol="1" spcCol="1270" anchor="ctr" anchorCtr="0">
              <a:noAutofit/>
            </a:bodyPr>
            <a:lstStyle/>
            <a:p>
              <a:pPr marL="0" marR="0" lvl="0" indent="0" algn="ctr" defTabSz="914400" eaLnBrk="1" fontAlgn="auto" latinLnBrk="1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US" altLang="ko-KR" sz="1600" kern="1200" dirty="0" smtClean="0">
                <a:latin typeface="나눔고딕" panose="020D0604000000000000" pitchFamily="50" charset="-127"/>
                <a:ea typeface="나눔고딕" panose="020D0604000000000000" pitchFamily="50" charset="-127"/>
              </a:endParaRPr>
            </a:p>
            <a:p>
              <a:pPr marL="0" marR="0" lvl="0" indent="0" algn="ctr" defTabSz="914400" eaLnBrk="1" fontAlgn="auto" latinLnBrk="1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ko-KR" altLang="en-US" sz="1600" kern="1200" dirty="0" smtClean="0">
                  <a:latin typeface="나눔고딕" panose="020D0604000000000000" pitchFamily="50" charset="-127"/>
                  <a:ea typeface="나눔고딕" panose="020D0604000000000000" pitchFamily="50" charset="-127"/>
                </a:rPr>
                <a:t>아마존</a:t>
              </a:r>
              <a:r>
                <a:rPr lang="en-US" altLang="ko-KR" sz="1600" kern="1200" dirty="0" smtClean="0">
                  <a:latin typeface="나눔고딕" panose="020D0604000000000000" pitchFamily="50" charset="-127"/>
                  <a:ea typeface="나눔고딕" panose="020D0604000000000000" pitchFamily="50" charset="-127"/>
                </a:rPr>
                <a:t>(Amazon)</a:t>
              </a:r>
            </a:p>
            <a:p>
              <a:pPr lvl="0" algn="ctr" defTabSz="1155700" latinLnBrk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ko-KR" altLang="en-US" sz="1600" kern="1200" dirty="0"/>
            </a:p>
          </p:txBody>
        </p:sp>
        <p:sp>
          <p:nvSpPr>
            <p:cNvPr id="7" name="자유형 6"/>
            <p:cNvSpPr/>
            <p:nvPr/>
          </p:nvSpPr>
          <p:spPr>
            <a:xfrm>
              <a:off x="249137" y="2801754"/>
              <a:ext cx="2622766" cy="3363476"/>
            </a:xfrm>
            <a:custGeom>
              <a:avLst/>
              <a:gdLst>
                <a:gd name="connsiteX0" fmla="*/ 0 w 2622766"/>
                <a:gd name="connsiteY0" fmla="*/ 0 h 5025306"/>
                <a:gd name="connsiteX1" fmla="*/ 2622766 w 2622766"/>
                <a:gd name="connsiteY1" fmla="*/ 0 h 5025306"/>
                <a:gd name="connsiteX2" fmla="*/ 2622766 w 2622766"/>
                <a:gd name="connsiteY2" fmla="*/ 5025306 h 5025306"/>
                <a:gd name="connsiteX3" fmla="*/ 0 w 2622766"/>
                <a:gd name="connsiteY3" fmla="*/ 5025306 h 5025306"/>
                <a:gd name="connsiteX4" fmla="*/ 0 w 2622766"/>
                <a:gd name="connsiteY4" fmla="*/ 0 h 50253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622766" h="5025306">
                  <a:moveTo>
                    <a:pt x="0" y="0"/>
                  </a:moveTo>
                  <a:lnTo>
                    <a:pt x="2622766" y="0"/>
                  </a:lnTo>
                  <a:lnTo>
                    <a:pt x="2622766" y="5025306"/>
                  </a:lnTo>
                  <a:lnTo>
                    <a:pt x="0" y="5025306"/>
                  </a:lnTo>
                  <a:lnTo>
                    <a:pt x="0" y="0"/>
                  </a:lnTo>
                  <a:close/>
                </a:path>
              </a:pathLst>
            </a:custGeom>
          </p:spPr>
          <p:style>
            <a:lnRef idx="2">
              <a:schemeClr val="dk2">
                <a:alpha val="90000"/>
                <a:tint val="40000"/>
                <a:hueOff val="0"/>
                <a:satOff val="0"/>
                <a:lumOff val="0"/>
                <a:alphaOff val="0"/>
              </a:schemeClr>
            </a:lnRef>
            <a:fillRef idx="1">
              <a:schemeClr val="dk2">
                <a:alpha val="90000"/>
                <a:tint val="40000"/>
                <a:hueOff val="0"/>
                <a:satOff val="0"/>
                <a:lumOff val="0"/>
                <a:alphaOff val="0"/>
              </a:schemeClr>
            </a:fillRef>
            <a:effectRef idx="0">
              <a:schemeClr val="dk2">
                <a:alpha val="90000"/>
                <a:tint val="4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85344" tIns="85344" rIns="113792" bIns="128016" numCol="1" spcCol="1270" anchor="t" anchorCtr="0">
              <a:noAutofit/>
            </a:bodyPr>
            <a:lstStyle/>
            <a:p>
              <a:pPr marL="171450" lvl="1" indent="-171450" algn="l" defTabSz="711200" latinLnBrk="1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•"/>
              </a:pPr>
              <a:endParaRPr lang="en-US" altLang="ko-KR" sz="1600" kern="1200" dirty="0" smtClean="0">
                <a:latin typeface="나눔고딕" panose="020D0604000000000000" pitchFamily="50" charset="-127"/>
                <a:ea typeface="나눔고딕" panose="020D0604000000000000" pitchFamily="50" charset="-127"/>
              </a:endParaRPr>
            </a:p>
            <a:p>
              <a:pPr marL="171450" lvl="1" indent="-171450" algn="l" defTabSz="711200" latinLnBrk="1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•"/>
              </a:pPr>
              <a:r>
                <a:rPr lang="ko-KR" altLang="en-US" sz="1600" dirty="0" smtClean="0">
                  <a:latin typeface="나눔고딕" panose="020D0604000000000000" pitchFamily="50" charset="-127"/>
                  <a:ea typeface="나눔고딕" panose="020D0604000000000000" pitchFamily="50" charset="-127"/>
                </a:rPr>
                <a:t>상품포장손실 사전 감지 </a:t>
              </a:r>
              <a:endParaRPr lang="en-US" altLang="ko-KR" sz="1600" dirty="0" smtClean="0">
                <a:latin typeface="나눔고딕" panose="020D0604000000000000" pitchFamily="50" charset="-127"/>
                <a:ea typeface="나눔고딕" panose="020D0604000000000000" pitchFamily="50" charset="-127"/>
              </a:endParaRPr>
            </a:p>
            <a:p>
              <a:pPr marL="171450" lvl="1" indent="-171450" algn="l" defTabSz="711200" latinLnBrk="1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•"/>
              </a:pPr>
              <a:r>
                <a:rPr lang="ko-KR" altLang="en-US" sz="1600" kern="1200" dirty="0" smtClean="0">
                  <a:latin typeface="나눔고딕" panose="020D0604000000000000" pitchFamily="50" charset="-127"/>
                  <a:ea typeface="나눔고딕" panose="020D0604000000000000" pitchFamily="50" charset="-127"/>
                </a:rPr>
                <a:t>구매 </a:t>
              </a:r>
              <a:r>
                <a:rPr lang="ko-KR" altLang="en-US" sz="1600" kern="1200" dirty="0" smtClean="0">
                  <a:latin typeface="나눔고딕" panose="020D0604000000000000" pitchFamily="50" charset="-127"/>
                  <a:ea typeface="나눔고딕" panose="020D0604000000000000" pitchFamily="50" charset="-127"/>
                </a:rPr>
                <a:t>데이터를 분석</a:t>
              </a:r>
              <a:endParaRPr lang="ko-KR" altLang="en-US" sz="1600" kern="1200" dirty="0"/>
            </a:p>
            <a:p>
              <a:pPr marL="171450" lvl="1" indent="-171450" algn="l" defTabSz="711200" latinLnBrk="1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•"/>
              </a:pPr>
              <a:r>
                <a:rPr lang="ko-KR" altLang="en-US" sz="1600" kern="1200" dirty="0" smtClean="0">
                  <a:latin typeface="나눔고딕" panose="020D0604000000000000" pitchFamily="50" charset="-127"/>
                  <a:ea typeface="나눔고딕" panose="020D0604000000000000" pitchFamily="50" charset="-127"/>
                </a:rPr>
                <a:t>특정 책을 구매한 사람이 추가로 구매할 것으로 예상  도서 추천 시스템</a:t>
              </a:r>
              <a:endParaRPr lang="ko-KR" altLang="en-US" sz="1600" kern="1200" dirty="0"/>
            </a:p>
            <a:p>
              <a:pPr marL="171450" lvl="1" indent="-171450" algn="l" defTabSz="711200" latinLnBrk="1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•"/>
              </a:pPr>
              <a:r>
                <a:rPr lang="ko-KR" altLang="en-US" sz="1600" kern="1200" dirty="0" smtClean="0"/>
                <a:t>경쟁업체의 가격</a:t>
              </a:r>
              <a:r>
                <a:rPr lang="en-US" altLang="ko-KR" sz="1600" kern="1200" dirty="0" smtClean="0"/>
                <a:t>/</a:t>
              </a:r>
              <a:r>
                <a:rPr lang="ko-KR" altLang="en-US" sz="1600" kern="1200" dirty="0" smtClean="0"/>
                <a:t>주문내용</a:t>
              </a:r>
              <a:r>
                <a:rPr lang="en-US" altLang="ko-KR" sz="1600" kern="1200" dirty="0" smtClean="0"/>
                <a:t>/</a:t>
              </a:r>
              <a:r>
                <a:rPr lang="ko-KR" altLang="en-US" sz="1600" kern="1200" dirty="0" err="1" smtClean="0"/>
                <a:t>예상이익율</a:t>
              </a:r>
              <a:r>
                <a:rPr lang="en-US" altLang="ko-KR" sz="1600" kern="1200" dirty="0" smtClean="0"/>
                <a:t>/</a:t>
              </a:r>
              <a:r>
                <a:rPr lang="ko-KR" altLang="en-US" sz="1600" kern="1200" dirty="0" smtClean="0"/>
                <a:t>웹사이트활동 </a:t>
              </a:r>
              <a:r>
                <a:rPr lang="ko-KR" altLang="en-US" sz="1600" kern="1200" dirty="0" err="1" smtClean="0"/>
                <a:t>빅데이터를</a:t>
              </a:r>
              <a:r>
                <a:rPr lang="ko-KR" altLang="en-US" sz="1600" kern="1200" dirty="0" smtClean="0"/>
                <a:t> 수집 </a:t>
              </a:r>
              <a:r>
                <a:rPr lang="en-US" altLang="ko-KR" sz="1600" kern="1200" dirty="0" smtClean="0"/>
                <a:t>10</a:t>
              </a:r>
              <a:r>
                <a:rPr lang="ko-KR" altLang="en-US" sz="1600" kern="1200" dirty="0" smtClean="0"/>
                <a:t>분 마다 가격을 최적화</a:t>
              </a:r>
              <a:r>
                <a:rPr lang="en-US" altLang="ko-KR" sz="1600" kern="1200" dirty="0" smtClean="0"/>
                <a:t>&gt; </a:t>
              </a:r>
              <a:r>
                <a:rPr lang="ko-KR" altLang="en-US" sz="1600" kern="1200" dirty="0" smtClean="0"/>
                <a:t>매년 </a:t>
              </a:r>
              <a:r>
                <a:rPr lang="en-US" altLang="ko-KR" sz="1600" kern="1200" dirty="0" smtClean="0"/>
                <a:t>25% </a:t>
              </a:r>
              <a:r>
                <a:rPr lang="ko-KR" altLang="en-US" sz="1600" kern="1200" dirty="0" smtClean="0"/>
                <a:t>의 수익 창출 </a:t>
              </a:r>
              <a:endParaRPr lang="ko-KR" altLang="en-US" sz="1600" kern="1200" dirty="0"/>
            </a:p>
          </p:txBody>
        </p:sp>
        <p:sp>
          <p:nvSpPr>
            <p:cNvPr id="8" name="자유형 7"/>
            <p:cNvSpPr/>
            <p:nvPr/>
          </p:nvSpPr>
          <p:spPr>
            <a:xfrm>
              <a:off x="3053618" y="2055166"/>
              <a:ext cx="2629795" cy="870967"/>
            </a:xfrm>
            <a:custGeom>
              <a:avLst/>
              <a:gdLst>
                <a:gd name="connsiteX0" fmla="*/ 0 w 2629795"/>
                <a:gd name="connsiteY0" fmla="*/ 0 h 870967"/>
                <a:gd name="connsiteX1" fmla="*/ 2629795 w 2629795"/>
                <a:gd name="connsiteY1" fmla="*/ 0 h 870967"/>
                <a:gd name="connsiteX2" fmla="*/ 2629795 w 2629795"/>
                <a:gd name="connsiteY2" fmla="*/ 870967 h 870967"/>
                <a:gd name="connsiteX3" fmla="*/ 0 w 2629795"/>
                <a:gd name="connsiteY3" fmla="*/ 870967 h 870967"/>
                <a:gd name="connsiteX4" fmla="*/ 0 w 2629795"/>
                <a:gd name="connsiteY4" fmla="*/ 0 h 8709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629795" h="870967">
                  <a:moveTo>
                    <a:pt x="0" y="0"/>
                  </a:moveTo>
                  <a:lnTo>
                    <a:pt x="2629795" y="0"/>
                  </a:lnTo>
                  <a:lnTo>
                    <a:pt x="2629795" y="870967"/>
                  </a:lnTo>
                  <a:lnTo>
                    <a:pt x="0" y="8709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70C0"/>
            </a:solidFill>
          </p:spPr>
          <p:style>
            <a:lnRef idx="2">
              <a:schemeClr val="dk2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dk2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13792" tIns="65024" rIns="113792" bIns="65024" numCol="1" spcCol="1270" anchor="ctr" anchorCtr="0">
              <a:noAutofit/>
            </a:bodyPr>
            <a:lstStyle/>
            <a:p>
              <a:pPr lvl="0" algn="ctr" defTabSz="711200" latinLnBrk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ko-KR" altLang="en-US" sz="1600" b="1" kern="1200" dirty="0" smtClean="0">
                  <a:latin typeface="나눔고딕" panose="020D0604000000000000" pitchFamily="50" charset="-127"/>
                  <a:ea typeface="나눔고딕" panose="020D0604000000000000" pitchFamily="50" charset="-127"/>
                </a:rPr>
                <a:t>전자상 </a:t>
              </a:r>
              <a:r>
                <a:rPr lang="ko-KR" altLang="en-US" sz="1600" b="1" kern="1200" dirty="0" err="1" smtClean="0">
                  <a:latin typeface="나눔고딕" panose="020D0604000000000000" pitchFamily="50" charset="-127"/>
                  <a:ea typeface="나눔고딕" panose="020D0604000000000000" pitchFamily="50" charset="-127"/>
                </a:rPr>
                <a:t>라쿠텐</a:t>
              </a:r>
              <a:r>
                <a:rPr lang="en-US" altLang="ko-KR" sz="1600" b="1" kern="1200" dirty="0" smtClean="0">
                  <a:latin typeface="나눔고딕" panose="020D0604000000000000" pitchFamily="50" charset="-127"/>
                  <a:ea typeface="나눔고딕" panose="020D0604000000000000" pitchFamily="50" charset="-127"/>
                </a:rPr>
                <a:t>( </a:t>
              </a:r>
              <a:r>
                <a:rPr lang="ko-KR" altLang="en-US" sz="1600" b="1" kern="1200" dirty="0" smtClean="0">
                  <a:latin typeface="나눔고딕" panose="020D0604000000000000" pitchFamily="50" charset="-127"/>
                  <a:ea typeface="나눔고딕" panose="020D0604000000000000" pitchFamily="50" charset="-127"/>
                </a:rPr>
                <a:t>일본</a:t>
              </a:r>
              <a:r>
                <a:rPr lang="en-US" altLang="ko-KR" sz="1600" b="1" kern="1200" dirty="0" smtClean="0">
                  <a:latin typeface="나눔고딕" panose="020D0604000000000000" pitchFamily="50" charset="-127"/>
                  <a:ea typeface="나눔고딕" panose="020D0604000000000000" pitchFamily="50" charset="-127"/>
                </a:rPr>
                <a:t>)</a:t>
              </a:r>
              <a:endParaRPr lang="ko-KR" altLang="en-US" sz="1600" b="1" kern="1200" dirty="0"/>
            </a:p>
          </p:txBody>
        </p:sp>
        <p:sp>
          <p:nvSpPr>
            <p:cNvPr id="9" name="자유형 8"/>
            <p:cNvSpPr/>
            <p:nvPr/>
          </p:nvSpPr>
          <p:spPr>
            <a:xfrm>
              <a:off x="3110191" y="2885076"/>
              <a:ext cx="2622766" cy="3480179"/>
            </a:xfrm>
            <a:custGeom>
              <a:avLst/>
              <a:gdLst>
                <a:gd name="connsiteX0" fmla="*/ 0 w 2622766"/>
                <a:gd name="connsiteY0" fmla="*/ 0 h 4941984"/>
                <a:gd name="connsiteX1" fmla="*/ 2622766 w 2622766"/>
                <a:gd name="connsiteY1" fmla="*/ 0 h 4941984"/>
                <a:gd name="connsiteX2" fmla="*/ 2622766 w 2622766"/>
                <a:gd name="connsiteY2" fmla="*/ 4941984 h 4941984"/>
                <a:gd name="connsiteX3" fmla="*/ 0 w 2622766"/>
                <a:gd name="connsiteY3" fmla="*/ 4941984 h 4941984"/>
                <a:gd name="connsiteX4" fmla="*/ 0 w 2622766"/>
                <a:gd name="connsiteY4" fmla="*/ 0 h 49419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622766" h="4941984">
                  <a:moveTo>
                    <a:pt x="0" y="0"/>
                  </a:moveTo>
                  <a:lnTo>
                    <a:pt x="2622766" y="0"/>
                  </a:lnTo>
                  <a:lnTo>
                    <a:pt x="2622766" y="4941984"/>
                  </a:lnTo>
                  <a:lnTo>
                    <a:pt x="0" y="4941984"/>
                  </a:lnTo>
                  <a:lnTo>
                    <a:pt x="0" y="0"/>
                  </a:lnTo>
                  <a:close/>
                </a:path>
              </a:pathLst>
            </a:custGeom>
          </p:spPr>
          <p:style>
            <a:lnRef idx="2">
              <a:schemeClr val="dk2">
                <a:alpha val="90000"/>
                <a:tint val="40000"/>
                <a:hueOff val="0"/>
                <a:satOff val="0"/>
                <a:lumOff val="0"/>
                <a:alphaOff val="0"/>
              </a:schemeClr>
            </a:lnRef>
            <a:fillRef idx="1">
              <a:schemeClr val="dk2">
                <a:alpha val="90000"/>
                <a:tint val="40000"/>
                <a:hueOff val="0"/>
                <a:satOff val="0"/>
                <a:lumOff val="0"/>
                <a:alphaOff val="0"/>
              </a:schemeClr>
            </a:fillRef>
            <a:effectRef idx="0">
              <a:schemeClr val="dk2">
                <a:alpha val="90000"/>
                <a:tint val="4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85344" tIns="85344" rIns="113792" bIns="128016" numCol="1" spcCol="1270" anchor="t" anchorCtr="0">
              <a:noAutofit/>
            </a:bodyPr>
            <a:lstStyle/>
            <a:p>
              <a:pPr marL="171450" lvl="1" indent="-171450" algn="l" defTabSz="711200" latinLnBrk="1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•"/>
              </a:pPr>
              <a:r>
                <a:rPr lang="ko-KR" altLang="en-US" sz="1600" kern="1200" dirty="0" smtClean="0">
                  <a:latin typeface="나눔고딕" panose="020D0604000000000000" pitchFamily="50" charset="-127"/>
                  <a:ea typeface="나눔고딕" panose="020D0604000000000000" pitchFamily="50" charset="-127"/>
                </a:rPr>
                <a:t>슈퍼 데이터베이스</a:t>
              </a:r>
              <a:r>
                <a:rPr lang="en-US" altLang="ko-KR" sz="1600" kern="1200" dirty="0" smtClean="0">
                  <a:latin typeface="나눔고딕" panose="020D0604000000000000" pitchFamily="50" charset="-127"/>
                  <a:ea typeface="나눔고딕" panose="020D0604000000000000" pitchFamily="50" charset="-127"/>
                </a:rPr>
                <a:t>(DB)</a:t>
              </a:r>
              <a:r>
                <a:rPr lang="ko-KR" altLang="en-US" sz="1600" kern="1200" dirty="0" smtClean="0">
                  <a:latin typeface="나눔고딕" panose="020D0604000000000000" pitchFamily="50" charset="-127"/>
                  <a:ea typeface="나눔고딕" panose="020D0604000000000000" pitchFamily="50" charset="-127"/>
                </a:rPr>
                <a:t>를 구축</a:t>
              </a:r>
              <a:r>
                <a:rPr lang="en-US" altLang="ko-KR" sz="1600" kern="1200" dirty="0" smtClean="0">
                  <a:latin typeface="나눔고딕" panose="020D0604000000000000" pitchFamily="50" charset="-127"/>
                  <a:ea typeface="나눔고딕" panose="020D0604000000000000" pitchFamily="50" charset="-127"/>
                </a:rPr>
                <a:t>&gt;</a:t>
              </a:r>
              <a:r>
                <a:rPr lang="ko-KR" altLang="en-US" sz="1600" kern="1200" dirty="0" smtClean="0">
                  <a:latin typeface="나눔고딕" panose="020D0604000000000000" pitchFamily="50" charset="-127"/>
                  <a:ea typeface="나눔고딕" panose="020D0604000000000000" pitchFamily="50" charset="-127"/>
                </a:rPr>
                <a:t> </a:t>
              </a:r>
              <a:r>
                <a:rPr lang="ko-KR" altLang="en-US" sz="1600" kern="1200" dirty="0" err="1" smtClean="0">
                  <a:latin typeface="나눔고딕" panose="020D0604000000000000" pitchFamily="50" charset="-127"/>
                  <a:ea typeface="나눔고딕" panose="020D0604000000000000" pitchFamily="50" charset="-127"/>
                </a:rPr>
                <a:t>회원기본</a:t>
              </a:r>
              <a:r>
                <a:rPr lang="ko-KR" altLang="en-US" sz="1600" kern="1200" dirty="0" smtClean="0">
                  <a:latin typeface="나눔고딕" panose="020D0604000000000000" pitchFamily="50" charset="-127"/>
                  <a:ea typeface="나눔고딕" panose="020D0604000000000000" pitchFamily="50" charset="-127"/>
                </a:rPr>
                <a:t> 정보와 구매 내역</a:t>
              </a:r>
              <a:r>
                <a:rPr lang="en-US" altLang="ko-KR" sz="1600" kern="1200" dirty="0" smtClean="0">
                  <a:latin typeface="나눔고딕" panose="020D0604000000000000" pitchFamily="50" charset="-127"/>
                  <a:ea typeface="나눔고딕" panose="020D0604000000000000" pitchFamily="50" charset="-127"/>
                </a:rPr>
                <a:t>, </a:t>
              </a:r>
              <a:r>
                <a:rPr lang="ko-KR" altLang="en-US" sz="1600" kern="1200" dirty="0" smtClean="0">
                  <a:latin typeface="나눔고딕" panose="020D0604000000000000" pitchFamily="50" charset="-127"/>
                  <a:ea typeface="나눔고딕" panose="020D0604000000000000" pitchFamily="50" charset="-127"/>
                </a:rPr>
                <a:t>서비스 예약 정보가 통합</a:t>
              </a:r>
              <a:endParaRPr lang="ko-KR" altLang="en-US" sz="1600" kern="1200" dirty="0"/>
            </a:p>
            <a:p>
              <a:pPr marL="171450" lvl="1" indent="-171450" algn="l" defTabSz="711200" latinLnBrk="1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•"/>
              </a:pPr>
              <a:r>
                <a:rPr lang="ko-KR" altLang="en-US" sz="1600" kern="1200" dirty="0" smtClean="0">
                  <a:latin typeface="나눔고딕" panose="020D0604000000000000" pitchFamily="50" charset="-127"/>
                  <a:ea typeface="나눔고딕" panose="020D0604000000000000" pitchFamily="50" charset="-127"/>
                </a:rPr>
                <a:t> 이를 활용해 그룹 내 전자상거래 사업과 신용</a:t>
              </a:r>
              <a:r>
                <a:rPr lang="en-US" altLang="ko-KR" sz="1600" kern="1200" dirty="0" smtClean="0">
                  <a:latin typeface="나눔고딕" panose="020D0604000000000000" pitchFamily="50" charset="-127"/>
                  <a:ea typeface="나눔고딕" panose="020D0604000000000000" pitchFamily="50" charset="-127"/>
                </a:rPr>
                <a:t>·</a:t>
              </a:r>
              <a:r>
                <a:rPr lang="ko-KR" altLang="en-US" sz="1600" kern="1200" dirty="0" smtClean="0">
                  <a:latin typeface="나눔고딕" panose="020D0604000000000000" pitchFamily="50" charset="-127"/>
                  <a:ea typeface="나눔고딕" panose="020D0604000000000000" pitchFamily="50" charset="-127"/>
                </a:rPr>
                <a:t>결제 서비스</a:t>
              </a:r>
              <a:r>
                <a:rPr lang="en-US" altLang="ko-KR" sz="1600" kern="1200" dirty="0" smtClean="0">
                  <a:latin typeface="나눔고딕" panose="020D0604000000000000" pitchFamily="50" charset="-127"/>
                  <a:ea typeface="나눔고딕" panose="020D0604000000000000" pitchFamily="50" charset="-127"/>
                </a:rPr>
                <a:t>, </a:t>
              </a:r>
              <a:r>
                <a:rPr lang="ko-KR" altLang="en-US" sz="1600" kern="1200" dirty="0" smtClean="0">
                  <a:latin typeface="나눔고딕" panose="020D0604000000000000" pitchFamily="50" charset="-127"/>
                  <a:ea typeface="나눔고딕" panose="020D0604000000000000" pitchFamily="50" charset="-127"/>
                </a:rPr>
                <a:t>포털</a:t>
              </a:r>
              <a:r>
                <a:rPr lang="en-US" altLang="ko-KR" sz="1600" kern="1200" dirty="0" smtClean="0">
                  <a:latin typeface="나눔고딕" panose="020D0604000000000000" pitchFamily="50" charset="-127"/>
                  <a:ea typeface="나눔고딕" panose="020D0604000000000000" pitchFamily="50" charset="-127"/>
                </a:rPr>
                <a:t>, </a:t>
              </a:r>
              <a:r>
                <a:rPr lang="ko-KR" altLang="en-US" sz="1600" kern="1200" dirty="0" smtClean="0">
                  <a:latin typeface="나눔고딕" panose="020D0604000000000000" pitchFamily="50" charset="-127"/>
                  <a:ea typeface="나눔고딕" panose="020D0604000000000000" pitchFamily="50" charset="-127"/>
                </a:rPr>
                <a:t>여행</a:t>
              </a:r>
              <a:r>
                <a:rPr lang="en-US" altLang="ko-KR" sz="1600" kern="1200" dirty="0" smtClean="0">
                  <a:latin typeface="나눔고딕" panose="020D0604000000000000" pitchFamily="50" charset="-127"/>
                  <a:ea typeface="나눔고딕" panose="020D0604000000000000" pitchFamily="50" charset="-127"/>
                </a:rPr>
                <a:t>, </a:t>
              </a:r>
              <a:r>
                <a:rPr lang="ko-KR" altLang="en-US" sz="1600" kern="1200" dirty="0" smtClean="0">
                  <a:latin typeface="나눔고딕" panose="020D0604000000000000" pitchFamily="50" charset="-127"/>
                  <a:ea typeface="나눔고딕" panose="020D0604000000000000" pitchFamily="50" charset="-127"/>
                </a:rPr>
                <a:t>증권</a:t>
              </a:r>
              <a:r>
                <a:rPr lang="en-US" altLang="ko-KR" sz="1600" kern="1200" dirty="0" smtClean="0">
                  <a:latin typeface="나눔고딕" panose="020D0604000000000000" pitchFamily="50" charset="-127"/>
                  <a:ea typeface="나눔고딕" panose="020D0604000000000000" pitchFamily="50" charset="-127"/>
                </a:rPr>
                <a:t>, </a:t>
              </a:r>
              <a:r>
                <a:rPr lang="ko-KR" altLang="en-US" sz="1600" kern="1200" dirty="0" smtClean="0">
                  <a:latin typeface="나눔고딕" panose="020D0604000000000000" pitchFamily="50" charset="-127"/>
                  <a:ea typeface="나눔고딕" panose="020D0604000000000000" pitchFamily="50" charset="-127"/>
                </a:rPr>
                <a:t>프로스포츠 사업 부문에 공동 분배 활용</a:t>
              </a:r>
              <a:endParaRPr lang="ko-KR" altLang="en-US" sz="1600" kern="1200" dirty="0"/>
            </a:p>
            <a:p>
              <a:pPr marL="171450" lvl="1" indent="-171450" algn="l" defTabSz="711200" latinLnBrk="1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•"/>
              </a:pPr>
              <a:r>
                <a:rPr lang="ko-KR" altLang="en-US" sz="1600" kern="1200" dirty="0" smtClean="0"/>
                <a:t>상호 </a:t>
              </a:r>
              <a:r>
                <a:rPr lang="ko-KR" altLang="en-US" sz="1600" kern="1200" dirty="0" err="1" smtClean="0"/>
                <a:t>윈윈</a:t>
              </a:r>
              <a:r>
                <a:rPr lang="en-US" altLang="ko-KR" sz="1600" kern="1200" dirty="0" smtClean="0"/>
                <a:t>( </a:t>
              </a:r>
              <a:r>
                <a:rPr lang="ko-KR" altLang="en-US" sz="1600" kern="1200" dirty="0" smtClean="0"/>
                <a:t>정보상호 교환</a:t>
              </a:r>
              <a:r>
                <a:rPr lang="en-US" altLang="ko-KR" sz="1600" kern="1200" dirty="0" smtClean="0"/>
                <a:t>/</a:t>
              </a:r>
              <a:r>
                <a:rPr lang="ko-KR" altLang="en-US" sz="1600" kern="1200" dirty="0" smtClean="0"/>
                <a:t>수익</a:t>
              </a:r>
              <a:r>
                <a:rPr lang="en-US" altLang="ko-KR" sz="1600" kern="1200" dirty="0" smtClean="0"/>
                <a:t>)</a:t>
              </a:r>
              <a:endParaRPr lang="ko-KR" altLang="en-US" sz="1600" kern="1200" dirty="0"/>
            </a:p>
          </p:txBody>
        </p:sp>
        <p:sp>
          <p:nvSpPr>
            <p:cNvPr id="10" name="자유형 9"/>
            <p:cNvSpPr/>
            <p:nvPr/>
          </p:nvSpPr>
          <p:spPr>
            <a:xfrm>
              <a:off x="6180794" y="1353658"/>
              <a:ext cx="2620205" cy="870967"/>
            </a:xfrm>
            <a:custGeom>
              <a:avLst/>
              <a:gdLst>
                <a:gd name="connsiteX0" fmla="*/ 0 w 2620205"/>
                <a:gd name="connsiteY0" fmla="*/ 0 h 870967"/>
                <a:gd name="connsiteX1" fmla="*/ 2620205 w 2620205"/>
                <a:gd name="connsiteY1" fmla="*/ 0 h 870967"/>
                <a:gd name="connsiteX2" fmla="*/ 2620205 w 2620205"/>
                <a:gd name="connsiteY2" fmla="*/ 870967 h 870967"/>
                <a:gd name="connsiteX3" fmla="*/ 0 w 2620205"/>
                <a:gd name="connsiteY3" fmla="*/ 870967 h 870967"/>
                <a:gd name="connsiteX4" fmla="*/ 0 w 2620205"/>
                <a:gd name="connsiteY4" fmla="*/ 0 h 8709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620205" h="870967">
                  <a:moveTo>
                    <a:pt x="0" y="0"/>
                  </a:moveTo>
                  <a:lnTo>
                    <a:pt x="2620205" y="0"/>
                  </a:lnTo>
                  <a:lnTo>
                    <a:pt x="2620205" y="870967"/>
                  </a:lnTo>
                  <a:lnTo>
                    <a:pt x="0" y="8709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B050"/>
            </a:solidFill>
          </p:spPr>
          <p:style>
            <a:lnRef idx="2">
              <a:schemeClr val="dk2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dk2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13792" tIns="65024" rIns="113792" bIns="65024" numCol="1" spcCol="1270" anchor="ctr" anchorCtr="0">
              <a:noAutofit/>
            </a:bodyPr>
            <a:lstStyle/>
            <a:p>
              <a:pPr lvl="0" algn="ctr" defTabSz="711200" latinLnBrk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en-US" altLang="ko-KR" sz="1600" kern="1200" dirty="0" smtClean="0">
                <a:latin typeface="나눔고딕" panose="020D0604000000000000" pitchFamily="50" charset="-127"/>
                <a:ea typeface="나눔고딕" panose="020D0604000000000000" pitchFamily="50" charset="-127"/>
              </a:endParaRPr>
            </a:p>
            <a:p>
              <a:pPr lvl="0" algn="ctr" defTabSz="711200" latinLnBrk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en-US" altLang="ko-KR" sz="1600" kern="1200" dirty="0" smtClean="0">
                <a:latin typeface="나눔고딕" panose="020D0604000000000000" pitchFamily="50" charset="-127"/>
                <a:ea typeface="나눔고딕" panose="020D0604000000000000" pitchFamily="50" charset="-127"/>
              </a:endParaRPr>
            </a:p>
            <a:p>
              <a:pPr lvl="0" algn="ctr" defTabSz="711200" latinLnBrk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en-US" altLang="ko-KR" sz="1600" kern="1200" dirty="0" smtClean="0">
                <a:latin typeface="나눔고딕" panose="020D0604000000000000" pitchFamily="50" charset="-127"/>
                <a:ea typeface="나눔고딕" panose="020D0604000000000000" pitchFamily="50" charset="-127"/>
              </a:endParaRPr>
            </a:p>
            <a:p>
              <a:pPr lvl="0" algn="ctr" defTabSz="711200" latinLnBrk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en-US" altLang="ko-KR" sz="1600" kern="1200" dirty="0" smtClean="0">
                <a:latin typeface="나눔고딕" panose="020D0604000000000000" pitchFamily="50" charset="-127"/>
                <a:ea typeface="나눔고딕" panose="020D0604000000000000" pitchFamily="50" charset="-127"/>
              </a:endParaRPr>
            </a:p>
            <a:p>
              <a:pPr lvl="0" algn="ctr" defTabSz="711200" latinLnBrk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en-US" altLang="ko-KR" sz="1600" kern="1200" dirty="0" smtClean="0">
                <a:latin typeface="나눔고딕" panose="020D0604000000000000" pitchFamily="50" charset="-127"/>
                <a:ea typeface="나눔고딕" panose="020D0604000000000000" pitchFamily="50" charset="-127"/>
              </a:endParaRPr>
            </a:p>
            <a:p>
              <a:pPr lvl="0" algn="ctr" defTabSz="711200" latinLnBrk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en-US" altLang="ko-KR" sz="1600" kern="1200" dirty="0" smtClean="0">
                <a:latin typeface="나눔고딕" panose="020D0604000000000000" pitchFamily="50" charset="-127"/>
                <a:ea typeface="나눔고딕" panose="020D0604000000000000" pitchFamily="50" charset="-127"/>
              </a:endParaRPr>
            </a:p>
            <a:p>
              <a:pPr lvl="0" algn="ctr" defTabSz="711200" latinLnBrk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en-US" altLang="ko-KR" sz="1600" kern="1200" dirty="0" smtClean="0">
                <a:latin typeface="나눔고딕" panose="020D0604000000000000" pitchFamily="50" charset="-127"/>
                <a:ea typeface="나눔고딕" panose="020D0604000000000000" pitchFamily="50" charset="-127"/>
              </a:endParaRPr>
            </a:p>
            <a:p>
              <a:pPr lvl="0" algn="ctr" defTabSz="711200" latinLnBrk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en-US" altLang="ko-KR" sz="1600" kern="1200" dirty="0" smtClean="0">
                <a:latin typeface="나눔고딕" panose="020D0604000000000000" pitchFamily="50" charset="-127"/>
                <a:ea typeface="나눔고딕" panose="020D0604000000000000" pitchFamily="50" charset="-127"/>
              </a:endParaRPr>
            </a:p>
            <a:p>
              <a:pPr lvl="0" algn="ctr" defTabSz="711200" latinLnBrk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en-US" altLang="ko-KR" sz="1600" kern="1200" dirty="0" smtClean="0">
                <a:latin typeface="나눔고딕" panose="020D0604000000000000" pitchFamily="50" charset="-127"/>
                <a:ea typeface="나눔고딕" panose="020D0604000000000000" pitchFamily="50" charset="-127"/>
              </a:endParaRPr>
            </a:p>
            <a:p>
              <a:pPr lvl="0" algn="ctr" defTabSz="711200" latinLnBrk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en-US" altLang="ko-KR" sz="1600" kern="1200" dirty="0" smtClean="0">
                <a:latin typeface="나눔고딕" panose="020D0604000000000000" pitchFamily="50" charset="-127"/>
                <a:ea typeface="나눔고딕" panose="020D0604000000000000" pitchFamily="50" charset="-127"/>
              </a:endParaRPr>
            </a:p>
            <a:p>
              <a:pPr lvl="0" algn="ctr" defTabSz="711200" latinLnBrk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en-US" altLang="ko-KR" sz="1600" kern="1200" dirty="0" smtClean="0">
                <a:latin typeface="나눔고딕" panose="020D0604000000000000" pitchFamily="50" charset="-127"/>
                <a:ea typeface="나눔고딕" panose="020D0604000000000000" pitchFamily="50" charset="-127"/>
              </a:endParaRPr>
            </a:p>
            <a:p>
              <a:pPr lvl="0" algn="ctr" defTabSz="711200" latinLnBrk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en-US" altLang="ko-KR" sz="1600" kern="1200" dirty="0" smtClean="0">
                <a:latin typeface="나눔고딕" panose="020D0604000000000000" pitchFamily="50" charset="-127"/>
                <a:ea typeface="나눔고딕" panose="020D0604000000000000" pitchFamily="50" charset="-127"/>
              </a:endParaRPr>
            </a:p>
            <a:p>
              <a:pPr lvl="0" algn="ctr" defTabSz="711200" latinLnBrk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en-US" altLang="ko-KR" sz="1600" kern="1200" dirty="0" smtClean="0">
                <a:latin typeface="나눔고딕" panose="020D0604000000000000" pitchFamily="50" charset="-127"/>
                <a:ea typeface="나눔고딕" panose="020D0604000000000000" pitchFamily="50" charset="-127"/>
              </a:endParaRPr>
            </a:p>
            <a:p>
              <a:pPr lvl="0" algn="ctr" defTabSz="711200" latinLnBrk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en-US" altLang="ko-KR" sz="1600" kern="1200" dirty="0" smtClean="0">
                <a:latin typeface="나눔고딕" panose="020D0604000000000000" pitchFamily="50" charset="-127"/>
                <a:ea typeface="나눔고딕" panose="020D0604000000000000" pitchFamily="50" charset="-127"/>
              </a:endParaRPr>
            </a:p>
            <a:p>
              <a:pPr lvl="0" algn="ctr" defTabSz="711200" latinLnBrk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en-US" altLang="ko-KR" sz="1600" kern="1200" dirty="0" smtClean="0">
                <a:latin typeface="나눔고딕" panose="020D0604000000000000" pitchFamily="50" charset="-127"/>
                <a:ea typeface="나눔고딕" panose="020D0604000000000000" pitchFamily="50" charset="-127"/>
              </a:endParaRPr>
            </a:p>
            <a:p>
              <a:pPr lvl="0" algn="ctr" defTabSz="711200" latinLnBrk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en-US" altLang="ko-KR" sz="1600" kern="1200" dirty="0" smtClean="0">
                <a:latin typeface="나눔고딕" panose="020D0604000000000000" pitchFamily="50" charset="-127"/>
                <a:ea typeface="나눔고딕" panose="020D0604000000000000" pitchFamily="50" charset="-127"/>
              </a:endParaRPr>
            </a:p>
            <a:p>
              <a:pPr lvl="0" algn="ctr" defTabSz="711200" latinLnBrk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en-US" altLang="ko-KR" sz="1600" kern="1200" dirty="0" smtClean="0">
                <a:latin typeface="나눔고딕" panose="020D0604000000000000" pitchFamily="50" charset="-127"/>
                <a:ea typeface="나눔고딕" panose="020D0604000000000000" pitchFamily="50" charset="-127"/>
              </a:endParaRPr>
            </a:p>
            <a:p>
              <a:pPr lvl="0" algn="ctr" defTabSz="711200" latinLnBrk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en-US" altLang="ko-KR" sz="1600" kern="1200" dirty="0" smtClean="0">
                <a:latin typeface="나눔고딕" panose="020D0604000000000000" pitchFamily="50" charset="-127"/>
                <a:ea typeface="나눔고딕" panose="020D0604000000000000" pitchFamily="50" charset="-127"/>
              </a:endParaRPr>
            </a:p>
            <a:p>
              <a:pPr lvl="0" algn="ctr" defTabSz="711200" latinLnBrk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en-US" altLang="ko-KR" sz="1600" kern="1200" dirty="0" smtClean="0">
                <a:latin typeface="나눔고딕" panose="020D0604000000000000" pitchFamily="50" charset="-127"/>
                <a:ea typeface="나눔고딕" panose="020D0604000000000000" pitchFamily="50" charset="-127"/>
              </a:endParaRPr>
            </a:p>
            <a:p>
              <a:pPr lvl="0" algn="ctr" defTabSz="711200" latinLnBrk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en-US" altLang="ko-KR" sz="1600" kern="1200" dirty="0" smtClean="0">
                <a:latin typeface="나눔고딕" panose="020D0604000000000000" pitchFamily="50" charset="-127"/>
                <a:ea typeface="나눔고딕" panose="020D0604000000000000" pitchFamily="50" charset="-127"/>
              </a:endParaRPr>
            </a:p>
            <a:p>
              <a:pPr lvl="0" algn="ctr" defTabSz="711200" latinLnBrk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ko-KR" altLang="en-US" sz="1600" kern="1200" dirty="0" smtClean="0">
                  <a:latin typeface="나눔고딕" panose="020D0604000000000000" pitchFamily="50" charset="-127"/>
                  <a:ea typeface="나눔고딕" panose="020D0604000000000000" pitchFamily="50" charset="-127"/>
                </a:rPr>
                <a:t>호</a:t>
              </a:r>
              <a:endParaRPr lang="en-US" altLang="ko-KR" sz="1600" kern="1200" dirty="0" smtClean="0">
                <a:latin typeface="나눔고딕" panose="020D0604000000000000" pitchFamily="50" charset="-127"/>
                <a:ea typeface="나눔고딕" panose="020D0604000000000000" pitchFamily="50" charset="-127"/>
              </a:endParaRPr>
            </a:p>
            <a:p>
              <a:pPr lvl="0" algn="ctr" defTabSz="711200" latinLnBrk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en-US" altLang="ko-KR" sz="1600" dirty="0">
                <a:latin typeface="나눔고딕" panose="020D0604000000000000" pitchFamily="50" charset="-127"/>
                <a:ea typeface="나눔고딕" panose="020D0604000000000000" pitchFamily="50" charset="-127"/>
              </a:endParaRPr>
            </a:p>
            <a:p>
              <a:pPr lvl="0" algn="ctr" defTabSz="711200" latinLnBrk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en-US" altLang="ko-KR" sz="1600" kern="1200" dirty="0" smtClean="0">
                <a:latin typeface="나눔고딕" panose="020D0604000000000000" pitchFamily="50" charset="-127"/>
                <a:ea typeface="나눔고딕" panose="020D0604000000000000" pitchFamily="50" charset="-127"/>
              </a:endParaRPr>
            </a:p>
            <a:p>
              <a:pPr lvl="0" algn="ctr" defTabSz="711200" latinLnBrk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ko-KR" altLang="en-US" sz="1600" dirty="0">
                  <a:latin typeface="나눔고딕" panose="020D0604000000000000" pitchFamily="50" charset="-127"/>
                  <a:ea typeface="나눔고딕" panose="020D0604000000000000" pitchFamily="50" charset="-127"/>
                </a:rPr>
                <a:t>호</a:t>
              </a:r>
              <a:r>
                <a:rPr lang="ko-KR" altLang="en-US" sz="1600" kern="1200" dirty="0" smtClean="0">
                  <a:latin typeface="나눔고딕" panose="020D0604000000000000" pitchFamily="50" charset="-127"/>
                  <a:ea typeface="나눔고딕" panose="020D0604000000000000" pitchFamily="50" charset="-127"/>
                </a:rPr>
                <a:t>주 </a:t>
              </a:r>
              <a:r>
                <a:rPr lang="ko-KR" altLang="en-US" sz="1600" kern="1200" dirty="0" err="1" smtClean="0">
                  <a:latin typeface="나눔고딕" panose="020D0604000000000000" pitchFamily="50" charset="-127"/>
                  <a:ea typeface="나눔고딕" panose="020D0604000000000000" pitchFamily="50" charset="-127"/>
                </a:rPr>
                <a:t>스니커즈</a:t>
              </a:r>
              <a:r>
                <a:rPr lang="ko-KR" altLang="en-US" sz="1600" kern="1200" dirty="0" smtClean="0">
                  <a:latin typeface="나눔고딕" panose="020D0604000000000000" pitchFamily="50" charset="-127"/>
                  <a:ea typeface="나눔고딕" panose="020D0604000000000000" pitchFamily="50" charset="-127"/>
                </a:rPr>
                <a:t> </a:t>
              </a:r>
              <a:r>
                <a:rPr lang="en-US" altLang="ko-KR" sz="1600" kern="1200" dirty="0" smtClean="0">
                  <a:latin typeface="나눔고딕" panose="020D0604000000000000" pitchFamily="50" charset="-127"/>
                  <a:ea typeface="나눔고딕" panose="020D0604000000000000" pitchFamily="50" charset="-127"/>
                </a:rPr>
                <a:t>&amp; </a:t>
              </a:r>
            </a:p>
            <a:p>
              <a:pPr lvl="0" algn="ctr" defTabSz="711200" latinLnBrk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ko-KR" altLang="en-US" sz="1600" kern="1200" dirty="0" err="1" smtClean="0">
                  <a:latin typeface="나눔고딕" panose="020D0604000000000000" pitchFamily="50" charset="-127"/>
                  <a:ea typeface="나눔고딕" panose="020D0604000000000000" pitchFamily="50" charset="-127"/>
                </a:rPr>
                <a:t>세븐일레븐</a:t>
              </a:r>
              <a:r>
                <a:rPr lang="ko-KR" altLang="en-US" sz="1600" kern="1200" dirty="0" smtClean="0">
                  <a:latin typeface="나눔고딕" panose="020D0604000000000000" pitchFamily="50" charset="-127"/>
                  <a:ea typeface="나눔고딕" panose="020D0604000000000000" pitchFamily="50" charset="-127"/>
                </a:rPr>
                <a:t> </a:t>
              </a:r>
              <a:endParaRPr lang="en-US" altLang="ko-KR" sz="1600" kern="1200" dirty="0" smtClean="0">
                <a:latin typeface="나눔고딕" panose="020D0604000000000000" pitchFamily="50" charset="-127"/>
                <a:ea typeface="나눔고딕" panose="020D0604000000000000" pitchFamily="50" charset="-127"/>
              </a:endParaRPr>
            </a:p>
            <a:p>
              <a:pPr lvl="0" algn="ctr" defTabSz="711200" latinLnBrk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en-US" altLang="ko-KR" sz="1600" kern="1200" dirty="0" smtClean="0">
                <a:latin typeface="나눔고딕" panose="020D0604000000000000" pitchFamily="50" charset="-127"/>
                <a:ea typeface="나눔고딕" panose="020D0604000000000000" pitchFamily="50" charset="-127"/>
              </a:endParaRPr>
            </a:p>
            <a:p>
              <a:pPr lvl="0" algn="ctr" defTabSz="711200" latinLnBrk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en-US" altLang="ko-KR" sz="1600" kern="1200" dirty="0" smtClean="0">
                <a:latin typeface="나눔고딕" panose="020D0604000000000000" pitchFamily="50" charset="-127"/>
                <a:ea typeface="나눔고딕" panose="020D0604000000000000" pitchFamily="50" charset="-127"/>
              </a:endParaRPr>
            </a:p>
            <a:p>
              <a:pPr lvl="0" algn="ctr" defTabSz="711200" latinLnBrk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en-US" altLang="ko-KR" sz="1600" kern="1200" dirty="0" smtClean="0">
                <a:latin typeface="나눔고딕" panose="020D0604000000000000" pitchFamily="50" charset="-127"/>
                <a:ea typeface="나눔고딕" panose="020D0604000000000000" pitchFamily="50" charset="-127"/>
              </a:endParaRPr>
            </a:p>
            <a:p>
              <a:pPr lvl="0" algn="ctr" defTabSz="711200" latinLnBrk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ko-KR" altLang="en-US" sz="1600" kern="1200" dirty="0" smtClean="0">
                  <a:latin typeface="나눔고딕" panose="020D0604000000000000" pitchFamily="50" charset="-127"/>
                  <a:ea typeface="나눔고딕" panose="020D0604000000000000" pitchFamily="50" charset="-127"/>
                </a:rPr>
                <a:t>호주 </a:t>
              </a:r>
              <a:r>
                <a:rPr lang="ko-KR" altLang="en-US" sz="1600" kern="1200" dirty="0" err="1" smtClean="0">
                  <a:latin typeface="나눔고딕" panose="020D0604000000000000" pitchFamily="50" charset="-127"/>
                  <a:ea typeface="나눔고딕" panose="020D0604000000000000" pitchFamily="50" charset="-127"/>
                </a:rPr>
                <a:t>스니커즈</a:t>
              </a:r>
              <a:endParaRPr lang="en-US" altLang="ko-KR" sz="1600" kern="1200" dirty="0" smtClean="0">
                <a:latin typeface="나눔고딕" panose="020D0604000000000000" pitchFamily="50" charset="-127"/>
                <a:ea typeface="나눔고딕" panose="020D0604000000000000" pitchFamily="50" charset="-127"/>
              </a:endParaRPr>
            </a:p>
            <a:p>
              <a:pPr lvl="0" algn="ctr" defTabSz="711200" latinLnBrk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en-US" altLang="ko-KR" sz="1600" kern="1200" dirty="0" smtClean="0">
                <a:latin typeface="나눔고딕" panose="020D0604000000000000" pitchFamily="50" charset="-127"/>
                <a:ea typeface="나눔고딕" panose="020D0604000000000000" pitchFamily="50" charset="-127"/>
              </a:endParaRPr>
            </a:p>
            <a:p>
              <a:pPr lvl="0" algn="ctr" defTabSz="711200" latinLnBrk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en-US" altLang="ko-KR" sz="1600" kern="1200" dirty="0" smtClean="0">
                <a:latin typeface="나눔고딕" panose="020D0604000000000000" pitchFamily="50" charset="-127"/>
                <a:ea typeface="나눔고딕" panose="020D0604000000000000" pitchFamily="50" charset="-127"/>
              </a:endParaRPr>
            </a:p>
            <a:p>
              <a:pPr lvl="0" algn="ctr" defTabSz="711200" latinLnBrk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en-US" altLang="ko-KR" sz="1600" kern="1200" dirty="0" smtClean="0">
                <a:latin typeface="나눔고딕" panose="020D0604000000000000" pitchFamily="50" charset="-127"/>
                <a:ea typeface="나눔고딕" panose="020D0604000000000000" pitchFamily="50" charset="-127"/>
              </a:endParaRPr>
            </a:p>
            <a:p>
              <a:pPr lvl="0" algn="ctr" defTabSz="711200" latinLnBrk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en-US" altLang="ko-KR" sz="1600" kern="1200" dirty="0" smtClean="0">
                <a:latin typeface="나눔고딕" panose="020D0604000000000000" pitchFamily="50" charset="-127"/>
                <a:ea typeface="나눔고딕" panose="020D0604000000000000" pitchFamily="50" charset="-127"/>
              </a:endParaRPr>
            </a:p>
            <a:p>
              <a:pPr lvl="0" algn="ctr" defTabSz="711200" latinLnBrk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en-US" altLang="ko-KR" sz="1600" kern="1200" dirty="0" smtClean="0">
                <a:latin typeface="나눔고딕" panose="020D0604000000000000" pitchFamily="50" charset="-127"/>
                <a:ea typeface="나눔고딕" panose="020D0604000000000000" pitchFamily="50" charset="-127"/>
              </a:endParaRPr>
            </a:p>
            <a:p>
              <a:pPr lvl="0" algn="ctr" defTabSz="711200" latinLnBrk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en-US" altLang="ko-KR" sz="1600" kern="1200" dirty="0" smtClean="0">
                <a:latin typeface="나눔고딕" panose="020D0604000000000000" pitchFamily="50" charset="-127"/>
                <a:ea typeface="나눔고딕" panose="020D0604000000000000" pitchFamily="50" charset="-127"/>
              </a:endParaRPr>
            </a:p>
            <a:p>
              <a:pPr lvl="0" algn="ctr" defTabSz="711200" latinLnBrk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en-US" altLang="ko-KR" sz="1600" kern="1200" dirty="0" smtClean="0">
                <a:latin typeface="나눔고딕" panose="020D0604000000000000" pitchFamily="50" charset="-127"/>
                <a:ea typeface="나눔고딕" panose="020D0604000000000000" pitchFamily="50" charset="-127"/>
              </a:endParaRPr>
            </a:p>
            <a:p>
              <a:pPr lvl="0" algn="ctr" defTabSz="711200" latinLnBrk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en-US" altLang="ko-KR" sz="1600" kern="1200" dirty="0" smtClean="0">
                <a:latin typeface="나눔고딕" panose="020D0604000000000000" pitchFamily="50" charset="-127"/>
                <a:ea typeface="나눔고딕" panose="020D0604000000000000" pitchFamily="50" charset="-127"/>
              </a:endParaRPr>
            </a:p>
            <a:p>
              <a:pPr lvl="0" algn="ctr" defTabSz="711200" latinLnBrk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en-US" altLang="ko-KR" sz="1600" kern="1200" dirty="0" smtClean="0">
                <a:latin typeface="나눔고딕" panose="020D0604000000000000" pitchFamily="50" charset="-127"/>
                <a:ea typeface="나눔고딕" panose="020D0604000000000000" pitchFamily="50" charset="-127"/>
              </a:endParaRPr>
            </a:p>
            <a:p>
              <a:pPr lvl="0" algn="ctr" defTabSz="711200" latinLnBrk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en-US" altLang="ko-KR" sz="1600" kern="1200" dirty="0" smtClean="0">
                <a:latin typeface="나눔고딕" panose="020D0604000000000000" pitchFamily="50" charset="-127"/>
                <a:ea typeface="나눔고딕" panose="020D0604000000000000" pitchFamily="50" charset="-127"/>
              </a:endParaRPr>
            </a:p>
            <a:p>
              <a:pPr lvl="0" algn="ctr" defTabSz="711200" latinLnBrk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en-US" altLang="ko-KR" sz="1600" kern="1200" dirty="0" smtClean="0">
                <a:latin typeface="나눔고딕" panose="020D0604000000000000" pitchFamily="50" charset="-127"/>
                <a:ea typeface="나눔고딕" panose="020D0604000000000000" pitchFamily="50" charset="-127"/>
              </a:endParaRPr>
            </a:p>
            <a:p>
              <a:pPr lvl="0" algn="ctr" defTabSz="711200" latinLnBrk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en-US" altLang="ko-KR" sz="1600" kern="1200" dirty="0" smtClean="0">
                <a:latin typeface="나눔고딕" panose="020D0604000000000000" pitchFamily="50" charset="-127"/>
                <a:ea typeface="나눔고딕" panose="020D0604000000000000" pitchFamily="50" charset="-127"/>
              </a:endParaRPr>
            </a:p>
            <a:p>
              <a:pPr lvl="0" algn="ctr" defTabSz="711200" latinLnBrk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en-US" altLang="ko-KR" sz="1600" kern="1200" dirty="0" smtClean="0">
                <a:latin typeface="나눔고딕" panose="020D0604000000000000" pitchFamily="50" charset="-127"/>
                <a:ea typeface="나눔고딕" panose="020D0604000000000000" pitchFamily="50" charset="-127"/>
              </a:endParaRPr>
            </a:p>
            <a:p>
              <a:pPr lvl="0" algn="ctr" defTabSz="711200" latinLnBrk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en-US" altLang="ko-KR" sz="1600" kern="1200" dirty="0" smtClean="0">
                <a:latin typeface="나눔고딕" panose="020D0604000000000000" pitchFamily="50" charset="-127"/>
                <a:ea typeface="나눔고딕" panose="020D0604000000000000" pitchFamily="50" charset="-127"/>
              </a:endParaRPr>
            </a:p>
            <a:p>
              <a:pPr lvl="0" algn="ctr" defTabSz="711200" latinLnBrk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en-US" altLang="ko-KR" sz="1600" kern="1200" dirty="0" smtClean="0">
                <a:latin typeface="나눔고딕" panose="020D0604000000000000" pitchFamily="50" charset="-127"/>
                <a:ea typeface="나눔고딕" panose="020D0604000000000000" pitchFamily="50" charset="-127"/>
              </a:endParaRPr>
            </a:p>
            <a:p>
              <a:pPr lvl="0" algn="ctr" defTabSz="711200" latinLnBrk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en-US" altLang="ko-KR" sz="1600" kern="1200" dirty="0" smtClean="0">
                <a:latin typeface="나눔고딕" panose="020D0604000000000000" pitchFamily="50" charset="-127"/>
                <a:ea typeface="나눔고딕" panose="020D0604000000000000" pitchFamily="50" charset="-127"/>
              </a:endParaRPr>
            </a:p>
            <a:p>
              <a:pPr lvl="0" algn="ctr" defTabSz="711200" latinLnBrk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en-US" altLang="ko-KR" sz="1600" kern="1200" dirty="0" smtClean="0">
                <a:latin typeface="나눔고딕" panose="020D0604000000000000" pitchFamily="50" charset="-127"/>
                <a:ea typeface="나눔고딕" panose="020D0604000000000000" pitchFamily="50" charset="-127"/>
              </a:endParaRPr>
            </a:p>
            <a:p>
              <a:pPr lvl="0" algn="ctr" defTabSz="711200" latinLnBrk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en-US" altLang="ko-KR" sz="1600" kern="1200" dirty="0" smtClean="0">
                <a:latin typeface="나눔고딕" panose="020D0604000000000000" pitchFamily="50" charset="-127"/>
                <a:ea typeface="나눔고딕" panose="020D0604000000000000" pitchFamily="50" charset="-127"/>
              </a:endParaRPr>
            </a:p>
          </p:txBody>
        </p:sp>
        <p:sp>
          <p:nvSpPr>
            <p:cNvPr id="18" name="자유형 17"/>
            <p:cNvSpPr/>
            <p:nvPr/>
          </p:nvSpPr>
          <p:spPr>
            <a:xfrm>
              <a:off x="6090772" y="2216306"/>
              <a:ext cx="2620205" cy="4368576"/>
            </a:xfrm>
            <a:custGeom>
              <a:avLst/>
              <a:gdLst>
                <a:gd name="connsiteX0" fmla="*/ 0 w 2620205"/>
                <a:gd name="connsiteY0" fmla="*/ 0 h 4941984"/>
                <a:gd name="connsiteX1" fmla="*/ 2620205 w 2620205"/>
                <a:gd name="connsiteY1" fmla="*/ 0 h 4941984"/>
                <a:gd name="connsiteX2" fmla="*/ 2620205 w 2620205"/>
                <a:gd name="connsiteY2" fmla="*/ 4941984 h 4941984"/>
                <a:gd name="connsiteX3" fmla="*/ 0 w 2620205"/>
                <a:gd name="connsiteY3" fmla="*/ 4941984 h 4941984"/>
                <a:gd name="connsiteX4" fmla="*/ 0 w 2620205"/>
                <a:gd name="connsiteY4" fmla="*/ 0 h 49419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620205" h="4941984">
                  <a:moveTo>
                    <a:pt x="0" y="0"/>
                  </a:moveTo>
                  <a:lnTo>
                    <a:pt x="2620205" y="0"/>
                  </a:lnTo>
                  <a:lnTo>
                    <a:pt x="2620205" y="4941984"/>
                  </a:lnTo>
                  <a:lnTo>
                    <a:pt x="0" y="4941984"/>
                  </a:lnTo>
                  <a:lnTo>
                    <a:pt x="0" y="0"/>
                  </a:lnTo>
                  <a:close/>
                </a:path>
              </a:pathLst>
            </a:custGeom>
          </p:spPr>
          <p:style>
            <a:lnRef idx="2">
              <a:schemeClr val="dk2">
                <a:alpha val="90000"/>
                <a:tint val="40000"/>
                <a:hueOff val="0"/>
                <a:satOff val="0"/>
                <a:lumOff val="0"/>
                <a:alphaOff val="0"/>
              </a:schemeClr>
            </a:lnRef>
            <a:fillRef idx="1">
              <a:schemeClr val="dk2">
                <a:alpha val="90000"/>
                <a:tint val="40000"/>
                <a:hueOff val="0"/>
                <a:satOff val="0"/>
                <a:lumOff val="0"/>
                <a:alphaOff val="0"/>
              </a:schemeClr>
            </a:fillRef>
            <a:effectRef idx="0">
              <a:schemeClr val="dk2">
                <a:alpha val="90000"/>
                <a:tint val="4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85344" tIns="85344" rIns="113792" bIns="128016" numCol="1" spcCol="1270" anchor="t" anchorCtr="0">
              <a:noAutofit/>
            </a:bodyPr>
            <a:lstStyle/>
            <a:p>
              <a:pPr marL="171450" lvl="1" indent="-171450" algn="l" defTabSz="711200" latinLnBrk="1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•"/>
              </a:pPr>
              <a:endParaRPr lang="ko-KR" altLang="en-US" sz="1600" kern="1200" dirty="0"/>
            </a:p>
          </p:txBody>
        </p:sp>
        <p:sp>
          <p:nvSpPr>
            <p:cNvPr id="19" name="자유형 18"/>
            <p:cNvSpPr/>
            <p:nvPr/>
          </p:nvSpPr>
          <p:spPr>
            <a:xfrm>
              <a:off x="9046922" y="1373717"/>
              <a:ext cx="2620205" cy="870967"/>
            </a:xfrm>
            <a:custGeom>
              <a:avLst/>
              <a:gdLst>
                <a:gd name="connsiteX0" fmla="*/ 0 w 2620205"/>
                <a:gd name="connsiteY0" fmla="*/ 0 h 870967"/>
                <a:gd name="connsiteX1" fmla="*/ 2620205 w 2620205"/>
                <a:gd name="connsiteY1" fmla="*/ 0 h 870967"/>
                <a:gd name="connsiteX2" fmla="*/ 2620205 w 2620205"/>
                <a:gd name="connsiteY2" fmla="*/ 870967 h 870967"/>
                <a:gd name="connsiteX3" fmla="*/ 0 w 2620205"/>
                <a:gd name="connsiteY3" fmla="*/ 870967 h 870967"/>
                <a:gd name="connsiteX4" fmla="*/ 0 w 2620205"/>
                <a:gd name="connsiteY4" fmla="*/ 0 h 8709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620205" h="870967">
                  <a:moveTo>
                    <a:pt x="0" y="0"/>
                  </a:moveTo>
                  <a:lnTo>
                    <a:pt x="2620205" y="0"/>
                  </a:lnTo>
                  <a:lnTo>
                    <a:pt x="2620205" y="870967"/>
                  </a:lnTo>
                  <a:lnTo>
                    <a:pt x="0" y="870967"/>
                  </a:lnTo>
                  <a:lnTo>
                    <a:pt x="0" y="0"/>
                  </a:lnTo>
                  <a:close/>
                </a:path>
              </a:pathLst>
            </a:custGeom>
          </p:spPr>
          <p:style>
            <a:lnRef idx="2">
              <a:schemeClr val="dk2">
                <a:hueOff val="0"/>
                <a:satOff val="0"/>
                <a:lumOff val="0"/>
                <a:alphaOff val="0"/>
              </a:schemeClr>
            </a:lnRef>
            <a:fillRef idx="1">
              <a:schemeClr val="dk2">
                <a:hueOff val="0"/>
                <a:satOff val="0"/>
                <a:lumOff val="0"/>
                <a:alphaOff val="0"/>
              </a:schemeClr>
            </a:fillRef>
            <a:effectRef idx="0">
              <a:schemeClr val="dk2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13792" tIns="65024" rIns="113792" bIns="65024" numCol="1" spcCol="1270" anchor="ctr" anchorCtr="0">
              <a:noAutofit/>
            </a:bodyPr>
            <a:lstStyle/>
            <a:p>
              <a:pPr marL="0" marR="0" lvl="0" indent="0" algn="ctr" defTabSz="914400" eaLnBrk="1" fontAlgn="auto" latinLnBrk="1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ko-KR" altLang="en-US" sz="1600" kern="1200" dirty="0" smtClean="0">
                  <a:latin typeface="나눔고딕" panose="020D0604000000000000" pitchFamily="50" charset="-127"/>
                  <a:ea typeface="나눔고딕" panose="020D0604000000000000" pitchFamily="50" charset="-127"/>
                </a:rPr>
                <a:t>독일 </a:t>
              </a:r>
              <a:r>
                <a:rPr lang="en-US" altLang="ko-KR" sz="1600" kern="1200" dirty="0" smtClean="0">
                  <a:latin typeface="나눔고딕" panose="020D0604000000000000" pitchFamily="50" charset="-127"/>
                  <a:ea typeface="나눔고딕" panose="020D0604000000000000" pitchFamily="50" charset="-127"/>
                </a:rPr>
                <a:t>OTTO( </a:t>
              </a:r>
              <a:r>
                <a:rPr lang="ko-KR" altLang="en-US" sz="1600" kern="1200" dirty="0" smtClean="0">
                  <a:latin typeface="나눔고딕" panose="020D0604000000000000" pitchFamily="50" charset="-127"/>
                  <a:ea typeface="나눔고딕" panose="020D0604000000000000" pitchFamily="50" charset="-127"/>
                </a:rPr>
                <a:t>전자상거래</a:t>
              </a:r>
              <a:r>
                <a:rPr lang="en-US" altLang="ko-KR" sz="1600" kern="1200" dirty="0" smtClean="0">
                  <a:latin typeface="나눔고딕" panose="020D0604000000000000" pitchFamily="50" charset="-127"/>
                  <a:ea typeface="나눔고딕" panose="020D0604000000000000" pitchFamily="50" charset="-127"/>
                </a:rPr>
                <a:t>)</a:t>
              </a:r>
              <a:endParaRPr lang="en-US" altLang="ko-KR" sz="1600" kern="1200" dirty="0" smtClean="0">
                <a:latin typeface="나눔고딕" panose="020D0604000000000000" pitchFamily="50" charset="-127"/>
                <a:ea typeface="나눔고딕" panose="020D0604000000000000" pitchFamily="50" charset="-127"/>
              </a:endParaRPr>
            </a:p>
            <a:p>
              <a:pPr lvl="0" algn="ctr" defTabSz="889000" latinLnBrk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ko-KR" altLang="en-US" sz="1600" kern="1200" dirty="0"/>
            </a:p>
          </p:txBody>
        </p:sp>
        <p:sp>
          <p:nvSpPr>
            <p:cNvPr id="20" name="자유형 19"/>
            <p:cNvSpPr/>
            <p:nvPr/>
          </p:nvSpPr>
          <p:spPr>
            <a:xfrm>
              <a:off x="9046921" y="2325677"/>
              <a:ext cx="2620205" cy="4941984"/>
            </a:xfrm>
            <a:custGeom>
              <a:avLst/>
              <a:gdLst>
                <a:gd name="connsiteX0" fmla="*/ 0 w 2620205"/>
                <a:gd name="connsiteY0" fmla="*/ 0 h 4941984"/>
                <a:gd name="connsiteX1" fmla="*/ 2620205 w 2620205"/>
                <a:gd name="connsiteY1" fmla="*/ 0 h 4941984"/>
                <a:gd name="connsiteX2" fmla="*/ 2620205 w 2620205"/>
                <a:gd name="connsiteY2" fmla="*/ 4941984 h 4941984"/>
                <a:gd name="connsiteX3" fmla="*/ 0 w 2620205"/>
                <a:gd name="connsiteY3" fmla="*/ 4941984 h 4941984"/>
                <a:gd name="connsiteX4" fmla="*/ 0 w 2620205"/>
                <a:gd name="connsiteY4" fmla="*/ 0 h 49419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620205" h="4941984">
                  <a:moveTo>
                    <a:pt x="0" y="0"/>
                  </a:moveTo>
                  <a:lnTo>
                    <a:pt x="2620205" y="0"/>
                  </a:lnTo>
                  <a:lnTo>
                    <a:pt x="2620205" y="4941984"/>
                  </a:lnTo>
                  <a:lnTo>
                    <a:pt x="0" y="4941984"/>
                  </a:lnTo>
                  <a:lnTo>
                    <a:pt x="0" y="0"/>
                  </a:lnTo>
                  <a:close/>
                </a:path>
              </a:pathLst>
            </a:custGeom>
          </p:spPr>
          <p:style>
            <a:lnRef idx="2">
              <a:schemeClr val="dk2">
                <a:alpha val="90000"/>
                <a:tint val="40000"/>
                <a:hueOff val="0"/>
                <a:satOff val="0"/>
                <a:lumOff val="0"/>
                <a:alphaOff val="0"/>
              </a:schemeClr>
            </a:lnRef>
            <a:fillRef idx="1">
              <a:schemeClr val="dk2">
                <a:alpha val="90000"/>
                <a:tint val="40000"/>
                <a:hueOff val="0"/>
                <a:satOff val="0"/>
                <a:lumOff val="0"/>
                <a:alphaOff val="0"/>
              </a:schemeClr>
            </a:fillRef>
            <a:effectRef idx="0">
              <a:schemeClr val="dk2">
                <a:alpha val="90000"/>
                <a:tint val="4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85344" tIns="85344" rIns="113792" bIns="128016" numCol="1" spcCol="1270" anchor="t" anchorCtr="0">
              <a:noAutofit/>
            </a:bodyPr>
            <a:lstStyle/>
            <a:p>
              <a:pPr marL="171450" lvl="1" indent="-171450" algn="l" defTabSz="711200" latinLnBrk="1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•"/>
              </a:pPr>
              <a:r>
                <a:rPr lang="ko-KR" altLang="en-US" sz="1600" kern="1200" dirty="0" smtClean="0">
                  <a:latin typeface="나눔고딕" panose="020D0604000000000000" pitchFamily="50" charset="-127"/>
                  <a:ea typeface="나눔고딕" panose="020D0604000000000000" pitchFamily="50" charset="-127"/>
                </a:rPr>
                <a:t> </a:t>
              </a:r>
              <a:r>
                <a:rPr lang="en-US" altLang="ko-KR" sz="1600" dirty="0" smtClean="0">
                  <a:latin typeface="나눔고딕" panose="020D0604000000000000" pitchFamily="50" charset="-127"/>
                  <a:ea typeface="나눔고딕" panose="020D0604000000000000" pitchFamily="50" charset="-127"/>
                </a:rPr>
                <a:t>21</a:t>
              </a:r>
              <a:r>
                <a:rPr lang="ko-KR" altLang="en-US" sz="1600" dirty="0" smtClean="0">
                  <a:latin typeface="나눔고딕" panose="020D0604000000000000" pitchFamily="50" charset="-127"/>
                  <a:ea typeface="나눔고딕" panose="020D0604000000000000" pitchFamily="50" charset="-127"/>
                </a:rPr>
                <a:t>개국 </a:t>
              </a:r>
              <a:r>
                <a:rPr lang="en-US" altLang="ko-KR" sz="1600" dirty="0" smtClean="0">
                  <a:latin typeface="나눔고딕" panose="020D0604000000000000" pitchFamily="50" charset="-127"/>
                  <a:ea typeface="나눔고딕" panose="020D0604000000000000" pitchFamily="50" charset="-127"/>
                </a:rPr>
                <a:t>70</a:t>
              </a:r>
              <a:r>
                <a:rPr lang="ko-KR" altLang="en-US" sz="1600" dirty="0" smtClean="0">
                  <a:latin typeface="나눔고딕" panose="020D0604000000000000" pitchFamily="50" charset="-127"/>
                  <a:ea typeface="나눔고딕" panose="020D0604000000000000" pitchFamily="50" charset="-127"/>
                </a:rPr>
                <a:t>개 계열사</a:t>
              </a:r>
              <a:r>
                <a:rPr lang="en-US" altLang="ko-KR" sz="1600" dirty="0" smtClean="0">
                  <a:latin typeface="나눔고딕" panose="020D0604000000000000" pitchFamily="50" charset="-127"/>
                  <a:ea typeface="나눔고딕" panose="020D0604000000000000" pitchFamily="50" charset="-127"/>
                </a:rPr>
                <a:t>, 39</a:t>
              </a:r>
              <a:r>
                <a:rPr lang="ko-KR" altLang="en-US" sz="1600" dirty="0" smtClean="0">
                  <a:latin typeface="나눔고딕" panose="020D0604000000000000" pitchFamily="50" charset="-127"/>
                  <a:ea typeface="나눔고딕" panose="020D0604000000000000" pitchFamily="50" charset="-127"/>
                </a:rPr>
                <a:t>개 </a:t>
              </a:r>
              <a:r>
                <a:rPr lang="ko-KR" altLang="en-US" sz="1600" dirty="0" err="1" smtClean="0">
                  <a:latin typeface="나눔고딕" panose="020D0604000000000000" pitchFamily="50" charset="-127"/>
                  <a:ea typeface="나눔고딕" panose="020D0604000000000000" pitchFamily="50" charset="-127"/>
                </a:rPr>
                <a:t>제휴사</a:t>
              </a:r>
              <a:r>
                <a:rPr lang="ko-KR" altLang="en-US" sz="1600" dirty="0" smtClean="0">
                  <a:latin typeface="나눔고딕" panose="020D0604000000000000" pitchFamily="50" charset="-127"/>
                  <a:ea typeface="나눔고딕" panose="020D0604000000000000" pitchFamily="50" charset="-127"/>
                </a:rPr>
                <a:t> </a:t>
              </a:r>
              <a:r>
                <a:rPr lang="en-US" altLang="ko-KR" sz="1600" dirty="0" smtClean="0">
                  <a:latin typeface="나눔고딕" panose="020D0604000000000000" pitchFamily="50" charset="-127"/>
                  <a:ea typeface="나눔고딕" panose="020D0604000000000000" pitchFamily="50" charset="-127"/>
                </a:rPr>
                <a:t>5</a:t>
              </a:r>
              <a:r>
                <a:rPr lang="ko-KR" altLang="en-US" sz="1600" dirty="0" err="1" smtClean="0">
                  <a:latin typeface="나눔고딕" panose="020D0604000000000000" pitchFamily="50" charset="-127"/>
                  <a:ea typeface="나눔고딕" panose="020D0604000000000000" pitchFamily="50" charset="-127"/>
                </a:rPr>
                <a:t>만명고용</a:t>
              </a:r>
              <a:r>
                <a:rPr lang="ko-KR" altLang="en-US" sz="1600" dirty="0" smtClean="0">
                  <a:latin typeface="나눔고딕" panose="020D0604000000000000" pitchFamily="50" charset="-127"/>
                  <a:ea typeface="나눔고딕" panose="020D0604000000000000" pitchFamily="50" charset="-127"/>
                </a:rPr>
                <a:t> 전자상거래 업체</a:t>
              </a:r>
              <a:endParaRPr lang="en-US" altLang="ko-KR" sz="1600" dirty="0" smtClean="0">
                <a:latin typeface="나눔고딕" panose="020D0604000000000000" pitchFamily="50" charset="-127"/>
                <a:ea typeface="나눔고딕" panose="020D0604000000000000" pitchFamily="50" charset="-127"/>
              </a:endParaRPr>
            </a:p>
            <a:p>
              <a:pPr marL="171450" lvl="1" indent="-171450" algn="l" defTabSz="711200" latinLnBrk="1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•"/>
              </a:pPr>
              <a:r>
                <a:rPr lang="ko-KR" altLang="en-US" sz="1600" kern="1200" dirty="0" smtClean="0">
                  <a:latin typeface="나눔고딕" panose="020D0604000000000000" pitchFamily="50" charset="-127"/>
                  <a:ea typeface="나눔고딕" panose="020D0604000000000000" pitchFamily="50" charset="-127"/>
                </a:rPr>
                <a:t>배송 주문 패턴과 </a:t>
              </a:r>
              <a:r>
                <a:rPr lang="ko-KR" altLang="en-US" sz="1600" kern="1200" dirty="0" err="1" smtClean="0">
                  <a:latin typeface="나눔고딕" panose="020D0604000000000000" pitchFamily="50" charset="-127"/>
                  <a:ea typeface="나눔고딕" panose="020D0604000000000000" pitchFamily="50" charset="-127"/>
                </a:rPr>
                <a:t>즉시배송을</a:t>
              </a:r>
              <a:r>
                <a:rPr lang="ko-KR" altLang="en-US" sz="1600" kern="1200" dirty="0" smtClean="0">
                  <a:latin typeface="나눔고딕" panose="020D0604000000000000" pitchFamily="50" charset="-127"/>
                  <a:ea typeface="나눔고딕" panose="020D0604000000000000" pitchFamily="50" charset="-127"/>
                </a:rPr>
                <a:t> 매칭하여 반품 횟수 </a:t>
              </a:r>
              <a:r>
                <a:rPr lang="en-US" altLang="ko-KR" sz="1600" kern="1200" dirty="0" smtClean="0">
                  <a:latin typeface="나눔고딕" panose="020D0604000000000000" pitchFamily="50" charset="-127"/>
                  <a:ea typeface="나눔고딕" panose="020D0604000000000000" pitchFamily="50" charset="-127"/>
                </a:rPr>
                <a:t>200</a:t>
              </a:r>
              <a:r>
                <a:rPr lang="ko-KR" altLang="en-US" sz="1600" kern="1200" dirty="0" smtClean="0">
                  <a:latin typeface="나눔고딕" panose="020D0604000000000000" pitchFamily="50" charset="-127"/>
                  <a:ea typeface="나눔고딕" panose="020D0604000000000000" pitchFamily="50" charset="-127"/>
                </a:rPr>
                <a:t>만개 감소 효과</a:t>
              </a:r>
              <a:endParaRPr lang="en-US" altLang="ko-KR" sz="1600" kern="1200" dirty="0" smtClean="0">
                <a:latin typeface="나눔고딕" panose="020D0604000000000000" pitchFamily="50" charset="-127"/>
                <a:ea typeface="나눔고딕" panose="020D0604000000000000" pitchFamily="50" charset="-127"/>
              </a:endParaRPr>
            </a:p>
            <a:p>
              <a:pPr marL="171450" lvl="1" indent="-171450" algn="l" defTabSz="711200" latinLnBrk="1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•"/>
              </a:pPr>
              <a:r>
                <a:rPr lang="ko-KR" altLang="en-US" sz="1600" dirty="0" smtClean="0">
                  <a:latin typeface="나눔고딕" panose="020D0604000000000000" pitchFamily="50" charset="-127"/>
                  <a:ea typeface="나눔고딕" panose="020D0604000000000000" pitchFamily="50" charset="-127"/>
                </a:rPr>
                <a:t>과거거래실적</a:t>
              </a:r>
              <a:r>
                <a:rPr lang="en-US" altLang="ko-KR" sz="1600" dirty="0" smtClean="0">
                  <a:latin typeface="나눔고딕" panose="020D0604000000000000" pitchFamily="50" charset="-127"/>
                  <a:ea typeface="나눔고딕" panose="020D0604000000000000" pitchFamily="50" charset="-127"/>
                </a:rPr>
                <a:t>,</a:t>
              </a:r>
              <a:r>
                <a:rPr lang="ko-KR" altLang="en-US" sz="1600" dirty="0" smtClean="0">
                  <a:latin typeface="나눔고딕" panose="020D0604000000000000" pitchFamily="50" charset="-127"/>
                  <a:ea typeface="나눔고딕" panose="020D0604000000000000" pitchFamily="50" charset="-127"/>
                </a:rPr>
                <a:t> 날씨 정보 그리고 온라인고객여정 </a:t>
              </a:r>
              <a:r>
                <a:rPr lang="ko-KR" altLang="en-US" sz="1600" dirty="0" err="1" smtClean="0">
                  <a:latin typeface="나눔고딕" panose="020D0604000000000000" pitchFamily="50" charset="-127"/>
                  <a:ea typeface="나눔고딕" panose="020D0604000000000000" pitchFamily="50" charset="-127"/>
                </a:rPr>
                <a:t>드을</a:t>
              </a:r>
              <a:r>
                <a:rPr lang="ko-KR" altLang="en-US" sz="1600" dirty="0" smtClean="0">
                  <a:latin typeface="나눔고딕" panose="020D0604000000000000" pitchFamily="50" charset="-127"/>
                  <a:ea typeface="나눔고딕" panose="020D0604000000000000" pitchFamily="50" charset="-127"/>
                </a:rPr>
                <a:t> 분석 </a:t>
              </a:r>
              <a:r>
                <a:rPr lang="en-US" altLang="ko-KR" sz="1600" dirty="0" smtClean="0">
                  <a:latin typeface="나눔고딕" panose="020D0604000000000000" pitchFamily="50" charset="-127"/>
                  <a:ea typeface="나눔고딕" panose="020D0604000000000000" pitchFamily="50" charset="-127"/>
                </a:rPr>
                <a:t>90% </a:t>
              </a:r>
              <a:r>
                <a:rPr lang="ko-KR" altLang="en-US" sz="1600" dirty="0" smtClean="0">
                  <a:latin typeface="나눔고딕" panose="020D0604000000000000" pitchFamily="50" charset="-127"/>
                  <a:ea typeface="나눔고딕" panose="020D0604000000000000" pitchFamily="50" charset="-127"/>
                </a:rPr>
                <a:t>정확도 </a:t>
              </a:r>
              <a:r>
                <a:rPr lang="en-US" altLang="ko-KR" sz="1600" dirty="0" smtClean="0">
                  <a:latin typeface="나눔고딕" panose="020D0604000000000000" pitchFamily="50" charset="-127"/>
                  <a:ea typeface="나눔고딕" panose="020D0604000000000000" pitchFamily="50" charset="-127"/>
                </a:rPr>
                <a:t>30</a:t>
              </a:r>
              <a:r>
                <a:rPr lang="ko-KR" altLang="en-US" sz="1600" dirty="0" smtClean="0">
                  <a:latin typeface="나눔고딕" panose="020D0604000000000000" pitchFamily="50" charset="-127"/>
                  <a:ea typeface="나눔고딕" panose="020D0604000000000000" pitchFamily="50" charset="-127"/>
                </a:rPr>
                <a:t>일간의 매출 예측이 </a:t>
              </a:r>
              <a:r>
                <a:rPr lang="ko-KR" altLang="en-US" sz="1600" dirty="0" err="1" smtClean="0">
                  <a:latin typeface="나눔고딕" panose="020D0604000000000000" pitchFamily="50" charset="-127"/>
                  <a:ea typeface="나눔고딕" panose="020D0604000000000000" pitchFamily="50" charset="-127"/>
                </a:rPr>
                <a:t>간응</a:t>
              </a:r>
              <a:r>
                <a:rPr lang="ko-KR" altLang="en-US" sz="1600" dirty="0" smtClean="0">
                  <a:latin typeface="나눔고딕" panose="020D0604000000000000" pitchFamily="50" charset="-127"/>
                  <a:ea typeface="나눔고딕" panose="020D0604000000000000" pitchFamily="50" charset="-127"/>
                </a:rPr>
                <a:t> </a:t>
              </a:r>
              <a:endParaRPr lang="en-US" altLang="ko-KR" sz="1600" dirty="0" smtClean="0">
                <a:latin typeface="나눔고딕" panose="020D0604000000000000" pitchFamily="50" charset="-127"/>
                <a:ea typeface="나눔고딕" panose="020D0604000000000000" pitchFamily="50" charset="-127"/>
              </a:endParaRPr>
            </a:p>
            <a:p>
              <a:pPr marL="171450" lvl="1" indent="-171450" algn="l" defTabSz="711200" latinLnBrk="1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•"/>
              </a:pPr>
              <a:r>
                <a:rPr lang="ko-KR" altLang="en-US" sz="1600" kern="1200" dirty="0" err="1" smtClean="0">
                  <a:latin typeface="나눔고딕" panose="020D0604000000000000" pitchFamily="50" charset="-127"/>
                  <a:ea typeface="나눔고딕" panose="020D0604000000000000" pitchFamily="50" charset="-127"/>
                </a:rPr>
                <a:t>과일재고</a:t>
              </a:r>
              <a:r>
                <a:rPr lang="ko-KR" altLang="en-US" sz="1600" kern="1200" dirty="0" smtClean="0">
                  <a:latin typeface="나눔고딕" panose="020D0604000000000000" pitchFamily="50" charset="-127"/>
                  <a:ea typeface="나눔고딕" panose="020D0604000000000000" pitchFamily="50" charset="-127"/>
                </a:rPr>
                <a:t> </a:t>
              </a:r>
              <a:r>
                <a:rPr lang="en-US" altLang="ko-KR" sz="1600" kern="1200" dirty="0" smtClean="0">
                  <a:latin typeface="나눔고딕" panose="020D0604000000000000" pitchFamily="50" charset="-127"/>
                  <a:ea typeface="나눔고딕" panose="020D0604000000000000" pitchFamily="50" charset="-127"/>
                </a:rPr>
                <a:t>1/5 </a:t>
              </a:r>
              <a:r>
                <a:rPr lang="ko-KR" altLang="en-US" sz="1600" kern="1200" dirty="0" smtClean="0">
                  <a:latin typeface="나눔고딕" panose="020D0604000000000000" pitchFamily="50" charset="-127"/>
                  <a:ea typeface="나눔고딕" panose="020D0604000000000000" pitchFamily="50" charset="-127"/>
                </a:rPr>
                <a:t>수준으로 격감  </a:t>
              </a:r>
              <a:endParaRPr lang="en-US" altLang="ko-KR" sz="1600" kern="1200" dirty="0" smtClean="0">
                <a:latin typeface="나눔고딕" panose="020D0604000000000000" pitchFamily="50" charset="-127"/>
                <a:ea typeface="나눔고딕" panose="020D0604000000000000" pitchFamily="50" charset="-127"/>
              </a:endParaRPr>
            </a:p>
            <a:p>
              <a:pPr marL="171450" lvl="1" indent="-171450" algn="l" defTabSz="711200" latinLnBrk="1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•"/>
              </a:pPr>
              <a:endParaRPr lang="en-US" altLang="ko-KR" sz="1600" dirty="0">
                <a:latin typeface="나눔고딕" panose="020D0604000000000000" pitchFamily="50" charset="-127"/>
                <a:ea typeface="나눔고딕" panose="020D0604000000000000" pitchFamily="50" charset="-127"/>
              </a:endParaRPr>
            </a:p>
            <a:p>
              <a:pPr marL="171450" lvl="1" indent="-171450" algn="l" defTabSz="711200" latinLnBrk="1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•"/>
              </a:pPr>
              <a:r>
                <a:rPr lang="en-US" altLang="ko-KR" sz="1600" kern="1200" dirty="0" smtClean="0">
                  <a:latin typeface="나눔고딕" panose="020D0604000000000000" pitchFamily="50" charset="-127"/>
                  <a:ea typeface="나눔고딕" panose="020D0604000000000000" pitchFamily="50" charset="-127"/>
                </a:rPr>
                <a:t>* NBN, </a:t>
              </a:r>
              <a:r>
                <a:rPr lang="ko-KR" altLang="en-US" sz="1600" kern="1200" dirty="0" smtClean="0">
                  <a:latin typeface="나눔고딕" panose="020D0604000000000000" pitchFamily="50" charset="-127"/>
                  <a:ea typeface="나눔고딕" panose="020D0604000000000000" pitchFamily="50" charset="-127"/>
                </a:rPr>
                <a:t>데이비드 </a:t>
              </a:r>
              <a:r>
                <a:rPr lang="ko-KR" altLang="en-US" sz="1600" kern="1200" dirty="0" err="1" smtClean="0">
                  <a:latin typeface="나눔고딕" panose="020D0604000000000000" pitchFamily="50" charset="-127"/>
                  <a:ea typeface="나눔고딕" panose="020D0604000000000000" pitchFamily="50" charset="-127"/>
                </a:rPr>
                <a:t>스테펜슨</a:t>
              </a:r>
              <a:r>
                <a:rPr lang="en-US" altLang="ko-KR" sz="1600" kern="1200" dirty="0" smtClean="0">
                  <a:latin typeface="나눔고딕" panose="020D0604000000000000" pitchFamily="50" charset="-127"/>
                  <a:ea typeface="나눔고딕" panose="020D0604000000000000" pitchFamily="50" charset="-127"/>
                </a:rPr>
                <a:t>, </a:t>
              </a:r>
              <a:r>
                <a:rPr lang="ko-KR" altLang="en-US" sz="1600" kern="1200" dirty="0" smtClean="0">
                  <a:latin typeface="나눔고딕" panose="020D0604000000000000" pitchFamily="50" charset="-127"/>
                  <a:ea typeface="나눔고딕" panose="020D0604000000000000" pitchFamily="50" charset="-127"/>
                </a:rPr>
                <a:t>글로벌유통포럼</a:t>
              </a:r>
              <a:r>
                <a:rPr lang="en-US" altLang="ko-KR" sz="1600" kern="1200" dirty="0" smtClean="0">
                  <a:latin typeface="나눔고딕" panose="020D0604000000000000" pitchFamily="50" charset="-127"/>
                  <a:ea typeface="나눔고딕" panose="020D0604000000000000" pitchFamily="50" charset="-127"/>
                </a:rPr>
                <a:t> </a:t>
              </a:r>
              <a:r>
                <a:rPr lang="ko-KR" altLang="en-US" sz="1600" kern="1200" dirty="0" smtClean="0">
                  <a:latin typeface="나눔고딕" panose="020D0604000000000000" pitchFamily="50" charset="-127"/>
                  <a:ea typeface="나눔고딕" panose="020D0604000000000000" pitchFamily="50" charset="-127"/>
                </a:rPr>
                <a:t>발표자료 참고 </a:t>
              </a:r>
              <a:endParaRPr lang="en-US" altLang="ko-KR" sz="1600" kern="1200" dirty="0" smtClean="0">
                <a:latin typeface="나눔고딕" panose="020D0604000000000000" pitchFamily="50" charset="-127"/>
                <a:ea typeface="나눔고딕" panose="020D0604000000000000" pitchFamily="50" charset="-127"/>
              </a:endParaRPr>
            </a:p>
            <a:p>
              <a:pPr marL="0" lvl="1" algn="l" defTabSz="711200" latinLnBrk="1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</a:pPr>
              <a:r>
                <a:rPr lang="ko-KR" altLang="en-US" sz="1600" kern="1200" dirty="0" smtClean="0">
                  <a:latin typeface="나눔고딕" panose="020D0604000000000000" pitchFamily="50" charset="-127"/>
                  <a:ea typeface="나눔고딕" panose="020D0604000000000000" pitchFamily="50" charset="-127"/>
                </a:rPr>
                <a:t> </a:t>
              </a:r>
              <a:endParaRPr lang="en-US" altLang="ko-KR" sz="1600" b="1" i="0" kern="1200" dirty="0">
                <a:effectLst/>
                <a:latin typeface="Dotum" panose="020B0600000101010101" pitchFamily="50" charset="-127"/>
                <a:ea typeface="Dotum" panose="020B0600000101010101" pitchFamily="50" charset="-127"/>
              </a:endParaRPr>
            </a:p>
          </p:txBody>
        </p:sp>
      </p:grpSp>
      <p:sp>
        <p:nvSpPr>
          <p:cNvPr id="21" name="직사각형 20"/>
          <p:cNvSpPr/>
          <p:nvPr/>
        </p:nvSpPr>
        <p:spPr>
          <a:xfrm>
            <a:off x="6284307" y="2245558"/>
            <a:ext cx="2650689" cy="424731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 fontAlgn="base">
              <a:buFont typeface="Wingdings" panose="05000000000000000000" pitchFamily="2" charset="2"/>
              <a:buChar char="l"/>
            </a:pPr>
            <a:r>
              <a:rPr lang="ko-KR" altLang="en-US" sz="1500" b="1" dirty="0" err="1">
                <a:solidFill>
                  <a:srgbClr val="444444"/>
                </a:solidFill>
                <a:latin typeface="Nanum Gothic"/>
              </a:rPr>
              <a:t>헝거리듬</a:t>
            </a:r>
            <a:r>
              <a:rPr lang="en-US" altLang="ko-KR" sz="1500" b="1" dirty="0">
                <a:solidFill>
                  <a:srgbClr val="444444"/>
                </a:solidFill>
                <a:latin typeface="Nanum Gothic"/>
              </a:rPr>
              <a:t>(</a:t>
            </a:r>
            <a:r>
              <a:rPr lang="en-US" altLang="ko-KR" sz="1500" b="1" dirty="0" err="1">
                <a:solidFill>
                  <a:srgbClr val="444444"/>
                </a:solidFill>
                <a:latin typeface="Nanum Gothic"/>
              </a:rPr>
              <a:t>Hungerithm</a:t>
            </a:r>
            <a:r>
              <a:rPr lang="en-US" altLang="ko-KR" sz="1500" b="1" dirty="0">
                <a:solidFill>
                  <a:srgbClr val="444444"/>
                </a:solidFill>
                <a:latin typeface="Nanum Gothic"/>
              </a:rPr>
              <a:t>)’</a:t>
            </a:r>
            <a:r>
              <a:rPr lang="ko-KR" altLang="en-US" sz="1500" b="1" dirty="0">
                <a:solidFill>
                  <a:srgbClr val="444444"/>
                </a:solidFill>
                <a:latin typeface="Nanum Gothic"/>
              </a:rPr>
              <a:t>이란 빅데이터 알고리즘을 개발 광고 </a:t>
            </a:r>
            <a:r>
              <a:rPr lang="ko-KR" altLang="en-US" sz="1500" b="1" dirty="0" smtClean="0">
                <a:solidFill>
                  <a:srgbClr val="444444"/>
                </a:solidFill>
                <a:latin typeface="Nanum Gothic"/>
              </a:rPr>
              <a:t>효과</a:t>
            </a:r>
            <a:endParaRPr lang="en-US" altLang="ko-KR" sz="1500" dirty="0">
              <a:solidFill>
                <a:srgbClr val="444444"/>
              </a:solidFill>
              <a:latin typeface="Nanum Gothic"/>
            </a:endParaRPr>
          </a:p>
          <a:p>
            <a:pPr marL="285750" indent="-285750" fontAlgn="base">
              <a:buFont typeface="Arial" panose="020B0604020202020204" pitchFamily="34" charset="0"/>
              <a:buChar char="•"/>
            </a:pPr>
            <a:r>
              <a:rPr lang="en-US" altLang="ko-KR" sz="1500" b="1" dirty="0" smtClean="0">
                <a:solidFill>
                  <a:srgbClr val="444444"/>
                </a:solidFill>
                <a:latin typeface="Nanum Gothic"/>
              </a:rPr>
              <a:t>10</a:t>
            </a:r>
            <a:r>
              <a:rPr lang="ko-KR" altLang="en-US" sz="1500" b="1" dirty="0" smtClean="0">
                <a:solidFill>
                  <a:srgbClr val="444444"/>
                </a:solidFill>
                <a:latin typeface="Nanum Gothic"/>
              </a:rPr>
              <a:t>분마다 트위터 </a:t>
            </a:r>
            <a:r>
              <a:rPr lang="ko-KR" altLang="en-US" sz="1500" b="1" dirty="0">
                <a:solidFill>
                  <a:srgbClr val="444444"/>
                </a:solidFill>
                <a:latin typeface="Nanum Gothic"/>
              </a:rPr>
              <a:t>메시지를 </a:t>
            </a:r>
            <a:r>
              <a:rPr lang="ko-KR" altLang="en-US" sz="1500" b="1" dirty="0" err="1" smtClean="0">
                <a:solidFill>
                  <a:srgbClr val="444444"/>
                </a:solidFill>
                <a:latin typeface="Nanum Gothic"/>
              </a:rPr>
              <a:t>분석해‘</a:t>
            </a:r>
            <a:r>
              <a:rPr lang="ko-KR" altLang="en-US" sz="1500" b="1" u="sng" dirty="0" err="1">
                <a:solidFill>
                  <a:srgbClr val="444444"/>
                </a:solidFill>
                <a:latin typeface="Nanum Gothic"/>
              </a:rPr>
              <a:t>불쾌지수’에</a:t>
            </a:r>
            <a:r>
              <a:rPr lang="ko-KR" altLang="en-US" sz="1500" b="1" u="sng" dirty="0">
                <a:solidFill>
                  <a:srgbClr val="444444"/>
                </a:solidFill>
                <a:latin typeface="Nanum Gothic"/>
              </a:rPr>
              <a:t> 따라 </a:t>
            </a:r>
            <a:r>
              <a:rPr lang="ko-KR" altLang="en-US" sz="1500" b="1" u="sng" dirty="0" err="1">
                <a:solidFill>
                  <a:srgbClr val="444444"/>
                </a:solidFill>
                <a:latin typeface="Nanum Gothic"/>
              </a:rPr>
              <a:t>스니커즈</a:t>
            </a:r>
            <a:r>
              <a:rPr lang="ko-KR" altLang="en-US" sz="1500" b="1" u="sng" dirty="0">
                <a:solidFill>
                  <a:srgbClr val="444444"/>
                </a:solidFill>
                <a:latin typeface="Nanum Gothic"/>
              </a:rPr>
              <a:t> 가격을 할인해주는 </a:t>
            </a:r>
            <a:r>
              <a:rPr lang="ko-KR" altLang="en-US" sz="1500" b="1" u="sng" dirty="0" smtClean="0">
                <a:solidFill>
                  <a:srgbClr val="444444"/>
                </a:solidFill>
                <a:latin typeface="Nanum Gothic"/>
              </a:rPr>
              <a:t>알고리즘</a:t>
            </a:r>
            <a:endParaRPr lang="en-US" altLang="ko-KR" sz="1500" b="1" u="sng" dirty="0" smtClean="0">
              <a:solidFill>
                <a:srgbClr val="444444"/>
              </a:solidFill>
              <a:latin typeface="Nanum Gothic"/>
            </a:endParaRPr>
          </a:p>
          <a:p>
            <a:pPr marL="285750" indent="-285750" fontAlgn="base">
              <a:buFont typeface="Arial" panose="020B0604020202020204" pitchFamily="34" charset="0"/>
              <a:buChar char="•"/>
            </a:pPr>
            <a:r>
              <a:rPr lang="ko-KR" altLang="en-US" sz="1500" b="1" dirty="0">
                <a:solidFill>
                  <a:srgbClr val="444444"/>
                </a:solidFill>
                <a:latin typeface="Nanum Gothic"/>
              </a:rPr>
              <a:t>배고파서 화가 날 때</a:t>
            </a:r>
            <a:r>
              <a:rPr lang="en-US" altLang="ko-KR" sz="1500" b="1" dirty="0">
                <a:solidFill>
                  <a:srgbClr val="444444"/>
                </a:solidFill>
                <a:latin typeface="Nanum Gothic"/>
              </a:rPr>
              <a:t>, </a:t>
            </a:r>
            <a:r>
              <a:rPr lang="ko-KR" altLang="en-US" sz="1500" b="1" dirty="0" err="1">
                <a:solidFill>
                  <a:srgbClr val="444444"/>
                </a:solidFill>
                <a:latin typeface="Nanum Gothic"/>
              </a:rPr>
              <a:t>스니커즈로</a:t>
            </a:r>
            <a:r>
              <a:rPr lang="ko-KR" altLang="en-US" sz="1500" b="1" dirty="0">
                <a:solidFill>
                  <a:srgbClr val="444444"/>
                </a:solidFill>
                <a:latin typeface="Nanum Gothic"/>
              </a:rPr>
              <a:t> 행복함을 느끼라는 </a:t>
            </a:r>
            <a:r>
              <a:rPr lang="ko-KR" altLang="en-US" sz="1500" b="1" dirty="0" err="1" smtClean="0">
                <a:solidFill>
                  <a:srgbClr val="444444"/>
                </a:solidFill>
                <a:latin typeface="Nanum Gothic"/>
              </a:rPr>
              <a:t>가격유인</a:t>
            </a:r>
            <a:r>
              <a:rPr lang="ko-KR" altLang="en-US" sz="1500" b="1" dirty="0" smtClean="0">
                <a:solidFill>
                  <a:srgbClr val="444444"/>
                </a:solidFill>
                <a:latin typeface="Nanum Gothic"/>
              </a:rPr>
              <a:t> </a:t>
            </a:r>
            <a:r>
              <a:rPr lang="ko-KR" altLang="en-US" sz="1500" b="1" dirty="0">
                <a:solidFill>
                  <a:srgbClr val="444444"/>
                </a:solidFill>
                <a:latin typeface="Nanum Gothic"/>
              </a:rPr>
              <a:t>마케팅 </a:t>
            </a:r>
            <a:r>
              <a:rPr lang="ko-KR" altLang="en-US" sz="1500" b="1" dirty="0" smtClean="0">
                <a:solidFill>
                  <a:srgbClr val="444444"/>
                </a:solidFill>
                <a:latin typeface="Nanum Gothic"/>
              </a:rPr>
              <a:t>전략</a:t>
            </a:r>
            <a:endParaRPr lang="en-US" altLang="ko-KR" sz="1500" b="1" u="sng" dirty="0">
              <a:solidFill>
                <a:srgbClr val="444444"/>
              </a:solidFill>
              <a:latin typeface="Nanum Gothic"/>
            </a:endParaRPr>
          </a:p>
          <a:p>
            <a:pPr marL="285750" indent="-285750" fontAlgn="base">
              <a:buFont typeface="Arial" panose="020B0604020202020204" pitchFamily="34" charset="0"/>
              <a:buChar char="•"/>
            </a:pPr>
            <a:r>
              <a:rPr lang="en-US" altLang="ko-KR" sz="1500" b="1" dirty="0">
                <a:solidFill>
                  <a:srgbClr val="444444"/>
                </a:solidFill>
                <a:latin typeface="Nanum Gothic"/>
              </a:rPr>
              <a:t>5</a:t>
            </a:r>
            <a:r>
              <a:rPr lang="ko-KR" altLang="en-US" sz="1500" b="1" dirty="0" smtClean="0">
                <a:solidFill>
                  <a:srgbClr val="444444"/>
                </a:solidFill>
                <a:latin typeface="Nanum Gothic"/>
              </a:rPr>
              <a:t>주간 </a:t>
            </a:r>
            <a:r>
              <a:rPr lang="ko-KR" altLang="en-US" sz="1500" b="1" dirty="0">
                <a:solidFill>
                  <a:srgbClr val="444444"/>
                </a:solidFill>
                <a:latin typeface="Nanum Gothic"/>
              </a:rPr>
              <a:t>캠페인 기간 </a:t>
            </a:r>
            <a:r>
              <a:rPr lang="ko-KR" altLang="en-US" sz="1500" b="1" dirty="0" smtClean="0">
                <a:solidFill>
                  <a:srgbClr val="444444"/>
                </a:solidFill>
                <a:latin typeface="Nanum Gothic"/>
              </a:rPr>
              <a:t>내 </a:t>
            </a:r>
            <a:r>
              <a:rPr lang="en-US" altLang="ko-KR" sz="1500" b="1" dirty="0" smtClean="0">
                <a:solidFill>
                  <a:srgbClr val="444444"/>
                </a:solidFill>
                <a:latin typeface="Nanum Gothic"/>
              </a:rPr>
              <a:t>3</a:t>
            </a:r>
            <a:r>
              <a:rPr lang="ko-KR" altLang="en-US" sz="1500" b="1" dirty="0">
                <a:solidFill>
                  <a:srgbClr val="444444"/>
                </a:solidFill>
                <a:latin typeface="Nanum Gothic"/>
              </a:rPr>
              <a:t>천만 건 </a:t>
            </a:r>
            <a:r>
              <a:rPr lang="ko-KR" altLang="en-US" sz="1500" b="1" dirty="0" smtClean="0">
                <a:solidFill>
                  <a:srgbClr val="444444"/>
                </a:solidFill>
                <a:latin typeface="Nanum Gothic"/>
              </a:rPr>
              <a:t>미디어 </a:t>
            </a:r>
            <a:r>
              <a:rPr lang="ko-KR" altLang="en-US" sz="1500" b="1" dirty="0">
                <a:solidFill>
                  <a:srgbClr val="444444"/>
                </a:solidFill>
                <a:latin typeface="Nanum Gothic"/>
              </a:rPr>
              <a:t>노출과 트위터에서 브랜드 관련 </a:t>
            </a:r>
            <a:r>
              <a:rPr lang="ko-KR" altLang="en-US" sz="1500" b="1" i="1" dirty="0" err="1">
                <a:solidFill>
                  <a:srgbClr val="444444"/>
                </a:solidFill>
                <a:latin typeface="Nanum Gothic"/>
              </a:rPr>
              <a:t>소통답글이</a:t>
            </a:r>
            <a:r>
              <a:rPr lang="ko-KR" altLang="en-US" sz="1500" b="1" i="1" dirty="0">
                <a:solidFill>
                  <a:srgbClr val="444444"/>
                </a:solidFill>
                <a:latin typeface="Nanum Gothic"/>
              </a:rPr>
              <a:t> </a:t>
            </a:r>
            <a:r>
              <a:rPr lang="en-US" altLang="ko-KR" sz="1500" b="1" i="1" dirty="0">
                <a:solidFill>
                  <a:srgbClr val="444444"/>
                </a:solidFill>
                <a:latin typeface="Nanum Gothic"/>
              </a:rPr>
              <a:t>120% </a:t>
            </a:r>
            <a:r>
              <a:rPr lang="ko-KR" altLang="en-US" sz="1500" b="1" i="1" dirty="0">
                <a:solidFill>
                  <a:srgbClr val="444444"/>
                </a:solidFill>
                <a:latin typeface="Nanum Gothic"/>
              </a:rPr>
              <a:t>증가하고 웹사이트 방문객 수도 </a:t>
            </a:r>
            <a:r>
              <a:rPr lang="en-US" altLang="ko-KR" sz="1500" b="1" i="1" dirty="0">
                <a:solidFill>
                  <a:srgbClr val="444444"/>
                </a:solidFill>
                <a:latin typeface="Nanum Gothic"/>
              </a:rPr>
              <a:t>400% </a:t>
            </a:r>
            <a:r>
              <a:rPr lang="ko-KR" altLang="en-US" sz="1500" b="1" i="1" dirty="0">
                <a:solidFill>
                  <a:srgbClr val="444444"/>
                </a:solidFill>
                <a:latin typeface="Nanum Gothic"/>
              </a:rPr>
              <a:t>이상 증가하는 등 </a:t>
            </a:r>
            <a:r>
              <a:rPr lang="ko-KR" altLang="en-US" sz="1500" b="1" i="1" dirty="0" err="1">
                <a:solidFill>
                  <a:srgbClr val="444444"/>
                </a:solidFill>
                <a:latin typeface="Nanum Gothic"/>
              </a:rPr>
              <a:t>브랜딩</a:t>
            </a:r>
            <a:r>
              <a:rPr lang="ko-KR" altLang="en-US" sz="1500" b="1" i="1" dirty="0">
                <a:solidFill>
                  <a:srgbClr val="444444"/>
                </a:solidFill>
                <a:latin typeface="Nanum Gothic"/>
              </a:rPr>
              <a:t> </a:t>
            </a:r>
            <a:r>
              <a:rPr lang="ko-KR" altLang="en-US" sz="1500" b="1" i="1" dirty="0" smtClean="0">
                <a:solidFill>
                  <a:srgbClr val="444444"/>
                </a:solidFill>
                <a:latin typeface="Nanum Gothic"/>
              </a:rPr>
              <a:t>효과</a:t>
            </a:r>
            <a:endParaRPr lang="en-US" altLang="ko-KR" sz="1600" b="1" u="sng" dirty="0">
              <a:solidFill>
                <a:srgbClr val="444444"/>
              </a:solidFill>
              <a:latin typeface="Nanum Gothic"/>
            </a:endParaRPr>
          </a:p>
        </p:txBody>
      </p:sp>
      <p:sp>
        <p:nvSpPr>
          <p:cNvPr id="28" name="제목 1">
            <a:extLst>
              <a:ext uri="{FF2B5EF4-FFF2-40B4-BE49-F238E27FC236}">
                <a16:creationId xmlns:a16="http://schemas.microsoft.com/office/drawing/2014/main" id="{889BAC44-FB9F-AFEA-DC87-A44827FB7BB4}"/>
              </a:ext>
            </a:extLst>
          </p:cNvPr>
          <p:cNvSpPr txBox="1">
            <a:spLocks/>
          </p:cNvSpPr>
          <p:nvPr/>
        </p:nvSpPr>
        <p:spPr>
          <a:xfrm>
            <a:off x="131846" y="58750"/>
            <a:ext cx="11558160" cy="906925"/>
          </a:xfrm>
          <a:prstGeom prst="rect">
            <a:avLst/>
          </a:prstGeom>
          <a:solidFill>
            <a:srgbClr val="0070C0"/>
          </a:solidFill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1" hangingPunct="1">
              <a:lnSpc>
                <a:spcPct val="85000"/>
              </a:lnSpc>
              <a:spcBef>
                <a:spcPct val="0"/>
              </a:spcBef>
              <a:buNone/>
              <a:defRPr sz="5400" kern="1200" spc="-120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altLang="ko-KR" sz="3600" b="1" kern="0" dirty="0">
                <a:solidFill>
                  <a:schemeClr val="bg1"/>
                </a:solidFill>
                <a:latin typeface="+mj-ea"/>
              </a:rPr>
              <a:t>III. </a:t>
            </a:r>
            <a:r>
              <a:rPr lang="ko-KR" altLang="en-US" sz="3600" b="1" dirty="0">
                <a:solidFill>
                  <a:schemeClr val="bg1"/>
                </a:solidFill>
                <a:latin typeface="+mj-ea"/>
              </a:rPr>
              <a:t>빅데이터</a:t>
            </a:r>
            <a:r>
              <a:rPr lang="en-US" altLang="ko-KR" sz="3600" b="1" dirty="0">
                <a:solidFill>
                  <a:schemeClr val="bg1"/>
                </a:solidFill>
                <a:latin typeface="+mj-ea"/>
              </a:rPr>
              <a:t> &amp; AI</a:t>
            </a:r>
            <a:r>
              <a:rPr lang="ko-KR" altLang="en-US" sz="3600" b="1" dirty="0">
                <a:solidFill>
                  <a:schemeClr val="bg1"/>
                </a:solidFill>
                <a:latin typeface="+mj-ea"/>
              </a:rPr>
              <a:t>의 </a:t>
            </a:r>
            <a:r>
              <a:rPr lang="ko-KR" altLang="en-US" sz="3600" b="1" dirty="0" smtClean="0">
                <a:solidFill>
                  <a:schemeClr val="bg1"/>
                </a:solidFill>
                <a:latin typeface="+mj-ea"/>
              </a:rPr>
              <a:t> 유통산업 내 활용 사례</a:t>
            </a:r>
            <a:endParaRPr lang="ko-KR" altLang="en-US" sz="3600" dirty="0">
              <a:solidFill>
                <a:schemeClr val="bg1"/>
              </a:solidFill>
              <a:latin typeface="HY강B" panose="02030600000101010101" pitchFamily="18" charset="-127"/>
              <a:ea typeface="HY강B" panose="02030600000101010101" pitchFamily="18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768969236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날짜 개체 틀 2">
            <a:extLst>
              <a:ext uri="{FF2B5EF4-FFF2-40B4-BE49-F238E27FC236}">
                <a16:creationId xmlns:a16="http://schemas.microsoft.com/office/drawing/2014/main" id="{8BEC0EEF-E580-1F75-2490-8A8B2F4D11C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FC9B95B-9606-41FD-9410-F2B308BBF263}" type="datetime1">
              <a:rPr lang="en-US" altLang="ko-KR" smtClean="0"/>
              <a:t>6/22/2023</a:t>
            </a:fld>
            <a:endParaRPr lang="en-US" dirty="0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818822C7-2AE3-D865-2FBC-85D609571C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smtClean="0"/>
              <a:t>24</a:t>
            </a:fld>
            <a:endParaRPr lang="en-US" dirty="0"/>
          </a:p>
        </p:txBody>
      </p:sp>
      <p:sp>
        <p:nvSpPr>
          <p:cNvPr id="5" name="직사각형 4"/>
          <p:cNvSpPr/>
          <p:nvPr/>
        </p:nvSpPr>
        <p:spPr>
          <a:xfrm>
            <a:off x="426720" y="1983819"/>
            <a:ext cx="6096000" cy="4555093"/>
          </a:xfrm>
          <a:prstGeom prst="rect">
            <a:avLst/>
          </a:prstGeom>
        </p:spPr>
        <p:txBody>
          <a:bodyPr>
            <a:spAutoFit/>
          </a:bodyPr>
          <a:lstStyle/>
          <a:p>
            <a:pPr marL="342900" indent="-342900" fontAlgn="base">
              <a:buFont typeface="Wingdings" panose="05000000000000000000" pitchFamily="2" charset="2"/>
              <a:buChar char="l"/>
            </a:pPr>
            <a:r>
              <a:rPr lang="ko-KR" altLang="en-US" sz="2000" b="1" dirty="0">
                <a:solidFill>
                  <a:srgbClr val="444444"/>
                </a:solidFill>
                <a:latin typeface="Nanum Gothic"/>
              </a:rPr>
              <a:t>중국 </a:t>
            </a:r>
            <a:r>
              <a:rPr lang="ko-KR" altLang="en-US" sz="2000" b="1" dirty="0" err="1" smtClean="0">
                <a:solidFill>
                  <a:srgbClr val="444444"/>
                </a:solidFill>
                <a:latin typeface="Nanum Gothic"/>
              </a:rPr>
              <a:t>텐센트</a:t>
            </a:r>
            <a:r>
              <a:rPr lang="en-US" altLang="ko-KR" sz="2000" b="1" dirty="0" smtClean="0">
                <a:solidFill>
                  <a:srgbClr val="444444"/>
                </a:solidFill>
                <a:latin typeface="Nanum Gothic"/>
              </a:rPr>
              <a:t>: ESG </a:t>
            </a:r>
            <a:r>
              <a:rPr lang="ko-KR" altLang="en-US" sz="2000" b="1" dirty="0" smtClean="0">
                <a:solidFill>
                  <a:srgbClr val="444444"/>
                </a:solidFill>
                <a:latin typeface="Nanum Gothic"/>
              </a:rPr>
              <a:t>실종 </a:t>
            </a:r>
            <a:r>
              <a:rPr lang="ko-KR" altLang="en-US" sz="2000" b="1" dirty="0">
                <a:solidFill>
                  <a:srgbClr val="444444"/>
                </a:solidFill>
                <a:latin typeface="Nanum Gothic"/>
              </a:rPr>
              <a:t>어린이 문제 해결</a:t>
            </a:r>
            <a:endParaRPr lang="en-US" altLang="ko-KR" sz="2000" b="1" dirty="0">
              <a:solidFill>
                <a:srgbClr val="444444"/>
              </a:solidFill>
              <a:latin typeface="Nanum Gothic"/>
            </a:endParaRPr>
          </a:p>
          <a:p>
            <a:pPr marL="285750" indent="-285750" fontAlgn="base">
              <a:buFont typeface="Arial" panose="020B0604020202020204" pitchFamily="34" charset="0"/>
              <a:buChar char="•"/>
            </a:pPr>
            <a:endParaRPr lang="en-US" altLang="ko-KR" dirty="0" smtClean="0">
              <a:solidFill>
                <a:srgbClr val="444444"/>
              </a:solidFill>
              <a:latin typeface="Nanum Gothic"/>
            </a:endParaRPr>
          </a:p>
          <a:p>
            <a:pPr marL="285750" indent="-285750" fontAlgn="base">
              <a:buFont typeface="Arial" panose="020B0604020202020204" pitchFamily="34" charset="0"/>
              <a:buChar char="•"/>
            </a:pPr>
            <a:r>
              <a:rPr lang="ko-KR" altLang="en-US" b="1" dirty="0" smtClean="0">
                <a:solidFill>
                  <a:srgbClr val="444444"/>
                </a:solidFill>
                <a:latin typeface="Nanum Gothic"/>
              </a:rPr>
              <a:t>메신저 </a:t>
            </a:r>
            <a:r>
              <a:rPr lang="en-US" altLang="ko-KR" b="1" dirty="0">
                <a:solidFill>
                  <a:srgbClr val="444444"/>
                </a:solidFill>
                <a:latin typeface="Nanum Gothic"/>
              </a:rPr>
              <a:t>QQ</a:t>
            </a:r>
            <a:r>
              <a:rPr lang="ko-KR" altLang="en-US" b="1" dirty="0">
                <a:solidFill>
                  <a:srgbClr val="444444"/>
                </a:solidFill>
                <a:latin typeface="Nanum Gothic"/>
              </a:rPr>
              <a:t>는 자신들이 보유한 </a:t>
            </a:r>
            <a:r>
              <a:rPr lang="ko-KR" altLang="en-US" b="1" dirty="0" smtClean="0">
                <a:solidFill>
                  <a:srgbClr val="444444"/>
                </a:solidFill>
                <a:latin typeface="Nanum Gothic"/>
              </a:rPr>
              <a:t> </a:t>
            </a:r>
            <a:r>
              <a:rPr lang="en-US" altLang="ko-KR" b="1" dirty="0" smtClean="0">
                <a:solidFill>
                  <a:srgbClr val="444444"/>
                </a:solidFill>
                <a:latin typeface="Nanum Gothic"/>
              </a:rPr>
              <a:t>1</a:t>
            </a:r>
            <a:r>
              <a:rPr lang="ko-KR" altLang="en-US" b="1" dirty="0" err="1" smtClean="0">
                <a:solidFill>
                  <a:srgbClr val="444444"/>
                </a:solidFill>
                <a:latin typeface="Nanum Gothic"/>
              </a:rPr>
              <a:t>천만명의</a:t>
            </a:r>
            <a:r>
              <a:rPr lang="ko-KR" altLang="en-US" b="1" dirty="0" smtClean="0">
                <a:solidFill>
                  <a:srgbClr val="444444"/>
                </a:solidFill>
                <a:latin typeface="Nanum Gothic"/>
              </a:rPr>
              <a:t> </a:t>
            </a:r>
            <a:r>
              <a:rPr lang="ko-KR" altLang="en-US" b="1" dirty="0">
                <a:solidFill>
                  <a:srgbClr val="444444"/>
                </a:solidFill>
                <a:latin typeface="Nanum Gothic"/>
              </a:rPr>
              <a:t>얼굴사진 샘플 분석을 통해 어릴 때의 얼굴을 추적하여 성인이 된 모습으로 변환시켜주는</a:t>
            </a:r>
            <a:r>
              <a:rPr lang="en-US" altLang="ko-KR" b="1" dirty="0">
                <a:solidFill>
                  <a:srgbClr val="444444"/>
                </a:solidFill>
                <a:latin typeface="Nanum Gothic"/>
              </a:rPr>
              <a:t>, </a:t>
            </a:r>
            <a:r>
              <a:rPr lang="ko-KR" altLang="en-US" b="1" dirty="0">
                <a:solidFill>
                  <a:srgbClr val="444444"/>
                </a:solidFill>
                <a:latin typeface="Nanum Gothic"/>
              </a:rPr>
              <a:t>연령 변화에 따른 추적 안면인식 </a:t>
            </a:r>
            <a:r>
              <a:rPr lang="ko-KR" altLang="en-US" b="1" dirty="0" err="1">
                <a:solidFill>
                  <a:srgbClr val="444444"/>
                </a:solidFill>
                <a:latin typeface="Nanum Gothic"/>
              </a:rPr>
              <a:t>앱</a:t>
            </a:r>
            <a:r>
              <a:rPr lang="ko-KR" altLang="en-US" b="1" dirty="0">
                <a:solidFill>
                  <a:srgbClr val="444444"/>
                </a:solidFill>
                <a:latin typeface="Nanum Gothic"/>
              </a:rPr>
              <a:t> ‘</a:t>
            </a:r>
            <a:r>
              <a:rPr lang="en-US" altLang="ko-KR" b="1" dirty="0">
                <a:solidFill>
                  <a:srgbClr val="444444"/>
                </a:solidFill>
                <a:latin typeface="Nanum Gothic"/>
              </a:rPr>
              <a:t>QQ</a:t>
            </a:r>
            <a:r>
              <a:rPr lang="ko-KR" altLang="en-US" b="1" dirty="0" err="1">
                <a:solidFill>
                  <a:srgbClr val="444444"/>
                </a:solidFill>
                <a:latin typeface="Nanum Gothic"/>
              </a:rPr>
              <a:t>알러트</a:t>
            </a:r>
            <a:r>
              <a:rPr lang="en-US" altLang="ko-KR" b="1" dirty="0">
                <a:solidFill>
                  <a:srgbClr val="444444"/>
                </a:solidFill>
                <a:latin typeface="Nanum Gothic"/>
              </a:rPr>
              <a:t>(QQ ALERT)’</a:t>
            </a:r>
            <a:r>
              <a:rPr lang="ko-KR" altLang="en-US" b="1" dirty="0">
                <a:solidFill>
                  <a:srgbClr val="444444"/>
                </a:solidFill>
                <a:latin typeface="Nanum Gothic"/>
              </a:rPr>
              <a:t>를 </a:t>
            </a:r>
            <a:r>
              <a:rPr lang="ko-KR" altLang="en-US" b="1" dirty="0" smtClean="0">
                <a:solidFill>
                  <a:srgbClr val="444444"/>
                </a:solidFill>
                <a:latin typeface="Nanum Gothic"/>
              </a:rPr>
              <a:t>개발</a:t>
            </a:r>
            <a:endParaRPr lang="en-US" altLang="ko-KR" b="1" dirty="0" smtClean="0">
              <a:solidFill>
                <a:srgbClr val="444444"/>
              </a:solidFill>
              <a:latin typeface="Nanum Gothic"/>
            </a:endParaRPr>
          </a:p>
          <a:p>
            <a:pPr marL="285750" indent="-285750" fontAlgn="base">
              <a:buFont typeface="Arial" panose="020B0604020202020204" pitchFamily="34" charset="0"/>
              <a:buChar char="•"/>
            </a:pPr>
            <a:endParaRPr lang="en-US" altLang="ko-KR" b="1" dirty="0">
              <a:solidFill>
                <a:srgbClr val="444444"/>
              </a:solidFill>
              <a:latin typeface="Nanum Gothic"/>
            </a:endParaRPr>
          </a:p>
          <a:p>
            <a:pPr marL="285750" indent="-285750" fontAlgn="base">
              <a:buFont typeface="Arial" panose="020B0604020202020204" pitchFamily="34" charset="0"/>
              <a:buChar char="•"/>
            </a:pPr>
            <a:r>
              <a:rPr lang="ko-KR" altLang="en-US" b="1" dirty="0" err="1" smtClean="0">
                <a:solidFill>
                  <a:srgbClr val="444444"/>
                </a:solidFill>
                <a:latin typeface="Nanum Gothic"/>
              </a:rPr>
              <a:t>빅데이터</a:t>
            </a:r>
            <a:r>
              <a:rPr lang="en-US" altLang="ko-KR" b="1" dirty="0">
                <a:solidFill>
                  <a:srgbClr val="444444"/>
                </a:solidFill>
                <a:latin typeface="Nanum Gothic"/>
              </a:rPr>
              <a:t>(</a:t>
            </a:r>
            <a:r>
              <a:rPr lang="ko-KR" altLang="en-US" b="1" dirty="0">
                <a:solidFill>
                  <a:srgbClr val="444444"/>
                </a:solidFill>
                <a:latin typeface="Nanum Gothic"/>
              </a:rPr>
              <a:t>얼굴사진 샘플</a:t>
            </a:r>
            <a:r>
              <a:rPr lang="en-US" altLang="ko-KR" b="1" dirty="0">
                <a:solidFill>
                  <a:srgbClr val="444444"/>
                </a:solidFill>
                <a:latin typeface="Nanum Gothic"/>
              </a:rPr>
              <a:t>)</a:t>
            </a:r>
            <a:r>
              <a:rPr lang="ko-KR" altLang="en-US" b="1" dirty="0">
                <a:solidFill>
                  <a:srgbClr val="444444"/>
                </a:solidFill>
                <a:latin typeface="Nanum Gothic"/>
              </a:rPr>
              <a:t>를 </a:t>
            </a:r>
            <a:r>
              <a:rPr lang="ko-KR" altLang="en-US" b="1" dirty="0" err="1">
                <a:solidFill>
                  <a:srgbClr val="444444"/>
                </a:solidFill>
                <a:latin typeface="Nanum Gothic"/>
              </a:rPr>
              <a:t>인사이트있게</a:t>
            </a:r>
            <a:r>
              <a:rPr lang="ko-KR" altLang="en-US" b="1" dirty="0">
                <a:solidFill>
                  <a:srgbClr val="444444"/>
                </a:solidFill>
                <a:latin typeface="Nanum Gothic"/>
              </a:rPr>
              <a:t> 해석하여 중국의 주요 문제 중 하나였던 </a:t>
            </a:r>
            <a:r>
              <a:rPr lang="ko-KR" altLang="en-US" b="1" dirty="0" smtClean="0">
                <a:solidFill>
                  <a:srgbClr val="444444"/>
                </a:solidFill>
                <a:latin typeface="Nanum Gothic"/>
              </a:rPr>
              <a:t>잃어버린 </a:t>
            </a:r>
            <a:r>
              <a:rPr lang="ko-KR" altLang="en-US" b="1" dirty="0">
                <a:solidFill>
                  <a:srgbClr val="444444"/>
                </a:solidFill>
                <a:latin typeface="Nanum Gothic"/>
              </a:rPr>
              <a:t>아이의 어릴 적 사진을 토대로 </a:t>
            </a:r>
            <a:r>
              <a:rPr lang="en-US" altLang="ko-KR" b="1" dirty="0">
                <a:solidFill>
                  <a:srgbClr val="444444"/>
                </a:solidFill>
                <a:latin typeface="Nanum Gothic"/>
              </a:rPr>
              <a:t>5</a:t>
            </a:r>
            <a:r>
              <a:rPr lang="ko-KR" altLang="en-US" b="1" dirty="0">
                <a:solidFill>
                  <a:srgbClr val="444444"/>
                </a:solidFill>
                <a:latin typeface="Nanum Gothic"/>
              </a:rPr>
              <a:t>년 뒤</a:t>
            </a:r>
            <a:r>
              <a:rPr lang="en-US" altLang="ko-KR" b="1" dirty="0">
                <a:solidFill>
                  <a:srgbClr val="444444"/>
                </a:solidFill>
                <a:latin typeface="Nanum Gothic"/>
              </a:rPr>
              <a:t>, 10</a:t>
            </a:r>
            <a:r>
              <a:rPr lang="ko-KR" altLang="en-US" b="1" dirty="0">
                <a:solidFill>
                  <a:srgbClr val="444444"/>
                </a:solidFill>
                <a:latin typeface="Nanum Gothic"/>
              </a:rPr>
              <a:t>년 뒤의 얼굴을 추적할 수 있는 것이다</a:t>
            </a:r>
            <a:r>
              <a:rPr lang="en-US" altLang="ko-KR" b="1" dirty="0" smtClean="0">
                <a:solidFill>
                  <a:srgbClr val="444444"/>
                </a:solidFill>
                <a:latin typeface="Nanum Gothic"/>
              </a:rPr>
              <a:t>.</a:t>
            </a:r>
          </a:p>
          <a:p>
            <a:pPr marL="285750" indent="-285750" fontAlgn="base">
              <a:buFont typeface="Arial" panose="020B0604020202020204" pitchFamily="34" charset="0"/>
              <a:buChar char="•"/>
            </a:pPr>
            <a:r>
              <a:rPr lang="en-US" altLang="ko-KR" b="1" dirty="0" smtClean="0">
                <a:solidFill>
                  <a:srgbClr val="444444"/>
                </a:solidFill>
                <a:latin typeface="Nanum Gothic"/>
              </a:rPr>
              <a:t> </a:t>
            </a:r>
            <a:r>
              <a:rPr lang="ko-KR" altLang="en-US" b="1" dirty="0">
                <a:solidFill>
                  <a:srgbClr val="444444"/>
                </a:solidFill>
                <a:latin typeface="Nanum Gothic"/>
              </a:rPr>
              <a:t>실제로 ‘</a:t>
            </a:r>
            <a:r>
              <a:rPr lang="en-US" altLang="ko-KR" b="1" dirty="0">
                <a:solidFill>
                  <a:srgbClr val="444444"/>
                </a:solidFill>
                <a:latin typeface="Nanum Gothic"/>
              </a:rPr>
              <a:t>QQ</a:t>
            </a:r>
            <a:r>
              <a:rPr lang="ko-KR" altLang="en-US" b="1" dirty="0" err="1">
                <a:solidFill>
                  <a:srgbClr val="444444"/>
                </a:solidFill>
                <a:latin typeface="Nanum Gothic"/>
              </a:rPr>
              <a:t>알러트</a:t>
            </a:r>
            <a:r>
              <a:rPr lang="ko-KR" altLang="en-US" b="1" dirty="0">
                <a:solidFill>
                  <a:srgbClr val="444444"/>
                </a:solidFill>
                <a:latin typeface="Nanum Gothic"/>
              </a:rPr>
              <a:t>’를 통해 총 </a:t>
            </a:r>
            <a:r>
              <a:rPr lang="en-US" altLang="ko-KR" b="1" dirty="0">
                <a:solidFill>
                  <a:srgbClr val="444444"/>
                </a:solidFill>
                <a:latin typeface="Nanum Gothic"/>
              </a:rPr>
              <a:t>286</a:t>
            </a:r>
            <a:r>
              <a:rPr lang="ko-KR" altLang="en-US" b="1" dirty="0">
                <a:solidFill>
                  <a:srgbClr val="444444"/>
                </a:solidFill>
                <a:latin typeface="Nanum Gothic"/>
              </a:rPr>
              <a:t>건 중 </a:t>
            </a:r>
            <a:r>
              <a:rPr lang="en-US" altLang="ko-KR" b="1" dirty="0">
                <a:solidFill>
                  <a:srgbClr val="444444"/>
                </a:solidFill>
                <a:latin typeface="Nanum Gothic"/>
              </a:rPr>
              <a:t>176</a:t>
            </a:r>
            <a:r>
              <a:rPr lang="ko-KR" altLang="en-US" b="1" dirty="0">
                <a:solidFill>
                  <a:srgbClr val="444444"/>
                </a:solidFill>
                <a:latin typeface="Nanum Gothic"/>
              </a:rPr>
              <a:t>명이 성공적으로 가족의 품에 </a:t>
            </a:r>
            <a:r>
              <a:rPr lang="ko-KR" altLang="en-US" b="1" dirty="0" smtClean="0">
                <a:solidFill>
                  <a:srgbClr val="444444"/>
                </a:solidFill>
                <a:latin typeface="Nanum Gothic"/>
              </a:rPr>
              <a:t>돌아옴</a:t>
            </a:r>
            <a:r>
              <a:rPr lang="en-US" altLang="ko-KR" b="1" dirty="0" smtClean="0">
                <a:solidFill>
                  <a:srgbClr val="444444"/>
                </a:solidFill>
                <a:latin typeface="Nanum Gothic"/>
              </a:rPr>
              <a:t>&gt;</a:t>
            </a:r>
          </a:p>
          <a:p>
            <a:pPr marL="285750" indent="-285750" fontAlgn="base">
              <a:buFont typeface="Arial" panose="020B0604020202020204" pitchFamily="34" charset="0"/>
              <a:buChar char="•"/>
            </a:pPr>
            <a:endParaRPr lang="en-US" altLang="ko-KR" b="1" dirty="0">
              <a:solidFill>
                <a:srgbClr val="444444"/>
              </a:solidFill>
              <a:latin typeface="Nanum Gothic"/>
            </a:endParaRPr>
          </a:p>
          <a:p>
            <a:pPr marL="285750" indent="-285750" fontAlgn="base">
              <a:buFont typeface="Arial" panose="020B0604020202020204" pitchFamily="34" charset="0"/>
              <a:buChar char="•"/>
            </a:pPr>
            <a:r>
              <a:rPr lang="ko-KR" altLang="en-US" b="1" dirty="0" err="1" smtClean="0">
                <a:solidFill>
                  <a:srgbClr val="444444"/>
                </a:solidFill>
                <a:latin typeface="Nanum Gothic"/>
              </a:rPr>
              <a:t>텐센트</a:t>
            </a:r>
            <a:r>
              <a:rPr lang="ko-KR" altLang="en-US" b="1" dirty="0" smtClean="0">
                <a:solidFill>
                  <a:srgbClr val="444444"/>
                </a:solidFill>
                <a:latin typeface="Nanum Gothic"/>
              </a:rPr>
              <a:t> ‘</a:t>
            </a:r>
            <a:r>
              <a:rPr lang="ko-KR" altLang="en-US" b="1" dirty="0">
                <a:solidFill>
                  <a:srgbClr val="444444"/>
                </a:solidFill>
                <a:latin typeface="Nanum Gothic"/>
              </a:rPr>
              <a:t>칸 </a:t>
            </a:r>
            <a:r>
              <a:rPr lang="ko-KR" altLang="en-US" b="1" dirty="0" err="1">
                <a:solidFill>
                  <a:srgbClr val="444444"/>
                </a:solidFill>
                <a:latin typeface="Nanum Gothic"/>
              </a:rPr>
              <a:t>라이언즈</a:t>
            </a:r>
            <a:r>
              <a:rPr lang="ko-KR" altLang="en-US" b="1" dirty="0">
                <a:solidFill>
                  <a:srgbClr val="444444"/>
                </a:solidFill>
                <a:latin typeface="Nanum Gothic"/>
              </a:rPr>
              <a:t> </a:t>
            </a:r>
            <a:r>
              <a:rPr lang="en-US" altLang="ko-KR" b="1" dirty="0">
                <a:solidFill>
                  <a:srgbClr val="444444"/>
                </a:solidFill>
                <a:latin typeface="Nanum Gothic"/>
              </a:rPr>
              <a:t>2017’</a:t>
            </a:r>
            <a:r>
              <a:rPr lang="ko-KR" altLang="en-US" b="1" dirty="0">
                <a:solidFill>
                  <a:srgbClr val="444444"/>
                </a:solidFill>
                <a:latin typeface="Nanum Gothic"/>
              </a:rPr>
              <a:t>에서 골드를 </a:t>
            </a:r>
            <a:r>
              <a:rPr lang="ko-KR" altLang="en-US" b="1" dirty="0" smtClean="0">
                <a:solidFill>
                  <a:srgbClr val="444444"/>
                </a:solidFill>
                <a:latin typeface="Nanum Gothic"/>
              </a:rPr>
              <a:t>수상</a:t>
            </a:r>
            <a:r>
              <a:rPr lang="en-US" altLang="ko-KR" b="1" dirty="0" smtClean="0">
                <a:solidFill>
                  <a:srgbClr val="444444"/>
                </a:solidFill>
                <a:latin typeface="Nanum Gothic"/>
              </a:rPr>
              <a:t>/ </a:t>
            </a:r>
            <a:r>
              <a:rPr lang="ko-KR" altLang="en-US" b="1" dirty="0" smtClean="0">
                <a:solidFill>
                  <a:srgbClr val="444444"/>
                </a:solidFill>
                <a:latin typeface="Nanum Gothic"/>
              </a:rPr>
              <a:t>기업 혁신 이미지 강화 </a:t>
            </a:r>
            <a:r>
              <a:rPr lang="en-US" altLang="ko-KR" b="1" dirty="0" smtClean="0">
                <a:solidFill>
                  <a:srgbClr val="444444"/>
                </a:solidFill>
                <a:latin typeface="Nanum Gothic"/>
              </a:rPr>
              <a:t>.</a:t>
            </a:r>
            <a:endParaRPr lang="en-US" altLang="ko-KR" b="1" i="0" dirty="0">
              <a:solidFill>
                <a:srgbClr val="444444"/>
              </a:solidFill>
              <a:effectLst/>
              <a:latin typeface="Nanum Gothic"/>
            </a:endParaRPr>
          </a:p>
        </p:txBody>
      </p:sp>
      <p:pic>
        <p:nvPicPr>
          <p:cNvPr id="6" name="그림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167875" y="2722409"/>
            <a:ext cx="4442698" cy="2750926"/>
          </a:xfrm>
          <a:prstGeom prst="rect">
            <a:avLst/>
          </a:prstGeom>
        </p:spPr>
      </p:pic>
      <p:sp>
        <p:nvSpPr>
          <p:cNvPr id="7" name="제목 1"/>
          <p:cNvSpPr>
            <a:spLocks noGrp="1"/>
          </p:cNvSpPr>
          <p:nvPr>
            <p:ph type="title"/>
          </p:nvPr>
        </p:nvSpPr>
        <p:spPr>
          <a:xfrm>
            <a:off x="246146" y="165194"/>
            <a:ext cx="11558160" cy="1047718"/>
          </a:xfrm>
          <a:solidFill>
            <a:srgbClr val="0070C0"/>
          </a:solidFill>
        </p:spPr>
        <p:txBody>
          <a:bodyPr>
            <a:normAutofit/>
          </a:bodyPr>
          <a:lstStyle/>
          <a:p>
            <a:r>
              <a:rPr lang="en-US" altLang="ko-KR" sz="3600" b="1" kern="0" dirty="0">
                <a:solidFill>
                  <a:schemeClr val="bg1"/>
                </a:solidFill>
                <a:latin typeface="+mj-ea"/>
              </a:rPr>
              <a:t>III. </a:t>
            </a:r>
            <a:r>
              <a:rPr lang="ko-KR" altLang="en-US" sz="3600" b="1" dirty="0" err="1">
                <a:solidFill>
                  <a:schemeClr val="bg1"/>
                </a:solidFill>
                <a:latin typeface="+mj-ea"/>
              </a:rPr>
              <a:t>빅데이터</a:t>
            </a:r>
            <a:r>
              <a:rPr lang="en-US" altLang="ko-KR" sz="3600" b="1" dirty="0">
                <a:solidFill>
                  <a:schemeClr val="bg1"/>
                </a:solidFill>
                <a:latin typeface="+mj-ea"/>
              </a:rPr>
              <a:t> &amp; AI</a:t>
            </a:r>
            <a:r>
              <a:rPr lang="ko-KR" altLang="en-US" sz="3600" b="1" dirty="0">
                <a:solidFill>
                  <a:schemeClr val="bg1"/>
                </a:solidFill>
                <a:latin typeface="+mj-ea"/>
              </a:rPr>
              <a:t>의 </a:t>
            </a:r>
            <a:r>
              <a:rPr lang="ko-KR" altLang="en-US" sz="3600" b="1" dirty="0" smtClean="0">
                <a:solidFill>
                  <a:schemeClr val="bg1"/>
                </a:solidFill>
                <a:latin typeface="+mj-ea"/>
              </a:rPr>
              <a:t>유통산업 내 활용사례</a:t>
            </a:r>
            <a:endParaRPr lang="ko-KR" altLang="en-US" sz="3600" dirty="0">
              <a:solidFill>
                <a:schemeClr val="bg1"/>
              </a:solidFill>
              <a:latin typeface="HY강B" panose="02030600000101010101" pitchFamily="18" charset="-127"/>
              <a:ea typeface="HY강B" panose="02030600000101010101" pitchFamily="18" charset="-127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246145" y="1332354"/>
            <a:ext cx="5504023" cy="369332"/>
          </a:xfrm>
          <a:prstGeom prst="rect">
            <a:avLst/>
          </a:prstGeom>
          <a:solidFill>
            <a:srgbClr val="002060"/>
          </a:solidFill>
          <a:ln>
            <a:solidFill>
              <a:schemeClr val="bg1"/>
            </a:solidFill>
          </a:ln>
        </p:spPr>
        <p:txBody>
          <a:bodyPr wrap="square" rtlCol="0">
            <a:spAutoFit/>
          </a:bodyPr>
          <a:lstStyle/>
          <a:p>
            <a:r>
              <a:rPr lang="ko-KR" altLang="en-US" dirty="0" err="1" smtClean="0">
                <a:solidFill>
                  <a:schemeClr val="bg1"/>
                </a:solidFill>
              </a:rPr>
              <a:t>유통산업내</a:t>
            </a:r>
            <a:r>
              <a:rPr lang="ko-KR" altLang="en-US" dirty="0" smtClean="0">
                <a:solidFill>
                  <a:schemeClr val="bg1"/>
                </a:solidFill>
              </a:rPr>
              <a:t> </a:t>
            </a:r>
            <a:r>
              <a:rPr lang="ko-KR" altLang="en-US" dirty="0" smtClean="0">
                <a:solidFill>
                  <a:schemeClr val="bg1"/>
                </a:solidFill>
              </a:rPr>
              <a:t>빅 </a:t>
            </a:r>
            <a:r>
              <a:rPr lang="ko-KR" altLang="en-US" dirty="0">
                <a:solidFill>
                  <a:schemeClr val="bg1"/>
                </a:solidFill>
              </a:rPr>
              <a:t>데이터 </a:t>
            </a:r>
            <a:r>
              <a:rPr lang="en-US" altLang="ko-KR" dirty="0">
                <a:solidFill>
                  <a:schemeClr val="bg1"/>
                </a:solidFill>
              </a:rPr>
              <a:t>&amp; AI </a:t>
            </a:r>
            <a:r>
              <a:rPr lang="ko-KR" altLang="en-US" dirty="0">
                <a:solidFill>
                  <a:schemeClr val="bg1"/>
                </a:solidFill>
              </a:rPr>
              <a:t>의 활용 </a:t>
            </a:r>
            <a:r>
              <a:rPr lang="ko-KR" altLang="en-US" dirty="0" smtClean="0">
                <a:solidFill>
                  <a:schemeClr val="bg1"/>
                </a:solidFill>
              </a:rPr>
              <a:t>사례</a:t>
            </a:r>
            <a:r>
              <a:rPr lang="en-US" altLang="ko-KR" dirty="0" smtClean="0">
                <a:solidFill>
                  <a:schemeClr val="bg1"/>
                </a:solidFill>
              </a:rPr>
              <a:t>: ESG </a:t>
            </a:r>
            <a:r>
              <a:rPr lang="ko-KR" altLang="en-US" dirty="0" smtClean="0">
                <a:solidFill>
                  <a:schemeClr val="bg1"/>
                </a:solidFill>
              </a:rPr>
              <a:t>분야 </a:t>
            </a:r>
            <a:endParaRPr lang="ko-KR" altLang="en-US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62596692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날짜 개체 틀 2">
            <a:extLst>
              <a:ext uri="{FF2B5EF4-FFF2-40B4-BE49-F238E27FC236}">
                <a16:creationId xmlns:a16="http://schemas.microsoft.com/office/drawing/2014/main" id="{8BEC0EEF-E580-1F75-2490-8A8B2F4D11C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FC9B95B-9606-41FD-9410-F2B308BBF263}" type="datetime1">
              <a:rPr lang="en-US" altLang="ko-KR" smtClean="0"/>
              <a:t>6/22/2023</a:t>
            </a:fld>
            <a:endParaRPr lang="en-US" dirty="0"/>
          </a:p>
        </p:txBody>
      </p:sp>
      <p:sp>
        <p:nvSpPr>
          <p:cNvPr id="6" name="TextBox 5"/>
          <p:cNvSpPr txBox="1"/>
          <p:nvPr/>
        </p:nvSpPr>
        <p:spPr>
          <a:xfrm>
            <a:off x="685800" y="1260901"/>
            <a:ext cx="6233160" cy="461665"/>
          </a:xfrm>
          <a:prstGeom prst="rect">
            <a:avLst/>
          </a:prstGeom>
          <a:solidFill>
            <a:srgbClr val="002060"/>
          </a:solidFill>
        </p:spPr>
        <p:txBody>
          <a:bodyPr wrap="square" rtlCol="0">
            <a:spAutoFit/>
          </a:bodyPr>
          <a:lstStyle/>
          <a:p>
            <a:r>
              <a:rPr lang="ko-KR" altLang="en-US" sz="2400" dirty="0" smtClean="0">
                <a:solidFill>
                  <a:schemeClr val="bg1"/>
                </a:solidFill>
              </a:rPr>
              <a:t>  </a:t>
            </a:r>
            <a:r>
              <a:rPr lang="ko-KR" altLang="en-US" sz="2400" b="1" dirty="0" err="1">
                <a:solidFill>
                  <a:schemeClr val="bg1"/>
                </a:solidFill>
              </a:rPr>
              <a:t>빅데이터에</a:t>
            </a:r>
            <a:r>
              <a:rPr lang="ko-KR" altLang="en-US" sz="2400" b="1" dirty="0">
                <a:solidFill>
                  <a:schemeClr val="bg1"/>
                </a:solidFill>
              </a:rPr>
              <a:t> 대한 </a:t>
            </a:r>
            <a:r>
              <a:rPr lang="en-US" altLang="ko-KR" sz="2400" b="1" dirty="0">
                <a:solidFill>
                  <a:schemeClr val="bg1"/>
                </a:solidFill>
              </a:rPr>
              <a:t>New </a:t>
            </a:r>
            <a:r>
              <a:rPr lang="ko-KR" altLang="en-US" sz="2400" b="1" dirty="0" smtClean="0">
                <a:solidFill>
                  <a:schemeClr val="bg1"/>
                </a:solidFill>
              </a:rPr>
              <a:t>지원 </a:t>
            </a:r>
            <a:r>
              <a:rPr lang="ko-KR" altLang="en-US" sz="2400" b="1" dirty="0" smtClean="0">
                <a:solidFill>
                  <a:schemeClr val="bg1"/>
                </a:solidFill>
              </a:rPr>
              <a:t>전략 컨셉</a:t>
            </a:r>
            <a:endParaRPr lang="ko-KR" altLang="en-US" sz="2400" dirty="0">
              <a:solidFill>
                <a:schemeClr val="bg1"/>
              </a:solidFill>
            </a:endParaRPr>
          </a:p>
        </p:txBody>
      </p:sp>
      <p:graphicFrame>
        <p:nvGraphicFramePr>
          <p:cNvPr id="11" name="다이어그램 10"/>
          <p:cNvGraphicFramePr/>
          <p:nvPr>
            <p:extLst>
              <p:ext uri="{D42A27DB-BD31-4B8C-83A1-F6EECF244321}">
                <p14:modId xmlns:p14="http://schemas.microsoft.com/office/powerpoint/2010/main" val="3875195473"/>
              </p:ext>
            </p:extLst>
          </p:nvPr>
        </p:nvGraphicFramePr>
        <p:xfrm>
          <a:off x="3060614" y="1676400"/>
          <a:ext cx="6342466" cy="538633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12" name="정오각형 11"/>
          <p:cNvSpPr/>
          <p:nvPr/>
        </p:nvSpPr>
        <p:spPr>
          <a:xfrm>
            <a:off x="5322584" y="3263350"/>
            <a:ext cx="1818526" cy="1869897"/>
          </a:xfrm>
          <a:prstGeom prst="pentagon">
            <a:avLst/>
          </a:prstGeom>
          <a:solidFill>
            <a:schemeClr val="bg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dirty="0" err="1" smtClean="0">
                <a:solidFill>
                  <a:schemeClr val="tx1"/>
                </a:solidFill>
              </a:rPr>
              <a:t>유통산업내</a:t>
            </a:r>
            <a:r>
              <a:rPr lang="ko-KR" altLang="en-US" dirty="0" smtClean="0">
                <a:solidFill>
                  <a:schemeClr val="tx1"/>
                </a:solidFill>
              </a:rPr>
              <a:t> 조직문화 인프라 </a:t>
            </a:r>
            <a:endParaRPr lang="ko-KR" altLang="en-US" dirty="0">
              <a:solidFill>
                <a:schemeClr val="tx1"/>
              </a:solidFill>
            </a:endParaRPr>
          </a:p>
        </p:txBody>
      </p:sp>
      <p:sp>
        <p:nvSpPr>
          <p:cNvPr id="13" name="오른쪽 화살표 설명선 12"/>
          <p:cNvSpPr/>
          <p:nvPr/>
        </p:nvSpPr>
        <p:spPr>
          <a:xfrm>
            <a:off x="527557" y="2204816"/>
            <a:ext cx="2304457" cy="3615304"/>
          </a:xfrm>
          <a:prstGeom prst="rightArrowCallou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ko-KR" altLang="en-US" sz="2800" dirty="0"/>
              <a:t>폐쇄적</a:t>
            </a:r>
            <a:endParaRPr lang="en-US" altLang="ko-KR" sz="2800" dirty="0"/>
          </a:p>
          <a:p>
            <a:pPr algn="ctr"/>
            <a:r>
              <a:rPr lang="ko-KR" altLang="en-US" sz="2800" dirty="0"/>
              <a:t>조직이기와 </a:t>
            </a:r>
            <a:endParaRPr lang="en-US" altLang="ko-KR" sz="2800" dirty="0"/>
          </a:p>
          <a:p>
            <a:pPr algn="ctr"/>
            <a:r>
              <a:rPr lang="ko-KR" altLang="en-US" sz="2800" dirty="0" err="1"/>
              <a:t>비협조</a:t>
            </a:r>
            <a:endParaRPr lang="en-US" altLang="ko-KR" sz="2800" dirty="0"/>
          </a:p>
          <a:p>
            <a:pPr algn="ctr"/>
            <a:r>
              <a:rPr lang="ko-KR" altLang="en-US" sz="2800" dirty="0" smtClean="0"/>
              <a:t>조직문화의 극복 </a:t>
            </a:r>
            <a:endParaRPr lang="en-US" altLang="ko-KR" sz="2800" dirty="0"/>
          </a:p>
          <a:p>
            <a:r>
              <a:rPr lang="en-US" altLang="ko-KR" sz="1200" dirty="0" smtClean="0"/>
              <a:t>Ex:</a:t>
            </a:r>
          </a:p>
          <a:p>
            <a:r>
              <a:rPr lang="ko-KR" altLang="en-US" sz="1200" dirty="0" smtClean="0"/>
              <a:t>기업의 콜센터  </a:t>
            </a:r>
            <a:endParaRPr lang="en-US" altLang="ko-KR" sz="1200" dirty="0" smtClean="0"/>
          </a:p>
          <a:p>
            <a:pPr algn="ctr"/>
            <a:endParaRPr lang="ko-KR" altLang="en-US" sz="2800" dirty="0"/>
          </a:p>
        </p:txBody>
      </p:sp>
      <p:sp>
        <p:nvSpPr>
          <p:cNvPr id="4" name="줄무늬가 있는 오른쪽 화살표 3"/>
          <p:cNvSpPr/>
          <p:nvPr/>
        </p:nvSpPr>
        <p:spPr>
          <a:xfrm>
            <a:off x="9631680" y="2475069"/>
            <a:ext cx="2560320" cy="4051678"/>
          </a:xfrm>
          <a:prstGeom prst="stripedRightArrow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marL="285750" indent="-285750" algn="ctr">
              <a:buFont typeface="Arial" panose="020B0604020202020204" pitchFamily="34" charset="0"/>
              <a:buChar char="•"/>
            </a:pPr>
            <a:r>
              <a:rPr lang="ko-KR" altLang="en-US" sz="1600" dirty="0" smtClean="0"/>
              <a:t>기업의 미래 먹거리 </a:t>
            </a:r>
            <a:r>
              <a:rPr lang="ko-KR" altLang="en-US" sz="1600" dirty="0" smtClean="0"/>
              <a:t>창조</a:t>
            </a:r>
            <a:endParaRPr lang="en-US" altLang="ko-KR" sz="1600" dirty="0" smtClean="0"/>
          </a:p>
          <a:p>
            <a:pPr marL="285750" indent="-285750" algn="ctr">
              <a:buFont typeface="Arial" panose="020B0604020202020204" pitchFamily="34" charset="0"/>
              <a:buChar char="•"/>
            </a:pPr>
            <a:r>
              <a:rPr lang="ko-KR" altLang="en-US" sz="1600" dirty="0" smtClean="0"/>
              <a:t> 대외  경쟁력 강화 </a:t>
            </a:r>
            <a:endParaRPr lang="ko-KR" altLang="en-US" sz="1600" dirty="0"/>
          </a:p>
        </p:txBody>
      </p:sp>
      <p:sp>
        <p:nvSpPr>
          <p:cNvPr id="10" name="제목 1"/>
          <p:cNvSpPr txBox="1">
            <a:spLocks/>
          </p:cNvSpPr>
          <p:nvPr/>
        </p:nvSpPr>
        <p:spPr>
          <a:xfrm>
            <a:off x="339798" y="67260"/>
            <a:ext cx="11558160" cy="875199"/>
          </a:xfrm>
          <a:prstGeom prst="rect">
            <a:avLst/>
          </a:prstGeom>
          <a:solidFill>
            <a:srgbClr val="0070C0"/>
          </a:solidFill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1" hangingPunct="1">
              <a:lnSpc>
                <a:spcPct val="85000"/>
              </a:lnSpc>
              <a:spcBef>
                <a:spcPct val="0"/>
              </a:spcBef>
              <a:buNone/>
              <a:defRPr sz="5400" kern="1200" spc="-120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altLang="ko-KR" sz="3600" b="1" kern="0" dirty="0">
                <a:solidFill>
                  <a:schemeClr val="bg1"/>
                </a:solidFill>
                <a:latin typeface="+mj-ea"/>
              </a:rPr>
              <a:t> </a:t>
            </a:r>
            <a:r>
              <a:rPr lang="en-US" altLang="ko-KR" sz="3600" b="1" kern="0" dirty="0" smtClean="0">
                <a:solidFill>
                  <a:schemeClr val="bg1"/>
                </a:solidFill>
                <a:latin typeface="+mj-ea"/>
              </a:rPr>
              <a:t>IV</a:t>
            </a:r>
            <a:r>
              <a:rPr lang="en-US" altLang="ko-KR" sz="3600" b="1" kern="0" dirty="0">
                <a:solidFill>
                  <a:schemeClr val="bg1"/>
                </a:solidFill>
                <a:latin typeface="+mj-ea"/>
              </a:rPr>
              <a:t>. </a:t>
            </a:r>
            <a:r>
              <a:rPr lang="ko-KR" altLang="en-US" sz="3600" b="1" kern="0" dirty="0" smtClean="0">
                <a:solidFill>
                  <a:schemeClr val="bg1"/>
                </a:solidFill>
                <a:latin typeface="+mj-ea"/>
              </a:rPr>
              <a:t>유통 산업 내 활용전략</a:t>
            </a:r>
            <a:endParaRPr lang="ko-KR" altLang="en-US" sz="3600" dirty="0">
              <a:solidFill>
                <a:schemeClr val="bg1"/>
              </a:solidFill>
              <a:latin typeface="HY강B" panose="02030600000101010101" pitchFamily="18" charset="-127"/>
              <a:ea typeface="HY강B" panose="02030600000101010101" pitchFamily="18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235553920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339798" y="2166960"/>
            <a:ext cx="11558160" cy="4205239"/>
          </a:xfrm>
          <a:solidFill>
            <a:schemeClr val="accent2">
              <a:lumMod val="20000"/>
              <a:lumOff val="80000"/>
            </a:schemeClr>
          </a:solidFill>
        </p:spPr>
        <p:txBody>
          <a:bodyPr>
            <a:normAutofit fontScale="85000" lnSpcReduction="10000"/>
          </a:bodyPr>
          <a:lstStyle/>
          <a:p>
            <a:pPr>
              <a:buFont typeface="Arial" panose="020B0604020202020204" pitchFamily="34" charset="0"/>
              <a:buChar char="•"/>
            </a:pPr>
            <a:r>
              <a:rPr lang="ko-KR" altLang="en-US" dirty="0"/>
              <a:t> </a:t>
            </a:r>
            <a:r>
              <a:rPr lang="en-US" altLang="ko-KR" dirty="0"/>
              <a:t>CEO</a:t>
            </a:r>
            <a:r>
              <a:rPr lang="ko-KR" altLang="en-US" dirty="0"/>
              <a:t>의</a:t>
            </a:r>
            <a:r>
              <a:rPr lang="en-US" altLang="ko-KR" dirty="0"/>
              <a:t>  </a:t>
            </a:r>
            <a:r>
              <a:rPr lang="ko-KR" altLang="en-US" dirty="0"/>
              <a:t>관심과  재정적 투자 지속</a:t>
            </a:r>
            <a:r>
              <a:rPr lang="en-US" altLang="ko-KR" dirty="0"/>
              <a:t> </a:t>
            </a:r>
            <a:r>
              <a:rPr lang="ko-KR" altLang="en-US" dirty="0"/>
              <a:t>여력</a:t>
            </a:r>
            <a:r>
              <a:rPr lang="en-US" altLang="ko-KR" dirty="0"/>
              <a:t>/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altLang="ko-KR" dirty="0"/>
              <a:t> </a:t>
            </a:r>
            <a:r>
              <a:rPr lang="ko-KR" altLang="en-US" dirty="0" err="1"/>
              <a:t>빅데이터의</a:t>
            </a:r>
            <a:r>
              <a:rPr lang="ko-KR" altLang="en-US" dirty="0"/>
              <a:t> 활용</a:t>
            </a:r>
            <a:r>
              <a:rPr lang="en-US" altLang="ko-KR" dirty="0"/>
              <a:t>  </a:t>
            </a:r>
            <a:r>
              <a:rPr lang="ko-KR" altLang="en-US" dirty="0"/>
              <a:t>전략적  목표</a:t>
            </a:r>
            <a:r>
              <a:rPr lang="en-US" altLang="ko-KR" dirty="0"/>
              <a:t>/ </a:t>
            </a:r>
            <a:r>
              <a:rPr lang="ko-KR" altLang="en-US" dirty="0"/>
              <a:t>의도와 </a:t>
            </a:r>
            <a:r>
              <a:rPr lang="ko-KR" altLang="en-US" dirty="0" err="1"/>
              <a:t>타케팅의</a:t>
            </a:r>
            <a:r>
              <a:rPr lang="ko-KR" altLang="en-US" dirty="0"/>
              <a:t> 정립 필수</a:t>
            </a:r>
            <a:r>
              <a:rPr lang="en-US" altLang="ko-KR" dirty="0"/>
              <a:t>&gt; </a:t>
            </a:r>
            <a:r>
              <a:rPr lang="ko-KR" altLang="en-US" dirty="0"/>
              <a:t>전사적 소통 </a:t>
            </a:r>
            <a:r>
              <a:rPr lang="en-US" altLang="ko-KR" dirty="0"/>
              <a:t>&amp;</a:t>
            </a:r>
            <a:r>
              <a:rPr lang="ko-KR" altLang="en-US" dirty="0"/>
              <a:t>통합  </a:t>
            </a:r>
            <a:endParaRPr lang="en-US" altLang="ko-KR" dirty="0"/>
          </a:p>
          <a:p>
            <a:pPr>
              <a:buFont typeface="Arial" panose="020B0604020202020204" pitchFamily="34" charset="0"/>
              <a:buChar char="•"/>
            </a:pPr>
            <a:r>
              <a:rPr lang="en-US" altLang="ko-KR" dirty="0"/>
              <a:t> </a:t>
            </a:r>
            <a:r>
              <a:rPr lang="ko-KR" altLang="en-US" dirty="0"/>
              <a:t>임직원의 </a:t>
            </a:r>
            <a:r>
              <a:rPr lang="ko-KR" altLang="en-US" dirty="0" err="1"/>
              <a:t>빅데이터</a:t>
            </a:r>
            <a:r>
              <a:rPr lang="ko-KR" altLang="en-US" dirty="0"/>
              <a:t> 활용교육 </a:t>
            </a:r>
            <a:r>
              <a:rPr lang="en-US" altLang="ko-KR" dirty="0"/>
              <a:t>/</a:t>
            </a:r>
            <a:r>
              <a:rPr lang="ko-KR" altLang="en-US" dirty="0"/>
              <a:t> 내부 전문 인력 양성</a:t>
            </a:r>
            <a:endParaRPr lang="en-US" altLang="ko-KR" dirty="0"/>
          </a:p>
          <a:p>
            <a:pPr>
              <a:buFont typeface="Arial" panose="020B0604020202020204" pitchFamily="34" charset="0"/>
              <a:buChar char="•"/>
            </a:pPr>
            <a:r>
              <a:rPr lang="ko-KR" altLang="en-US" dirty="0"/>
              <a:t> 다양하고 신뢰할만한 </a:t>
            </a:r>
            <a:r>
              <a:rPr lang="ko-KR" altLang="en-US" dirty="0" err="1"/>
              <a:t>빅데이터</a:t>
            </a:r>
            <a:r>
              <a:rPr lang="ko-KR" altLang="en-US" dirty="0"/>
              <a:t> 소스들 확보와 이의  지속 </a:t>
            </a:r>
            <a:r>
              <a:rPr lang="ko-KR" altLang="en-US" dirty="0" err="1"/>
              <a:t>업데이터</a:t>
            </a:r>
            <a:r>
              <a:rPr lang="en-US" altLang="ko-KR" dirty="0"/>
              <a:t>( </a:t>
            </a:r>
            <a:r>
              <a:rPr lang="ko-KR" altLang="en-US" dirty="0"/>
              <a:t>구매 필요</a:t>
            </a:r>
            <a:r>
              <a:rPr lang="en-US" altLang="ko-KR" dirty="0"/>
              <a:t>)</a:t>
            </a:r>
            <a:r>
              <a:rPr lang="ko-KR" altLang="en-US" dirty="0"/>
              <a:t> </a:t>
            </a:r>
            <a:endParaRPr lang="en-US" altLang="ko-KR" dirty="0"/>
          </a:p>
          <a:p>
            <a:pPr>
              <a:buFont typeface="Arial" panose="020B0604020202020204" pitchFamily="34" charset="0"/>
              <a:buChar char="•"/>
            </a:pPr>
            <a:r>
              <a:rPr lang="en-US" altLang="ko-KR" dirty="0"/>
              <a:t> </a:t>
            </a:r>
            <a:r>
              <a:rPr lang="ko-KR" altLang="en-US" dirty="0"/>
              <a:t>                                                                                          </a:t>
            </a:r>
            <a:endParaRPr lang="en-US" altLang="ko-KR" dirty="0"/>
          </a:p>
          <a:p>
            <a:pPr>
              <a:buFont typeface="Arial" panose="020B0604020202020204" pitchFamily="34" charset="0"/>
              <a:buChar char="•"/>
            </a:pPr>
            <a:r>
              <a:rPr lang="ko-KR" altLang="en-US" dirty="0"/>
              <a:t> 지속 혁신화 되고 있는 </a:t>
            </a:r>
            <a:r>
              <a:rPr lang="ko-KR" altLang="en-US" dirty="0" err="1"/>
              <a:t>빅데이터</a:t>
            </a:r>
            <a:r>
              <a:rPr lang="ko-KR" altLang="en-US" dirty="0"/>
              <a:t> 기술</a:t>
            </a:r>
            <a:r>
              <a:rPr lang="en-US" altLang="ko-KR" dirty="0"/>
              <a:t>/</a:t>
            </a:r>
            <a:r>
              <a:rPr lang="ko-KR" altLang="en-US" dirty="0"/>
              <a:t>분석 방법론 에 맞춰 아키텍처를 조정 가능성</a:t>
            </a:r>
            <a:endParaRPr lang="en-US" altLang="ko-KR" dirty="0"/>
          </a:p>
          <a:p>
            <a:pPr>
              <a:buFont typeface="Arial" panose="020B0604020202020204" pitchFamily="34" charset="0"/>
              <a:buChar char="•"/>
            </a:pPr>
            <a:r>
              <a:rPr lang="ko-KR" altLang="en-US" dirty="0"/>
              <a:t> </a:t>
            </a:r>
            <a:r>
              <a:rPr lang="ko-KR" altLang="en-US" dirty="0" err="1"/>
              <a:t>클라우딩</a:t>
            </a:r>
            <a:r>
              <a:rPr lang="ko-KR" altLang="en-US" dirty="0"/>
              <a:t> 시스템 등 외부 협력 최적화 활용</a:t>
            </a:r>
            <a:endParaRPr lang="en-US" altLang="ko-KR" dirty="0"/>
          </a:p>
          <a:p>
            <a:pPr>
              <a:buFont typeface="Arial" panose="020B0604020202020204" pitchFamily="34" charset="0"/>
              <a:buChar char="•"/>
            </a:pPr>
            <a:r>
              <a:rPr lang="ko-KR" altLang="en-US" dirty="0"/>
              <a:t> </a:t>
            </a:r>
            <a:r>
              <a:rPr lang="ko-KR" altLang="en-US" dirty="0" err="1"/>
              <a:t>빅데이터의</a:t>
            </a:r>
            <a:r>
              <a:rPr lang="ko-KR" altLang="en-US" dirty="0"/>
              <a:t> 안전 보안시스템</a:t>
            </a:r>
            <a:r>
              <a:rPr lang="en-US" altLang="ko-KR" dirty="0"/>
              <a:t>&gt; </a:t>
            </a:r>
            <a:r>
              <a:rPr lang="ko-KR" altLang="en-US" dirty="0"/>
              <a:t>제</a:t>
            </a:r>
            <a:r>
              <a:rPr lang="en-US" altLang="ko-KR" dirty="0"/>
              <a:t>2</a:t>
            </a:r>
            <a:r>
              <a:rPr lang="ko-KR" altLang="en-US" dirty="0"/>
              <a:t>의 비상가동 시스템</a:t>
            </a:r>
            <a:endParaRPr lang="en-US" altLang="ko-KR" dirty="0"/>
          </a:p>
          <a:p>
            <a:pPr>
              <a:buFont typeface="Arial" panose="020B0604020202020204" pitchFamily="34" charset="0"/>
              <a:buChar char="•"/>
            </a:pPr>
            <a:r>
              <a:rPr lang="ko-KR" altLang="en-US" dirty="0"/>
              <a:t>부족</a:t>
            </a:r>
            <a:r>
              <a:rPr lang="en-US" altLang="ko-KR" dirty="0"/>
              <a:t>/</a:t>
            </a:r>
            <a:r>
              <a:rPr lang="ko-KR" altLang="en-US" dirty="0"/>
              <a:t>미흡 부문에 대한 외부 전문가</a:t>
            </a:r>
            <a:r>
              <a:rPr lang="en-US" altLang="ko-KR" dirty="0"/>
              <a:t>(</a:t>
            </a:r>
            <a:r>
              <a:rPr lang="ko-KR" altLang="en-US" dirty="0"/>
              <a:t>조직</a:t>
            </a:r>
            <a:r>
              <a:rPr lang="en-US" altLang="ko-KR" dirty="0"/>
              <a:t>)</a:t>
            </a:r>
            <a:r>
              <a:rPr lang="ko-KR" altLang="en-US" dirty="0"/>
              <a:t>에 의한 교육</a:t>
            </a:r>
            <a:r>
              <a:rPr lang="en-US" altLang="ko-KR" dirty="0"/>
              <a:t>/</a:t>
            </a:r>
            <a:r>
              <a:rPr lang="ko-KR" altLang="en-US" dirty="0"/>
              <a:t>자문</a:t>
            </a:r>
            <a:r>
              <a:rPr lang="en-US" altLang="ko-KR" dirty="0"/>
              <a:t>/</a:t>
            </a:r>
            <a:r>
              <a:rPr lang="ko-KR" altLang="en-US" dirty="0"/>
              <a:t>컨설팅  </a:t>
            </a:r>
            <a:endParaRPr lang="en-US" altLang="ko-KR" dirty="0"/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FDF68FC-CD59-45D2-ABC1-5F93AE6F73A8}" type="datetime1">
              <a:rPr lang="en-US" altLang="ko-KR" smtClean="0"/>
              <a:t>6/22/2023</a:t>
            </a:fld>
            <a:endParaRPr lang="en-US" dirty="0"/>
          </a:p>
        </p:txBody>
      </p:sp>
      <p:sp>
        <p:nvSpPr>
          <p:cNvPr id="5" name="슬라이드 번호 개체 틀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smtClean="0"/>
              <a:t>26</a:t>
            </a:fld>
            <a:endParaRPr lang="en-US" dirty="0"/>
          </a:p>
        </p:txBody>
      </p:sp>
      <p:sp>
        <p:nvSpPr>
          <p:cNvPr id="7" name="TextBox 6"/>
          <p:cNvSpPr txBox="1"/>
          <p:nvPr/>
        </p:nvSpPr>
        <p:spPr>
          <a:xfrm>
            <a:off x="436514" y="1633018"/>
            <a:ext cx="7666778" cy="369332"/>
          </a:xfrm>
          <a:prstGeom prst="rect">
            <a:avLst/>
          </a:prstGeom>
          <a:solidFill>
            <a:srgbClr val="002060"/>
          </a:solidFill>
          <a:ln>
            <a:solidFill>
              <a:schemeClr val="bg1"/>
            </a:solidFill>
          </a:ln>
        </p:spPr>
        <p:txBody>
          <a:bodyPr wrap="square" rtlCol="0">
            <a:spAutoFit/>
          </a:bodyPr>
          <a:lstStyle/>
          <a:p>
            <a:r>
              <a:rPr lang="ko-KR" altLang="en-US" dirty="0">
                <a:solidFill>
                  <a:schemeClr val="bg1"/>
                </a:solidFill>
              </a:rPr>
              <a:t>빅 데이터 </a:t>
            </a:r>
            <a:r>
              <a:rPr lang="en-US" altLang="ko-KR" dirty="0">
                <a:solidFill>
                  <a:schemeClr val="bg1"/>
                </a:solidFill>
              </a:rPr>
              <a:t>&amp; AI</a:t>
            </a:r>
            <a:r>
              <a:rPr lang="ko-KR" altLang="en-US" dirty="0">
                <a:solidFill>
                  <a:schemeClr val="bg1"/>
                </a:solidFill>
              </a:rPr>
              <a:t> 활용</a:t>
            </a:r>
            <a:r>
              <a:rPr lang="en-US" altLang="ko-KR" dirty="0">
                <a:solidFill>
                  <a:schemeClr val="bg1"/>
                </a:solidFill>
              </a:rPr>
              <a:t>/</a:t>
            </a:r>
            <a:r>
              <a:rPr lang="ko-KR" altLang="en-US" dirty="0">
                <a:solidFill>
                  <a:schemeClr val="bg1"/>
                </a:solidFill>
              </a:rPr>
              <a:t>효과의 최적화를 위한 전략적  전제와 고려사항    </a:t>
            </a:r>
          </a:p>
        </p:txBody>
      </p:sp>
      <p:sp>
        <p:nvSpPr>
          <p:cNvPr id="2" name="Rectangle 1"/>
          <p:cNvSpPr>
            <a:spLocks noChangeArrowheads="1"/>
          </p:cNvSpPr>
          <p:nvPr/>
        </p:nvSpPr>
        <p:spPr bwMode="auto">
          <a:xfrm>
            <a:off x="6347930" y="1957495"/>
            <a:ext cx="5184449" cy="620691"/>
          </a:xfrm>
          <a:prstGeom prst="rect">
            <a:avLst/>
          </a:prstGeom>
          <a:solidFill>
            <a:srgbClr val="F8F9FA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-12696" rIns="0" bIns="-12696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ko-KR" altLang="ko-KR" sz="2100" b="0" i="0" u="none" strike="noStrike" cap="none" normalizeH="0" baseline="0" dirty="0">
                <a:ln>
                  <a:noFill/>
                </a:ln>
                <a:solidFill>
                  <a:srgbClr val="202124"/>
                </a:solidFill>
                <a:effectLst/>
                <a:latin typeface="Arial Unicode MS" panose="020B0604020202020204" pitchFamily="50" charset="-127"/>
                <a:ea typeface="inherit"/>
              </a:rPr>
              <a:t>Adequacy of scope of </a:t>
            </a:r>
            <a:r>
              <a:rPr kumimoji="0" lang="en-US" altLang="ko-KR" sz="2100" b="0" i="0" u="none" strike="noStrike" cap="none" normalizeH="0" baseline="0" dirty="0">
                <a:ln>
                  <a:noFill/>
                </a:ln>
                <a:solidFill>
                  <a:srgbClr val="202124"/>
                </a:solidFill>
                <a:effectLst/>
                <a:latin typeface="Arial Unicode MS" panose="020B0604020202020204" pitchFamily="50" charset="-127"/>
                <a:ea typeface="inherit"/>
              </a:rPr>
              <a:t>I</a:t>
            </a:r>
            <a:r>
              <a:rPr kumimoji="0" lang="ko-KR" altLang="ko-KR" sz="2100" b="0" i="0" u="none" strike="noStrike" cap="none" normalizeH="0" baseline="0" dirty="0">
                <a:ln>
                  <a:noFill/>
                </a:ln>
                <a:solidFill>
                  <a:srgbClr val="202124"/>
                </a:solidFill>
                <a:effectLst/>
                <a:latin typeface="Arial Unicode MS" panose="020B0604020202020204" pitchFamily="50" charset="-127"/>
                <a:ea typeface="inherit"/>
              </a:rPr>
              <a:t>nvestment</a:t>
            </a:r>
            <a:r>
              <a:rPr kumimoji="0" lang="en-US" altLang="ko-KR" sz="2100" b="0" i="0" u="none" strike="noStrike" cap="none" normalizeH="0" baseline="0" dirty="0">
                <a:ln>
                  <a:noFill/>
                </a:ln>
                <a:solidFill>
                  <a:srgbClr val="202124"/>
                </a:solidFill>
                <a:effectLst/>
                <a:latin typeface="Arial Unicode MS" panose="020B0604020202020204" pitchFamily="50" charset="-127"/>
                <a:ea typeface="inherit"/>
              </a:rPr>
              <a:t>(</a:t>
            </a:r>
            <a:r>
              <a:rPr kumimoji="0" lang="ko-KR" altLang="en-US" sz="2100" b="0" i="0" u="none" strike="noStrike" cap="none" normalizeH="0" baseline="0" dirty="0">
                <a:ln>
                  <a:noFill/>
                </a:ln>
                <a:solidFill>
                  <a:srgbClr val="202124"/>
                </a:solidFill>
                <a:effectLst/>
                <a:latin typeface="Arial Unicode MS" panose="020B0604020202020204" pitchFamily="50" charset="-127"/>
                <a:ea typeface="inherit"/>
              </a:rPr>
              <a:t>투자범위의 </a:t>
            </a:r>
            <a:r>
              <a:rPr kumimoji="0" lang="ko-KR" altLang="en-US" sz="2100" b="0" i="0" u="none" strike="noStrike" cap="none" normalizeH="0" baseline="0" dirty="0" err="1">
                <a:ln>
                  <a:noFill/>
                </a:ln>
                <a:solidFill>
                  <a:srgbClr val="202124"/>
                </a:solidFill>
                <a:effectLst/>
                <a:latin typeface="Arial Unicode MS" panose="020B0604020202020204" pitchFamily="50" charset="-127"/>
                <a:ea typeface="inherit"/>
              </a:rPr>
              <a:t>충분성</a:t>
            </a:r>
            <a:r>
              <a:rPr kumimoji="0" lang="en-US" altLang="ko-KR" sz="2100" b="0" i="0" u="none" strike="noStrike" cap="none" normalizeH="0" baseline="0" dirty="0">
                <a:ln>
                  <a:noFill/>
                </a:ln>
                <a:solidFill>
                  <a:srgbClr val="202124"/>
                </a:solidFill>
                <a:effectLst/>
                <a:latin typeface="Arial Unicode MS" panose="020B0604020202020204" pitchFamily="50" charset="-127"/>
                <a:ea typeface="inherit"/>
              </a:rPr>
              <a:t>/</a:t>
            </a:r>
            <a:r>
              <a:rPr kumimoji="0" lang="ko-KR" altLang="en-US" sz="2100" b="0" i="0" u="none" strike="noStrike" cap="none" normalizeH="0" baseline="0" dirty="0">
                <a:ln>
                  <a:noFill/>
                </a:ln>
                <a:solidFill>
                  <a:srgbClr val="202124"/>
                </a:solidFill>
                <a:effectLst/>
                <a:latin typeface="Arial Unicode MS" panose="020B0604020202020204" pitchFamily="50" charset="-127"/>
                <a:ea typeface="inherit"/>
              </a:rPr>
              <a:t>적절성</a:t>
            </a:r>
            <a:r>
              <a:rPr kumimoji="0" lang="en-US" altLang="ko-KR" sz="2100" b="0" i="0" u="none" strike="noStrike" cap="none" normalizeH="0" baseline="0" dirty="0">
                <a:ln>
                  <a:noFill/>
                </a:ln>
                <a:solidFill>
                  <a:srgbClr val="202124"/>
                </a:solidFill>
                <a:effectLst/>
                <a:latin typeface="Arial Unicode MS" panose="020B0604020202020204" pitchFamily="50" charset="-127"/>
                <a:ea typeface="inherit"/>
              </a:rPr>
              <a:t>)</a:t>
            </a:r>
            <a:r>
              <a:rPr kumimoji="0" lang="ko-KR" altLang="ko-KR" sz="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</a:rPr>
              <a:t> </a:t>
            </a:r>
            <a:endParaRPr kumimoji="0" lang="ko-KR" altLang="ko-KR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8" name="Rectangle 2"/>
          <p:cNvSpPr>
            <a:spLocks noChangeArrowheads="1"/>
          </p:cNvSpPr>
          <p:nvPr/>
        </p:nvSpPr>
        <p:spPr bwMode="auto">
          <a:xfrm>
            <a:off x="685800" y="3887920"/>
            <a:ext cx="6724934" cy="297525"/>
          </a:xfrm>
          <a:prstGeom prst="rect">
            <a:avLst/>
          </a:prstGeom>
          <a:solidFill>
            <a:srgbClr val="F8F9FA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-12696" rIns="0" bIns="-12696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ko-KR" sz="2100" b="0" i="0" u="none" strike="noStrike" cap="none" normalizeH="0" baseline="0" dirty="0">
                <a:ln>
                  <a:noFill/>
                </a:ln>
                <a:solidFill>
                  <a:srgbClr val="202124"/>
                </a:solidFill>
                <a:effectLst/>
                <a:latin typeface="Arial Unicode MS" panose="020B0604020202020204" pitchFamily="50" charset="-127"/>
                <a:ea typeface="inherit"/>
              </a:rPr>
              <a:t>S</a:t>
            </a:r>
            <a:r>
              <a:rPr kumimoji="0" lang="ko-KR" altLang="ko-KR" sz="2100" b="0" i="0" u="none" strike="noStrike" cap="none" normalizeH="0" baseline="0" dirty="0">
                <a:ln>
                  <a:noFill/>
                </a:ln>
                <a:solidFill>
                  <a:srgbClr val="202124"/>
                </a:solidFill>
                <a:effectLst/>
                <a:latin typeface="Arial Unicode MS" panose="020B0604020202020204" pitchFamily="50" charset="-127"/>
                <a:ea typeface="inherit"/>
              </a:rPr>
              <a:t>torage capacity/</a:t>
            </a:r>
            <a:r>
              <a:rPr kumimoji="0" lang="en-US" altLang="ko-KR" sz="2100" b="0" i="0" u="none" strike="noStrike" cap="none" normalizeH="0" baseline="0" dirty="0">
                <a:ln>
                  <a:noFill/>
                </a:ln>
                <a:solidFill>
                  <a:srgbClr val="202124"/>
                </a:solidFill>
                <a:effectLst/>
                <a:latin typeface="Arial Unicode MS" panose="020B0604020202020204" pitchFamily="50" charset="-127"/>
                <a:ea typeface="inherit"/>
              </a:rPr>
              <a:t>A</a:t>
            </a:r>
            <a:r>
              <a:rPr kumimoji="0" lang="ko-KR" altLang="ko-KR" sz="2100" b="0" i="0" u="none" strike="noStrike" cap="none" normalizeH="0" baseline="0" dirty="0">
                <a:ln>
                  <a:noFill/>
                </a:ln>
                <a:solidFill>
                  <a:srgbClr val="202124"/>
                </a:solidFill>
                <a:effectLst/>
                <a:latin typeface="Arial Unicode MS" panose="020B0604020202020204" pitchFamily="50" charset="-127"/>
                <a:ea typeface="inherit"/>
              </a:rPr>
              <a:t>ccess/</a:t>
            </a:r>
            <a:r>
              <a:rPr lang="en-US" altLang="ko-KR" sz="2100" dirty="0">
                <a:solidFill>
                  <a:srgbClr val="202124"/>
                </a:solidFill>
                <a:latin typeface="Arial Unicode MS" panose="020B0604020202020204" pitchFamily="50" charset="-127"/>
                <a:ea typeface="inherit"/>
              </a:rPr>
              <a:t>Management </a:t>
            </a:r>
            <a:r>
              <a:rPr kumimoji="0" lang="ko-KR" altLang="ko-KR" sz="2100" b="0" i="0" u="none" strike="noStrike" cap="none" normalizeH="0" baseline="0" dirty="0">
                <a:ln>
                  <a:noFill/>
                </a:ln>
                <a:solidFill>
                  <a:srgbClr val="202124"/>
                </a:solidFill>
                <a:effectLst/>
                <a:latin typeface="Arial Unicode MS" panose="020B0604020202020204" pitchFamily="50" charset="-127"/>
                <a:ea typeface="inherit"/>
              </a:rPr>
              <a:t> </a:t>
            </a:r>
            <a:r>
              <a:rPr kumimoji="0" lang="en-US" altLang="ko-KR" sz="2100" b="0" i="0" u="none" strike="noStrike" cap="none" normalizeH="0" baseline="0" dirty="0">
                <a:ln>
                  <a:noFill/>
                </a:ln>
                <a:solidFill>
                  <a:srgbClr val="202124"/>
                </a:solidFill>
                <a:effectLst/>
                <a:latin typeface="Arial Unicode MS" panose="020B0604020202020204" pitchFamily="50" charset="-127"/>
                <a:ea typeface="inherit"/>
              </a:rPr>
              <a:t>Control A</a:t>
            </a:r>
            <a:r>
              <a:rPr kumimoji="0" lang="ko-KR" altLang="ko-KR" sz="2100" b="0" i="0" u="none" strike="noStrike" cap="none" normalizeH="0" baseline="0" dirty="0">
                <a:ln>
                  <a:noFill/>
                </a:ln>
                <a:solidFill>
                  <a:srgbClr val="202124"/>
                </a:solidFill>
                <a:effectLst/>
                <a:latin typeface="Arial Unicode MS" panose="020B0604020202020204" pitchFamily="50" charset="-127"/>
                <a:ea typeface="inherit"/>
              </a:rPr>
              <a:t>bilities</a:t>
            </a:r>
            <a:r>
              <a:rPr kumimoji="0" lang="ko-KR" altLang="ko-KR" sz="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</a:rPr>
              <a:t> </a:t>
            </a:r>
            <a:endParaRPr kumimoji="0" lang="ko-KR" altLang="ko-KR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0" name="제목 1"/>
          <p:cNvSpPr txBox="1">
            <a:spLocks/>
          </p:cNvSpPr>
          <p:nvPr/>
        </p:nvSpPr>
        <p:spPr>
          <a:xfrm>
            <a:off x="339798" y="100362"/>
            <a:ext cx="11503440" cy="942099"/>
          </a:xfrm>
          <a:prstGeom prst="rect">
            <a:avLst/>
          </a:prstGeom>
          <a:solidFill>
            <a:srgbClr val="0070C0"/>
          </a:solidFill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1" hangingPunct="1">
              <a:lnSpc>
                <a:spcPct val="85000"/>
              </a:lnSpc>
              <a:spcBef>
                <a:spcPct val="0"/>
              </a:spcBef>
              <a:buNone/>
              <a:defRPr sz="5400" kern="1200" spc="-120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altLang="ko-KR" sz="3600" b="1" kern="0" dirty="0">
                <a:solidFill>
                  <a:schemeClr val="bg1"/>
                </a:solidFill>
                <a:latin typeface="+mj-ea"/>
              </a:rPr>
              <a:t> </a:t>
            </a:r>
            <a:r>
              <a:rPr lang="en-US" altLang="ko-KR" sz="3200" b="1" kern="0" dirty="0" smtClean="0">
                <a:solidFill>
                  <a:schemeClr val="bg1"/>
                </a:solidFill>
                <a:latin typeface="+mj-ea"/>
              </a:rPr>
              <a:t>IV</a:t>
            </a:r>
            <a:r>
              <a:rPr lang="en-US" altLang="ko-KR" sz="3200" b="1" kern="0" dirty="0">
                <a:solidFill>
                  <a:schemeClr val="bg1"/>
                </a:solidFill>
                <a:latin typeface="+mj-ea"/>
              </a:rPr>
              <a:t>. </a:t>
            </a:r>
            <a:r>
              <a:rPr lang="ko-KR" altLang="en-US" sz="3200" b="1" kern="0" dirty="0" smtClean="0">
                <a:solidFill>
                  <a:schemeClr val="bg1"/>
                </a:solidFill>
                <a:latin typeface="+mj-ea"/>
              </a:rPr>
              <a:t>유통 산업 내 활용전략</a:t>
            </a:r>
            <a:endParaRPr lang="ko-KR" altLang="en-US" sz="3300" dirty="0">
              <a:solidFill>
                <a:schemeClr val="bg1"/>
              </a:solidFill>
              <a:latin typeface="HY강B" panose="02030600000101010101" pitchFamily="18" charset="-127"/>
              <a:ea typeface="HY강B" panose="02030600000101010101" pitchFamily="18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570189908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다이어그램 1"/>
          <p:cNvGraphicFramePr/>
          <p:nvPr>
            <p:extLst>
              <p:ext uri="{D42A27DB-BD31-4B8C-83A1-F6EECF244321}">
                <p14:modId xmlns:p14="http://schemas.microsoft.com/office/powerpoint/2010/main" val="3668164635"/>
              </p:ext>
            </p:extLst>
          </p:nvPr>
        </p:nvGraphicFramePr>
        <p:xfrm>
          <a:off x="948582" y="1948441"/>
          <a:ext cx="7080943" cy="502109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cxnSp>
        <p:nvCxnSpPr>
          <p:cNvPr id="5" name="연결선: 꺾임 4">
            <a:extLst>
              <a:ext uri="{FF2B5EF4-FFF2-40B4-BE49-F238E27FC236}">
                <a16:creationId xmlns:a16="http://schemas.microsoft.com/office/drawing/2014/main" id="{ECD3E769-C980-9638-6056-5B38626F33BC}"/>
              </a:ext>
            </a:extLst>
          </p:cNvPr>
          <p:cNvCxnSpPr>
            <a:cxnSpLocks/>
          </p:cNvCxnSpPr>
          <p:nvPr/>
        </p:nvCxnSpPr>
        <p:spPr>
          <a:xfrm>
            <a:off x="3559126" y="4614203"/>
            <a:ext cx="4770510" cy="844061"/>
          </a:xfrm>
          <a:prstGeom prst="bentConnector3">
            <a:avLst/>
          </a:prstGeom>
          <a:ln w="9525" cap="flat" cmpd="sng" algn="ctr">
            <a:solidFill>
              <a:schemeClr val="dk1"/>
            </a:solidFill>
            <a:prstDash val="solid"/>
            <a:round/>
            <a:headEnd type="arrow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graphicFrame>
        <p:nvGraphicFramePr>
          <p:cNvPr id="6" name="다이어그램 5">
            <a:extLst>
              <a:ext uri="{FF2B5EF4-FFF2-40B4-BE49-F238E27FC236}">
                <a16:creationId xmlns:a16="http://schemas.microsoft.com/office/drawing/2014/main" id="{58165C0C-39E5-562B-A38E-38C5A6790A0B}"/>
              </a:ext>
            </a:extLst>
          </p:cNvPr>
          <p:cNvGraphicFramePr/>
          <p:nvPr>
            <p:extLst/>
          </p:nvPr>
        </p:nvGraphicFramePr>
        <p:xfrm>
          <a:off x="7150830" y="1777524"/>
          <a:ext cx="5041170" cy="508047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8" r:lo="rId9" r:qs="rId10" r:cs="rId11"/>
          </a:graphicData>
        </a:graphic>
      </p:graphicFrame>
      <p:sp>
        <p:nvSpPr>
          <p:cNvPr id="10" name="제목 1">
            <a:extLst>
              <a:ext uri="{FF2B5EF4-FFF2-40B4-BE49-F238E27FC236}">
                <a16:creationId xmlns:a16="http://schemas.microsoft.com/office/drawing/2014/main" id="{D2000726-1E5C-BD49-C112-1D1C46E7E876}"/>
              </a:ext>
            </a:extLst>
          </p:cNvPr>
          <p:cNvSpPr txBox="1">
            <a:spLocks/>
          </p:cNvSpPr>
          <p:nvPr/>
        </p:nvSpPr>
        <p:spPr>
          <a:xfrm>
            <a:off x="339798" y="1078983"/>
            <a:ext cx="9406783" cy="625699"/>
          </a:xfrm>
          <a:prstGeom prst="rect">
            <a:avLst/>
          </a:prstGeom>
          <a:solidFill>
            <a:srgbClr val="002060"/>
          </a:solidFill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1" hangingPunct="1">
              <a:lnSpc>
                <a:spcPct val="85000"/>
              </a:lnSpc>
              <a:spcBef>
                <a:spcPct val="0"/>
              </a:spcBef>
              <a:buNone/>
              <a:defRPr sz="5400" kern="1200" spc="-120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kumimoji="0" lang="en-US" altLang="ko-KR" sz="2400" kern="0" dirty="0" smtClean="0">
                <a:solidFill>
                  <a:schemeClr val="bg1"/>
                </a:solidFill>
                <a:latin typeface="HY견고딕"/>
                <a:ea typeface="HY견고딕"/>
              </a:rPr>
              <a:t>AI </a:t>
            </a:r>
            <a:r>
              <a:rPr kumimoji="0" lang="ko-KR" altLang="en-US" sz="2400" kern="0" dirty="0" smtClean="0">
                <a:solidFill>
                  <a:schemeClr val="bg1"/>
                </a:solidFill>
                <a:latin typeface="HY견고딕"/>
                <a:ea typeface="HY견고딕"/>
              </a:rPr>
              <a:t>투자</a:t>
            </a:r>
            <a:r>
              <a:rPr kumimoji="0" lang="en-US" altLang="ko-KR" sz="2400" kern="0" dirty="0" smtClean="0">
                <a:solidFill>
                  <a:schemeClr val="bg1"/>
                </a:solidFill>
                <a:latin typeface="HY견고딕"/>
                <a:ea typeface="HY견고딕"/>
              </a:rPr>
              <a:t> </a:t>
            </a:r>
            <a:r>
              <a:rPr kumimoji="0" lang="ko-KR" altLang="en-US" sz="2400" kern="0" dirty="0" smtClean="0">
                <a:solidFill>
                  <a:schemeClr val="bg1"/>
                </a:solidFill>
                <a:latin typeface="HY견고딕"/>
                <a:ea typeface="HY견고딕"/>
              </a:rPr>
              <a:t>대상과 </a:t>
            </a:r>
            <a:r>
              <a:rPr kumimoji="0" lang="ko-KR" altLang="en-US" sz="2400" kern="0" dirty="0" smtClean="0">
                <a:solidFill>
                  <a:schemeClr val="bg1"/>
                </a:solidFill>
                <a:latin typeface="HY견고딕"/>
                <a:ea typeface="HY견고딕"/>
              </a:rPr>
              <a:t>성과에   </a:t>
            </a:r>
            <a:r>
              <a:rPr kumimoji="0" lang="ko-KR" altLang="en-US" sz="2400" kern="0" dirty="0" smtClean="0">
                <a:solidFill>
                  <a:schemeClr val="bg1"/>
                </a:solidFill>
                <a:latin typeface="HY견고딕"/>
                <a:ea typeface="HY견고딕"/>
              </a:rPr>
              <a:t>대한 전략 </a:t>
            </a:r>
            <a:r>
              <a:rPr kumimoji="0" lang="ko-KR" altLang="en-US" sz="2400" kern="0" dirty="0" err="1" smtClean="0">
                <a:solidFill>
                  <a:schemeClr val="bg1"/>
                </a:solidFill>
                <a:latin typeface="HY견고딕"/>
                <a:ea typeface="HY견고딕"/>
              </a:rPr>
              <a:t>포커싱의</a:t>
            </a:r>
            <a:r>
              <a:rPr kumimoji="0" lang="en-US" altLang="ko-KR" sz="2400" kern="0" dirty="0" smtClean="0">
                <a:solidFill>
                  <a:schemeClr val="bg1"/>
                </a:solidFill>
                <a:latin typeface="HY견고딕"/>
                <a:ea typeface="HY견고딕"/>
              </a:rPr>
              <a:t> </a:t>
            </a:r>
            <a:r>
              <a:rPr kumimoji="0" lang="ko-KR" altLang="en-US" sz="2400" kern="0" dirty="0" smtClean="0">
                <a:solidFill>
                  <a:schemeClr val="bg1"/>
                </a:solidFill>
                <a:latin typeface="HY견고딕"/>
                <a:ea typeface="HY견고딕"/>
              </a:rPr>
              <a:t>범주의 확대와 통합 화   </a:t>
            </a:r>
            <a:endParaRPr lang="ko-KR" altLang="en-US" sz="2400" dirty="0">
              <a:solidFill>
                <a:schemeClr val="bg1"/>
              </a:solidFill>
              <a:latin typeface="HY강B" panose="02030600000101010101" pitchFamily="18" charset="-127"/>
              <a:ea typeface="HY강B" panose="02030600000101010101" pitchFamily="18" charset="-127"/>
            </a:endParaRPr>
          </a:p>
        </p:txBody>
      </p:sp>
      <p:sp>
        <p:nvSpPr>
          <p:cNvPr id="14" name="날짜 개체 틀 13">
            <a:extLst>
              <a:ext uri="{FF2B5EF4-FFF2-40B4-BE49-F238E27FC236}">
                <a16:creationId xmlns:a16="http://schemas.microsoft.com/office/drawing/2014/main" id="{2FFD947A-C5DF-0618-F3CC-8535CC2D079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74BB7F-8129-410E-A816-B4D67A003D44}" type="datetime1">
              <a:rPr lang="en-US" altLang="ko-KR" smtClean="0"/>
              <a:t>6/22/2023</a:t>
            </a:fld>
            <a:endParaRPr lang="en-US" dirty="0"/>
          </a:p>
        </p:txBody>
      </p:sp>
      <p:sp>
        <p:nvSpPr>
          <p:cNvPr id="15" name="슬라이드 번호 개체 틀 14">
            <a:extLst>
              <a:ext uri="{FF2B5EF4-FFF2-40B4-BE49-F238E27FC236}">
                <a16:creationId xmlns:a16="http://schemas.microsoft.com/office/drawing/2014/main" id="{FCCAA9E0-5C04-A39B-7E84-97846C95974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smtClean="0"/>
              <a:t>27</a:t>
            </a:fld>
            <a:endParaRPr lang="en-US" dirty="0"/>
          </a:p>
        </p:txBody>
      </p:sp>
      <p:cxnSp>
        <p:nvCxnSpPr>
          <p:cNvPr id="7" name="꺾인 연결선 6"/>
          <p:cNvCxnSpPr/>
          <p:nvPr/>
        </p:nvCxnSpPr>
        <p:spPr>
          <a:xfrm rot="5400000" flipH="1" flipV="1">
            <a:off x="9159240" y="4572000"/>
            <a:ext cx="792480" cy="640080"/>
          </a:xfrm>
          <a:prstGeom prst="bentConnector3">
            <a:avLst/>
          </a:prstGeom>
          <a:ln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왼쪽으로 구부러진 화살표 8"/>
          <p:cNvSpPr/>
          <p:nvPr/>
        </p:nvSpPr>
        <p:spPr>
          <a:xfrm>
            <a:off x="8404467" y="2067616"/>
            <a:ext cx="1556240" cy="3270372"/>
          </a:xfrm>
          <a:prstGeom prst="curvedLeftArrow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ko-KR" altLang="en-US">
              <a:solidFill>
                <a:schemeClr val="tx1"/>
              </a:solidFill>
            </a:endParaRPr>
          </a:p>
        </p:txBody>
      </p:sp>
      <p:sp>
        <p:nvSpPr>
          <p:cNvPr id="12" name="제목 1"/>
          <p:cNvSpPr txBox="1">
            <a:spLocks/>
          </p:cNvSpPr>
          <p:nvPr/>
        </p:nvSpPr>
        <p:spPr>
          <a:xfrm>
            <a:off x="339798" y="67260"/>
            <a:ext cx="11558160" cy="875199"/>
          </a:xfrm>
          <a:prstGeom prst="rect">
            <a:avLst/>
          </a:prstGeom>
          <a:solidFill>
            <a:srgbClr val="0070C0"/>
          </a:solidFill>
        </p:spPr>
        <p:txBody>
          <a:bodyPr vert="horz" lIns="91440" tIns="45720" rIns="91440" bIns="45720" rtlCol="0" anchor="ctr">
            <a:normAutofit fontScale="92500" lnSpcReduction="10000"/>
          </a:bodyPr>
          <a:lstStyle>
            <a:lvl1pPr algn="l" defTabSz="914400" rtl="0" eaLnBrk="1" latinLnBrk="1" hangingPunct="1">
              <a:lnSpc>
                <a:spcPct val="85000"/>
              </a:lnSpc>
              <a:spcBef>
                <a:spcPct val="0"/>
              </a:spcBef>
              <a:buNone/>
              <a:defRPr sz="5400" kern="1200" spc="-120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altLang="ko-KR" sz="3600" b="1" kern="0" dirty="0">
                <a:solidFill>
                  <a:schemeClr val="bg1"/>
                </a:solidFill>
                <a:latin typeface="+mj-ea"/>
              </a:rPr>
              <a:t> </a:t>
            </a:r>
            <a:endParaRPr lang="en-US" altLang="ko-KR" sz="3600" b="1" kern="0" dirty="0" smtClean="0">
              <a:solidFill>
                <a:schemeClr val="bg1"/>
              </a:solidFill>
              <a:latin typeface="+mj-ea"/>
            </a:endParaRPr>
          </a:p>
          <a:p>
            <a:r>
              <a:rPr lang="en-US" altLang="ko-KR" sz="3600" b="1" kern="0" dirty="0" smtClean="0">
                <a:solidFill>
                  <a:schemeClr val="bg1"/>
                </a:solidFill>
                <a:latin typeface="+mj-ea"/>
              </a:rPr>
              <a:t>IV</a:t>
            </a:r>
            <a:r>
              <a:rPr lang="en-US" altLang="ko-KR" sz="3600" b="1" kern="0" dirty="0">
                <a:solidFill>
                  <a:schemeClr val="bg1"/>
                </a:solidFill>
                <a:latin typeface="+mj-ea"/>
              </a:rPr>
              <a:t>. </a:t>
            </a:r>
            <a:r>
              <a:rPr lang="ko-KR" altLang="en-US" sz="3600" b="1" kern="0" dirty="0" smtClean="0">
                <a:solidFill>
                  <a:schemeClr val="bg1"/>
                </a:solidFill>
                <a:latin typeface="+mj-ea"/>
              </a:rPr>
              <a:t>유통 산업 내 </a:t>
            </a:r>
            <a:r>
              <a:rPr lang="ko-KR" altLang="en-US" sz="3600" b="1" kern="0" dirty="0">
                <a:solidFill>
                  <a:schemeClr val="bg1"/>
                </a:solidFill>
                <a:latin typeface="+mj-ea"/>
              </a:rPr>
              <a:t>활용전략 </a:t>
            </a:r>
            <a:r>
              <a:rPr lang="ko-KR" altLang="en-US" sz="3600" b="1" kern="0" dirty="0" smtClean="0">
                <a:solidFill>
                  <a:schemeClr val="bg1"/>
                </a:solidFill>
                <a:latin typeface="+mj-ea"/>
              </a:rPr>
              <a:t>  </a:t>
            </a:r>
            <a:endParaRPr lang="en-US" altLang="ko-KR" sz="3600" b="1" kern="0" dirty="0">
              <a:solidFill>
                <a:schemeClr val="bg1"/>
              </a:solidFill>
              <a:latin typeface="+mj-ea"/>
            </a:endParaRPr>
          </a:p>
          <a:p>
            <a:endParaRPr lang="ko-KR" altLang="en-US" sz="3600" dirty="0">
              <a:solidFill>
                <a:schemeClr val="bg1"/>
              </a:solidFill>
              <a:latin typeface="HY강B" panose="02030600000101010101" pitchFamily="18" charset="-127"/>
              <a:ea typeface="HY강B" panose="02030600000101010101" pitchFamily="18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54277558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제목 1">
            <a:extLst>
              <a:ext uri="{FF2B5EF4-FFF2-40B4-BE49-F238E27FC236}">
                <a16:creationId xmlns:a16="http://schemas.microsoft.com/office/drawing/2014/main" id="{D2000726-1E5C-BD49-C112-1D1C46E7E876}"/>
              </a:ext>
            </a:extLst>
          </p:cNvPr>
          <p:cNvSpPr txBox="1">
            <a:spLocks/>
          </p:cNvSpPr>
          <p:nvPr/>
        </p:nvSpPr>
        <p:spPr>
          <a:xfrm>
            <a:off x="339798" y="1078983"/>
            <a:ext cx="9406783" cy="625699"/>
          </a:xfrm>
          <a:prstGeom prst="rect">
            <a:avLst/>
          </a:prstGeom>
          <a:solidFill>
            <a:srgbClr val="002060"/>
          </a:solidFill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1" hangingPunct="1">
              <a:lnSpc>
                <a:spcPct val="85000"/>
              </a:lnSpc>
              <a:spcBef>
                <a:spcPct val="0"/>
              </a:spcBef>
              <a:buNone/>
              <a:defRPr sz="5400" kern="1200" spc="-120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kumimoji="0" lang="en-US" altLang="ko-KR" sz="2400" kern="0" dirty="0" smtClean="0">
                <a:solidFill>
                  <a:schemeClr val="bg1"/>
                </a:solidFill>
                <a:latin typeface="HY견고딕"/>
                <a:ea typeface="HY견고딕"/>
              </a:rPr>
              <a:t>AI </a:t>
            </a:r>
            <a:r>
              <a:rPr lang="ko-KR" altLang="en-US" sz="2400" kern="0" dirty="0">
                <a:solidFill>
                  <a:schemeClr val="bg1"/>
                </a:solidFill>
                <a:latin typeface="HY견고딕"/>
                <a:ea typeface="HY견고딕"/>
              </a:rPr>
              <a:t>활</a:t>
            </a:r>
            <a:r>
              <a:rPr kumimoji="0" lang="ko-KR" altLang="en-US" sz="2400" kern="0" dirty="0" smtClean="0">
                <a:solidFill>
                  <a:schemeClr val="bg1"/>
                </a:solidFill>
                <a:latin typeface="HY견고딕"/>
                <a:ea typeface="HY견고딕"/>
              </a:rPr>
              <a:t>용 전략의 확산과 통합 조직화</a:t>
            </a:r>
            <a:r>
              <a:rPr kumimoji="0" lang="en-US" altLang="ko-KR" sz="2400" kern="0" dirty="0" smtClean="0">
                <a:solidFill>
                  <a:schemeClr val="bg1"/>
                </a:solidFill>
                <a:latin typeface="HY견고딕"/>
                <a:ea typeface="HY견고딕"/>
              </a:rPr>
              <a:t> </a:t>
            </a:r>
            <a:r>
              <a:rPr kumimoji="0" lang="ko-KR" altLang="en-US" sz="2400" kern="0" dirty="0" smtClean="0">
                <a:solidFill>
                  <a:schemeClr val="bg1"/>
                </a:solidFill>
                <a:latin typeface="HY견고딕"/>
                <a:ea typeface="HY견고딕"/>
              </a:rPr>
              <a:t> </a:t>
            </a:r>
            <a:endParaRPr lang="ko-KR" altLang="en-US" sz="2400" dirty="0">
              <a:solidFill>
                <a:schemeClr val="bg1"/>
              </a:solidFill>
              <a:latin typeface="HY강B" panose="02030600000101010101" pitchFamily="18" charset="-127"/>
              <a:ea typeface="HY강B" panose="02030600000101010101" pitchFamily="18" charset="-127"/>
            </a:endParaRPr>
          </a:p>
        </p:txBody>
      </p:sp>
      <p:sp>
        <p:nvSpPr>
          <p:cNvPr id="14" name="날짜 개체 틀 13">
            <a:extLst>
              <a:ext uri="{FF2B5EF4-FFF2-40B4-BE49-F238E27FC236}">
                <a16:creationId xmlns:a16="http://schemas.microsoft.com/office/drawing/2014/main" id="{2FFD947A-C5DF-0618-F3CC-8535CC2D079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74BB7F-8129-410E-A816-B4D67A003D44}" type="datetime1">
              <a:rPr lang="en-US" altLang="ko-KR" smtClean="0"/>
              <a:t>6/22/2023</a:t>
            </a:fld>
            <a:endParaRPr lang="en-US" dirty="0"/>
          </a:p>
        </p:txBody>
      </p:sp>
      <p:sp>
        <p:nvSpPr>
          <p:cNvPr id="15" name="슬라이드 번호 개체 틀 14">
            <a:extLst>
              <a:ext uri="{FF2B5EF4-FFF2-40B4-BE49-F238E27FC236}">
                <a16:creationId xmlns:a16="http://schemas.microsoft.com/office/drawing/2014/main" id="{FCCAA9E0-5C04-A39B-7E84-97846C95974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smtClean="0"/>
              <a:t>28</a:t>
            </a:fld>
            <a:endParaRPr lang="en-US" dirty="0"/>
          </a:p>
        </p:txBody>
      </p:sp>
      <p:sp>
        <p:nvSpPr>
          <p:cNvPr id="12" name="제목 1"/>
          <p:cNvSpPr txBox="1">
            <a:spLocks/>
          </p:cNvSpPr>
          <p:nvPr/>
        </p:nvSpPr>
        <p:spPr>
          <a:xfrm>
            <a:off x="339798" y="67260"/>
            <a:ext cx="11558160" cy="875199"/>
          </a:xfrm>
          <a:prstGeom prst="rect">
            <a:avLst/>
          </a:prstGeom>
          <a:solidFill>
            <a:srgbClr val="0070C0"/>
          </a:solidFill>
        </p:spPr>
        <p:txBody>
          <a:bodyPr vert="horz" lIns="91440" tIns="45720" rIns="91440" bIns="45720" rtlCol="0" anchor="ctr">
            <a:normAutofit fontScale="92500" lnSpcReduction="10000"/>
          </a:bodyPr>
          <a:lstStyle>
            <a:lvl1pPr algn="l" defTabSz="914400" rtl="0" eaLnBrk="1" latinLnBrk="1" hangingPunct="1">
              <a:lnSpc>
                <a:spcPct val="85000"/>
              </a:lnSpc>
              <a:spcBef>
                <a:spcPct val="0"/>
              </a:spcBef>
              <a:buNone/>
              <a:defRPr sz="5400" kern="1200" spc="-120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altLang="ko-KR" sz="3600" b="1" kern="0" dirty="0">
                <a:solidFill>
                  <a:schemeClr val="bg1"/>
                </a:solidFill>
                <a:latin typeface="+mj-ea"/>
              </a:rPr>
              <a:t> </a:t>
            </a:r>
            <a:endParaRPr lang="en-US" altLang="ko-KR" sz="3600" b="1" kern="0" dirty="0" smtClean="0">
              <a:solidFill>
                <a:schemeClr val="bg1"/>
              </a:solidFill>
              <a:latin typeface="+mj-ea"/>
            </a:endParaRPr>
          </a:p>
          <a:p>
            <a:r>
              <a:rPr lang="en-US" altLang="ko-KR" sz="3600" b="1" kern="0" dirty="0" smtClean="0">
                <a:solidFill>
                  <a:schemeClr val="bg1"/>
                </a:solidFill>
                <a:latin typeface="+mj-ea"/>
              </a:rPr>
              <a:t>IV</a:t>
            </a:r>
            <a:r>
              <a:rPr lang="en-US" altLang="ko-KR" sz="3600" b="1" kern="0" dirty="0">
                <a:solidFill>
                  <a:schemeClr val="bg1"/>
                </a:solidFill>
                <a:latin typeface="+mj-ea"/>
              </a:rPr>
              <a:t>. </a:t>
            </a:r>
            <a:r>
              <a:rPr lang="ko-KR" altLang="en-US" sz="3600" b="1" kern="0" dirty="0" smtClean="0">
                <a:solidFill>
                  <a:schemeClr val="bg1"/>
                </a:solidFill>
                <a:latin typeface="+mj-ea"/>
              </a:rPr>
              <a:t>유통 산업 내 </a:t>
            </a:r>
            <a:r>
              <a:rPr lang="ko-KR" altLang="en-US" sz="3600" b="1" kern="0" dirty="0">
                <a:solidFill>
                  <a:schemeClr val="bg1"/>
                </a:solidFill>
                <a:latin typeface="+mj-ea"/>
              </a:rPr>
              <a:t>활용전략 및 정부지원 정책제안  </a:t>
            </a:r>
            <a:endParaRPr lang="en-US" altLang="ko-KR" sz="3600" b="1" kern="0" dirty="0">
              <a:solidFill>
                <a:schemeClr val="bg1"/>
              </a:solidFill>
              <a:latin typeface="+mj-ea"/>
            </a:endParaRPr>
          </a:p>
          <a:p>
            <a:endParaRPr lang="ko-KR" altLang="en-US" sz="3600" dirty="0">
              <a:solidFill>
                <a:schemeClr val="bg1"/>
              </a:solidFill>
              <a:latin typeface="HY강B" panose="02030600000101010101" pitchFamily="18" charset="-127"/>
              <a:ea typeface="HY강B" panose="02030600000101010101" pitchFamily="18" charset="-127"/>
            </a:endParaRPr>
          </a:p>
        </p:txBody>
      </p:sp>
      <p:graphicFrame>
        <p:nvGraphicFramePr>
          <p:cNvPr id="3" name="다이어그램 2"/>
          <p:cNvGraphicFramePr/>
          <p:nvPr>
            <p:extLst>
              <p:ext uri="{D42A27DB-BD31-4B8C-83A1-F6EECF244321}">
                <p14:modId xmlns:p14="http://schemas.microsoft.com/office/powerpoint/2010/main" val="2183202716"/>
              </p:ext>
            </p:extLst>
          </p:nvPr>
        </p:nvGraphicFramePr>
        <p:xfrm>
          <a:off x="1618581" y="1704682"/>
          <a:ext cx="8128000" cy="541866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13" name="제목 1"/>
          <p:cNvSpPr txBox="1">
            <a:spLocks/>
          </p:cNvSpPr>
          <p:nvPr/>
        </p:nvSpPr>
        <p:spPr>
          <a:xfrm>
            <a:off x="339798" y="100362"/>
            <a:ext cx="11503440" cy="942099"/>
          </a:xfrm>
          <a:prstGeom prst="rect">
            <a:avLst/>
          </a:prstGeom>
          <a:solidFill>
            <a:srgbClr val="0070C0"/>
          </a:solidFill>
        </p:spPr>
        <p:txBody>
          <a:bodyPr vert="horz" lIns="91440" tIns="45720" rIns="91440" bIns="45720" rtlCol="0" anchor="ctr">
            <a:normAutofit lnSpcReduction="10000"/>
          </a:bodyPr>
          <a:lstStyle>
            <a:lvl1pPr algn="l" defTabSz="914400" rtl="0" eaLnBrk="1" latinLnBrk="1" hangingPunct="1">
              <a:lnSpc>
                <a:spcPct val="85000"/>
              </a:lnSpc>
              <a:spcBef>
                <a:spcPct val="0"/>
              </a:spcBef>
              <a:buNone/>
              <a:defRPr sz="5400" kern="1200" spc="-120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altLang="ko-KR" sz="3600" b="1" kern="0" dirty="0">
                <a:solidFill>
                  <a:schemeClr val="bg1"/>
                </a:solidFill>
                <a:latin typeface="+mj-ea"/>
              </a:rPr>
              <a:t> </a:t>
            </a:r>
            <a:endParaRPr lang="en-US" altLang="ko-KR" sz="3600" b="1" kern="0" dirty="0" smtClean="0">
              <a:solidFill>
                <a:schemeClr val="bg1"/>
              </a:solidFill>
              <a:latin typeface="+mj-ea"/>
            </a:endParaRPr>
          </a:p>
          <a:p>
            <a:r>
              <a:rPr lang="en-US" altLang="ko-KR" sz="3200" b="1" kern="0" dirty="0" smtClean="0">
                <a:solidFill>
                  <a:schemeClr val="bg1"/>
                </a:solidFill>
                <a:latin typeface="+mj-ea"/>
              </a:rPr>
              <a:t>IV</a:t>
            </a:r>
            <a:r>
              <a:rPr lang="en-US" altLang="ko-KR" sz="3200" b="1" kern="0" dirty="0">
                <a:solidFill>
                  <a:schemeClr val="bg1"/>
                </a:solidFill>
                <a:latin typeface="+mj-ea"/>
              </a:rPr>
              <a:t>. </a:t>
            </a:r>
            <a:r>
              <a:rPr lang="ko-KR" altLang="en-US" sz="3200" b="1" kern="0" dirty="0" smtClean="0">
                <a:solidFill>
                  <a:schemeClr val="bg1"/>
                </a:solidFill>
                <a:latin typeface="+mj-ea"/>
              </a:rPr>
              <a:t>유통 산업 내 활용전략</a:t>
            </a:r>
            <a:endParaRPr lang="en-US" altLang="ko-KR" sz="3200" b="1" kern="0" dirty="0">
              <a:solidFill>
                <a:schemeClr val="bg1"/>
              </a:solidFill>
              <a:latin typeface="+mj-ea"/>
            </a:endParaRPr>
          </a:p>
          <a:p>
            <a:endParaRPr lang="ko-KR" altLang="en-US" sz="3300" dirty="0">
              <a:solidFill>
                <a:schemeClr val="bg1"/>
              </a:solidFill>
              <a:latin typeface="HY강B" panose="02030600000101010101" pitchFamily="18" charset="-127"/>
              <a:ea typeface="HY강B" panose="02030600000101010101" pitchFamily="18" charset="-127"/>
            </a:endParaRPr>
          </a:p>
        </p:txBody>
      </p:sp>
      <p:sp>
        <p:nvSpPr>
          <p:cNvPr id="11" name="왼쪽으로 구부러진 화살표 10"/>
          <p:cNvSpPr/>
          <p:nvPr/>
        </p:nvSpPr>
        <p:spPr>
          <a:xfrm>
            <a:off x="4633547" y="3842239"/>
            <a:ext cx="1336431" cy="2382715"/>
          </a:xfrm>
          <a:prstGeom prst="curvedLeftArrow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13847752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제목 1">
            <a:extLst>
              <a:ext uri="{FF2B5EF4-FFF2-40B4-BE49-F238E27FC236}">
                <a16:creationId xmlns:a16="http://schemas.microsoft.com/office/drawing/2014/main" id="{D2000726-1E5C-BD49-C112-1D1C46E7E876}"/>
              </a:ext>
            </a:extLst>
          </p:cNvPr>
          <p:cNvSpPr txBox="1">
            <a:spLocks/>
          </p:cNvSpPr>
          <p:nvPr/>
        </p:nvSpPr>
        <p:spPr>
          <a:xfrm>
            <a:off x="339798" y="1078983"/>
            <a:ext cx="9406783" cy="625699"/>
          </a:xfrm>
          <a:prstGeom prst="rect">
            <a:avLst/>
          </a:prstGeom>
          <a:solidFill>
            <a:srgbClr val="002060"/>
          </a:solidFill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1" hangingPunct="1">
              <a:lnSpc>
                <a:spcPct val="85000"/>
              </a:lnSpc>
              <a:spcBef>
                <a:spcPct val="0"/>
              </a:spcBef>
              <a:buNone/>
              <a:defRPr sz="5400" kern="1200" spc="-120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kumimoji="0" lang="ko-KR" altLang="en-US" sz="2400" kern="0" dirty="0">
                <a:solidFill>
                  <a:schemeClr val="bg1"/>
                </a:solidFill>
                <a:latin typeface="HY견고딕"/>
                <a:ea typeface="HY견고딕"/>
              </a:rPr>
              <a:t> 중소기업 </a:t>
            </a:r>
            <a:r>
              <a:rPr kumimoji="0" lang="ko-KR" altLang="en-US" sz="2400" kern="0" dirty="0" err="1">
                <a:solidFill>
                  <a:schemeClr val="bg1"/>
                </a:solidFill>
                <a:latin typeface="HY견고딕"/>
                <a:ea typeface="HY견고딕"/>
              </a:rPr>
              <a:t>빅데이터</a:t>
            </a:r>
            <a:r>
              <a:rPr kumimoji="0" lang="ko-KR" altLang="en-US" sz="2400" kern="0" dirty="0">
                <a:solidFill>
                  <a:schemeClr val="bg1"/>
                </a:solidFill>
                <a:latin typeface="HY견고딕"/>
                <a:ea typeface="HY견고딕"/>
              </a:rPr>
              <a:t> </a:t>
            </a:r>
            <a:r>
              <a:rPr lang="en-US" altLang="ko-KR" sz="2400" b="1" dirty="0">
                <a:solidFill>
                  <a:schemeClr val="bg1"/>
                </a:solidFill>
              </a:rPr>
              <a:t>&amp; AI </a:t>
            </a:r>
            <a:r>
              <a:rPr kumimoji="0" lang="ko-KR" altLang="en-US" sz="2400" kern="0" dirty="0">
                <a:solidFill>
                  <a:schemeClr val="bg1"/>
                </a:solidFill>
                <a:latin typeface="HY견고딕"/>
                <a:ea typeface="HY견고딕"/>
              </a:rPr>
              <a:t>의  활용도</a:t>
            </a:r>
            <a:r>
              <a:rPr kumimoji="0" lang="en-US" altLang="ko-KR" sz="2400" kern="0" dirty="0">
                <a:solidFill>
                  <a:schemeClr val="bg1"/>
                </a:solidFill>
                <a:latin typeface="HY견고딕"/>
                <a:ea typeface="HY견고딕"/>
              </a:rPr>
              <a:t> </a:t>
            </a:r>
            <a:r>
              <a:rPr kumimoji="0" lang="ko-KR" altLang="en-US" sz="2400" kern="0" dirty="0">
                <a:solidFill>
                  <a:schemeClr val="bg1"/>
                </a:solidFill>
                <a:latin typeface="HY견고딕"/>
                <a:ea typeface="HY견고딕"/>
              </a:rPr>
              <a:t>제고 전략</a:t>
            </a:r>
            <a:endParaRPr lang="ko-KR" altLang="en-US" sz="2400" dirty="0">
              <a:solidFill>
                <a:schemeClr val="bg1"/>
              </a:solidFill>
              <a:latin typeface="HY강B" panose="02030600000101010101" pitchFamily="18" charset="-127"/>
              <a:ea typeface="HY강B" panose="02030600000101010101" pitchFamily="18" charset="-127"/>
            </a:endParaRPr>
          </a:p>
        </p:txBody>
      </p:sp>
      <p:sp>
        <p:nvSpPr>
          <p:cNvPr id="14" name="날짜 개체 틀 13">
            <a:extLst>
              <a:ext uri="{FF2B5EF4-FFF2-40B4-BE49-F238E27FC236}">
                <a16:creationId xmlns:a16="http://schemas.microsoft.com/office/drawing/2014/main" id="{2FFD947A-C5DF-0618-F3CC-8535CC2D079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74BB7F-8129-410E-A816-B4D67A003D44}" type="datetime1">
              <a:rPr lang="en-US" altLang="ko-KR" smtClean="0"/>
              <a:t>6/22/2023</a:t>
            </a:fld>
            <a:endParaRPr lang="en-US" dirty="0"/>
          </a:p>
        </p:txBody>
      </p:sp>
      <p:sp>
        <p:nvSpPr>
          <p:cNvPr id="15" name="슬라이드 번호 개체 틀 14">
            <a:extLst>
              <a:ext uri="{FF2B5EF4-FFF2-40B4-BE49-F238E27FC236}">
                <a16:creationId xmlns:a16="http://schemas.microsoft.com/office/drawing/2014/main" id="{FCCAA9E0-5C04-A39B-7E84-97846C95974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smtClean="0"/>
              <a:t>29</a:t>
            </a:fld>
            <a:endParaRPr lang="en-US" dirty="0"/>
          </a:p>
        </p:txBody>
      </p:sp>
      <p:graphicFrame>
        <p:nvGraphicFramePr>
          <p:cNvPr id="3" name="다이어그램 2"/>
          <p:cNvGraphicFramePr/>
          <p:nvPr>
            <p:extLst/>
          </p:nvPr>
        </p:nvGraphicFramePr>
        <p:xfrm>
          <a:off x="-181361" y="1704682"/>
          <a:ext cx="8731001" cy="507534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2" name="TextBox 1">
            <a:extLst>
              <a:ext uri="{FF2B5EF4-FFF2-40B4-BE49-F238E27FC236}">
                <a16:creationId xmlns:a16="http://schemas.microsoft.com/office/drawing/2014/main" id="{8480D2DA-BDC8-3BF3-CC2F-FBCFEBAF0184}"/>
              </a:ext>
            </a:extLst>
          </p:cNvPr>
          <p:cNvSpPr txBox="1"/>
          <p:nvPr/>
        </p:nvSpPr>
        <p:spPr>
          <a:xfrm>
            <a:off x="7909560" y="2898027"/>
            <a:ext cx="3166110" cy="1631216"/>
          </a:xfrm>
          <a:prstGeom prst="rect">
            <a:avLst/>
          </a:prstGeom>
          <a:solidFill>
            <a:srgbClr val="00B050"/>
          </a:solidFill>
        </p:spPr>
        <p:txBody>
          <a:bodyPr wrap="square" rtlCol="0">
            <a:spAutoFit/>
          </a:bodyPr>
          <a:lstStyle/>
          <a:p>
            <a:r>
              <a:rPr lang="ko-KR" altLang="en-US" dirty="0">
                <a:solidFill>
                  <a:schemeClr val="bg1"/>
                </a:solidFill>
              </a:rPr>
              <a:t>  </a:t>
            </a:r>
            <a:r>
              <a:rPr lang="ko-KR" altLang="en-US" sz="2000" dirty="0" smtClean="0">
                <a:solidFill>
                  <a:schemeClr val="bg1"/>
                </a:solidFill>
              </a:rPr>
              <a:t>대 중소유통 기업간 </a:t>
            </a:r>
            <a:r>
              <a:rPr lang="ko-KR" altLang="en-US" sz="2000" dirty="0">
                <a:solidFill>
                  <a:schemeClr val="bg1"/>
                </a:solidFill>
              </a:rPr>
              <a:t>협력</a:t>
            </a:r>
            <a:endParaRPr lang="en-US" altLang="ko-KR" sz="2000" dirty="0">
              <a:solidFill>
                <a:schemeClr val="bg1"/>
              </a:solidFill>
            </a:endParaRPr>
          </a:p>
          <a:p>
            <a:endParaRPr lang="en-US" altLang="ko-KR" sz="2000" dirty="0">
              <a:solidFill>
                <a:schemeClr val="bg1"/>
              </a:solidFill>
            </a:endParaRPr>
          </a:p>
          <a:p>
            <a:pPr marL="285750" indent="-285750">
              <a:buFontTx/>
              <a:buChar char="-"/>
            </a:pPr>
            <a:r>
              <a:rPr lang="ko-KR" altLang="en-US" sz="2000" dirty="0">
                <a:solidFill>
                  <a:schemeClr val="bg1"/>
                </a:solidFill>
              </a:rPr>
              <a:t>공급협력 체인내  개선 </a:t>
            </a:r>
            <a:endParaRPr lang="en-US" altLang="ko-KR" sz="2000" dirty="0">
              <a:solidFill>
                <a:schemeClr val="bg1"/>
              </a:solidFill>
            </a:endParaRPr>
          </a:p>
          <a:p>
            <a:pPr marL="285750" indent="-285750">
              <a:buFontTx/>
              <a:buChar char="-"/>
            </a:pPr>
            <a:r>
              <a:rPr lang="ko-KR" altLang="en-US" sz="2000" dirty="0">
                <a:solidFill>
                  <a:schemeClr val="bg1"/>
                </a:solidFill>
              </a:rPr>
              <a:t>정부의 지원 공유</a:t>
            </a:r>
            <a:endParaRPr lang="en-US" altLang="ko-KR" sz="2000" dirty="0">
              <a:solidFill>
                <a:schemeClr val="bg1"/>
              </a:solidFill>
            </a:endParaRPr>
          </a:p>
          <a:p>
            <a:pPr marL="285750" indent="-285750">
              <a:buFontTx/>
              <a:buChar char="-"/>
            </a:pPr>
            <a:r>
              <a:rPr lang="ko-KR" altLang="en-US" sz="2000" dirty="0">
                <a:solidFill>
                  <a:schemeClr val="bg1"/>
                </a:solidFill>
              </a:rPr>
              <a:t>공정한 거래 중심   </a:t>
            </a:r>
          </a:p>
        </p:txBody>
      </p:sp>
      <p:cxnSp>
        <p:nvCxnSpPr>
          <p:cNvPr id="6" name="연결선: 구부러짐 5">
            <a:extLst>
              <a:ext uri="{FF2B5EF4-FFF2-40B4-BE49-F238E27FC236}">
                <a16:creationId xmlns:a16="http://schemas.microsoft.com/office/drawing/2014/main" id="{F86AF0B0-4F29-7BAC-610B-4DC1704C420A}"/>
              </a:ext>
            </a:extLst>
          </p:cNvPr>
          <p:cNvCxnSpPr/>
          <p:nvPr/>
        </p:nvCxnSpPr>
        <p:spPr>
          <a:xfrm flipV="1">
            <a:off x="4572000" y="3082693"/>
            <a:ext cx="3474720" cy="769217"/>
          </a:xfrm>
          <a:prstGeom prst="curvedConnector3">
            <a:avLst/>
          </a:prstGeom>
          <a:ln>
            <a:headEnd type="triangle"/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12" name="제목 1"/>
          <p:cNvSpPr txBox="1">
            <a:spLocks/>
          </p:cNvSpPr>
          <p:nvPr/>
        </p:nvSpPr>
        <p:spPr>
          <a:xfrm>
            <a:off x="339798" y="67260"/>
            <a:ext cx="11558160" cy="875199"/>
          </a:xfrm>
          <a:prstGeom prst="rect">
            <a:avLst/>
          </a:prstGeom>
          <a:solidFill>
            <a:srgbClr val="0070C0"/>
          </a:solidFill>
        </p:spPr>
        <p:txBody>
          <a:bodyPr vert="horz" lIns="91440" tIns="45720" rIns="91440" bIns="45720" rtlCol="0" anchor="ctr">
            <a:normAutofit fontScale="92500" lnSpcReduction="10000"/>
          </a:bodyPr>
          <a:lstStyle>
            <a:lvl1pPr algn="l" defTabSz="914400" rtl="0" eaLnBrk="1" latinLnBrk="1" hangingPunct="1">
              <a:lnSpc>
                <a:spcPct val="85000"/>
              </a:lnSpc>
              <a:spcBef>
                <a:spcPct val="0"/>
              </a:spcBef>
              <a:buNone/>
              <a:defRPr sz="5400" kern="1200" spc="-120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altLang="ko-KR" sz="3600" b="1" kern="0" dirty="0">
                <a:solidFill>
                  <a:schemeClr val="bg1"/>
                </a:solidFill>
                <a:latin typeface="+mj-ea"/>
              </a:rPr>
              <a:t> </a:t>
            </a:r>
            <a:endParaRPr lang="en-US" altLang="ko-KR" sz="3600" b="1" kern="0" dirty="0" smtClean="0">
              <a:solidFill>
                <a:schemeClr val="bg1"/>
              </a:solidFill>
              <a:latin typeface="+mj-ea"/>
            </a:endParaRPr>
          </a:p>
          <a:p>
            <a:r>
              <a:rPr lang="en-US" altLang="ko-KR" sz="3600" b="1" kern="0" dirty="0" smtClean="0">
                <a:solidFill>
                  <a:schemeClr val="bg1"/>
                </a:solidFill>
                <a:latin typeface="+mj-ea"/>
              </a:rPr>
              <a:t>IV</a:t>
            </a:r>
            <a:r>
              <a:rPr lang="en-US" altLang="ko-KR" sz="3600" b="1" kern="0" dirty="0">
                <a:solidFill>
                  <a:schemeClr val="bg1"/>
                </a:solidFill>
                <a:latin typeface="+mj-ea"/>
              </a:rPr>
              <a:t>. </a:t>
            </a:r>
            <a:r>
              <a:rPr lang="ko-KR" altLang="en-US" sz="3600" b="1" kern="0" dirty="0" smtClean="0">
                <a:solidFill>
                  <a:schemeClr val="bg1"/>
                </a:solidFill>
                <a:latin typeface="+mj-ea"/>
              </a:rPr>
              <a:t>유통 산업 내 활용전략</a:t>
            </a:r>
            <a:endParaRPr lang="en-US" altLang="ko-KR" sz="3600" b="1" kern="0" dirty="0">
              <a:solidFill>
                <a:schemeClr val="bg1"/>
              </a:solidFill>
              <a:latin typeface="+mj-ea"/>
            </a:endParaRPr>
          </a:p>
          <a:p>
            <a:endParaRPr lang="ko-KR" altLang="en-US" sz="3600" dirty="0">
              <a:solidFill>
                <a:schemeClr val="bg1"/>
              </a:solidFill>
              <a:latin typeface="HY강B" panose="02030600000101010101" pitchFamily="18" charset="-127"/>
              <a:ea typeface="HY강B" panose="02030600000101010101" pitchFamily="18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426459487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개체 1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25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3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16" name="개체 1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25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3" name="Rectangle 2"/>
          <p:cNvSpPr>
            <a:spLocks noChangeArrowheads="1"/>
          </p:cNvSpPr>
          <p:nvPr/>
        </p:nvSpPr>
        <p:spPr bwMode="auto">
          <a:xfrm>
            <a:off x="393851" y="27380"/>
            <a:ext cx="6026185" cy="612000"/>
          </a:xfrm>
          <a:prstGeom prst="rect">
            <a:avLst/>
          </a:prstGeom>
          <a:solidFill>
            <a:srgbClr val="0070C0"/>
          </a:solidFill>
          <a:ln w="12700" algn="ctr">
            <a:noFill/>
            <a:miter lim="800000"/>
            <a:headEnd/>
            <a:tailEnd/>
          </a:ln>
        </p:spPr>
        <p:txBody>
          <a:bodyPr wrap="none" lIns="72000" tIns="72000" rIns="72000" bIns="72000" anchor="ctr"/>
          <a:lstStyle/>
          <a:p>
            <a:pPr fontAlgn="auto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rgbClr val="FFFFFF"/>
              </a:buClr>
              <a:defRPr/>
            </a:pPr>
            <a:r>
              <a:rPr kumimoji="0" lang="en-US" altLang="ko-KR" sz="2800" kern="0" dirty="0">
                <a:solidFill>
                  <a:srgbClr val="FFFFFF"/>
                </a:solidFill>
                <a:latin typeface="Arial"/>
                <a:ea typeface="HY견고딕" pitchFamily="18" charset="-127"/>
              </a:rPr>
              <a:t>1. </a:t>
            </a:r>
            <a:r>
              <a:rPr kumimoji="0" lang="ko-KR" altLang="en-US" sz="2800" kern="0" dirty="0">
                <a:solidFill>
                  <a:srgbClr val="FFFFFF"/>
                </a:solidFill>
                <a:latin typeface="Arial"/>
                <a:ea typeface="HY견고딕" pitchFamily="18" charset="-127"/>
              </a:rPr>
              <a:t>연구 목적  </a:t>
            </a:r>
            <a:endParaRPr kumimoji="0" lang="en-US" altLang="ko-KR" sz="2800" kern="0" dirty="0">
              <a:solidFill>
                <a:srgbClr val="FFFFFF"/>
              </a:solidFill>
              <a:latin typeface="Arial"/>
              <a:ea typeface="HY견고딕" pitchFamily="18" charset="-127"/>
            </a:endParaRPr>
          </a:p>
        </p:txBody>
      </p:sp>
      <p:graphicFrame>
        <p:nvGraphicFramePr>
          <p:cNvPr id="2" name="다이어그램 1"/>
          <p:cNvGraphicFramePr/>
          <p:nvPr>
            <p:extLst>
              <p:ext uri="{D42A27DB-BD31-4B8C-83A1-F6EECF244321}">
                <p14:modId xmlns:p14="http://schemas.microsoft.com/office/powerpoint/2010/main" val="2588576967"/>
              </p:ext>
            </p:extLst>
          </p:nvPr>
        </p:nvGraphicFramePr>
        <p:xfrm>
          <a:off x="2041386" y="764704"/>
          <a:ext cx="6800304" cy="541866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sp>
        <p:nvSpPr>
          <p:cNvPr id="5" name="오른쪽 화살표 4"/>
          <p:cNvSpPr/>
          <p:nvPr/>
        </p:nvSpPr>
        <p:spPr>
          <a:xfrm>
            <a:off x="7185088" y="1803089"/>
            <a:ext cx="2340260" cy="4464496"/>
          </a:xfrm>
          <a:prstGeom prst="rightArrow">
            <a:avLst/>
          </a:prstGeom>
          <a:solidFill>
            <a:srgbClr val="92D050"/>
          </a:solidFill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endParaRPr lang="ko-KR" altLang="en-US" sz="1400" dirty="0" err="1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9649683" y="897508"/>
            <a:ext cx="2376264" cy="5423023"/>
          </a:xfrm>
          <a:prstGeom prst="rect">
            <a:avLst/>
          </a:prstGeom>
          <a:solidFill>
            <a:srgbClr val="002060"/>
          </a:solidFill>
          <a:ln w="6350" cap="flat">
            <a:noFill/>
            <a:miter lim="800000"/>
          </a:ln>
        </p:spPr>
        <p:txBody>
          <a:bodyPr wrap="square" lIns="0" tIns="0" rIns="0" bIns="0" rtlCol="0" anchor="t" anchorCtr="0">
            <a:sp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</a:pPr>
            <a:endParaRPr lang="en-US" altLang="ko-KR" sz="4000" dirty="0">
              <a:solidFill>
                <a:schemeClr val="bg1"/>
              </a:solidFill>
              <a:latin typeface="휴먼모음T" panose="02030504000101010101" pitchFamily="18" charset="-127"/>
              <a:ea typeface="휴먼모음T" panose="02030504000101010101" pitchFamily="18" charset="-127"/>
              <a:cs typeface="Arial" pitchFamily="34" charset="0"/>
            </a:endParaRPr>
          </a:p>
          <a:p>
            <a:pPr algn="ctr"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</a:pPr>
            <a:r>
              <a:rPr lang="ko-KR" altLang="en-US" sz="2400" dirty="0">
                <a:solidFill>
                  <a:schemeClr val="bg1"/>
                </a:solidFill>
                <a:latin typeface="휴먼엑스포" panose="02030504000101010101" pitchFamily="18" charset="-127"/>
                <a:ea typeface="휴먼엑스포" panose="02030504000101010101" pitchFamily="18" charset="-127"/>
                <a:cs typeface="Arial" pitchFamily="34" charset="0"/>
              </a:rPr>
              <a:t>산업경쟁력 </a:t>
            </a:r>
            <a:endParaRPr lang="en-US" altLang="ko-KR" sz="2400" dirty="0">
              <a:solidFill>
                <a:schemeClr val="bg1"/>
              </a:solidFill>
              <a:latin typeface="휴먼엑스포" panose="02030504000101010101" pitchFamily="18" charset="-127"/>
              <a:ea typeface="휴먼엑스포" panose="02030504000101010101" pitchFamily="18" charset="-127"/>
              <a:cs typeface="Arial" pitchFamily="34" charset="0"/>
            </a:endParaRPr>
          </a:p>
          <a:p>
            <a:pPr algn="ctr"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</a:pPr>
            <a:r>
              <a:rPr lang="ko-KR" altLang="en-US" sz="2400" dirty="0">
                <a:solidFill>
                  <a:schemeClr val="bg1"/>
                </a:solidFill>
                <a:latin typeface="휴먼엑스포" panose="02030504000101010101" pitchFamily="18" charset="-127"/>
                <a:ea typeface="휴먼엑스포" panose="02030504000101010101" pitchFamily="18" charset="-127"/>
                <a:cs typeface="Arial" pitchFamily="34" charset="0"/>
              </a:rPr>
              <a:t>강화</a:t>
            </a:r>
            <a:r>
              <a:rPr lang="en-US" altLang="ko-KR" sz="2400" dirty="0">
                <a:solidFill>
                  <a:schemeClr val="bg1"/>
                </a:solidFill>
                <a:latin typeface="휴먼엑스포" panose="02030504000101010101" pitchFamily="18" charset="-127"/>
                <a:ea typeface="휴먼엑스포" panose="02030504000101010101" pitchFamily="18" charset="-127"/>
                <a:cs typeface="Arial" pitchFamily="34" charset="0"/>
              </a:rPr>
              <a:t>&gt;</a:t>
            </a:r>
            <a:r>
              <a:rPr lang="ko-KR" altLang="en-US" sz="2400" dirty="0">
                <a:solidFill>
                  <a:schemeClr val="bg1"/>
                </a:solidFill>
                <a:latin typeface="휴먼엑스포" panose="02030504000101010101" pitchFamily="18" charset="-127"/>
                <a:ea typeface="휴먼엑스포" panose="02030504000101010101" pitchFamily="18" charset="-127"/>
                <a:cs typeface="Arial" pitchFamily="34" charset="0"/>
              </a:rPr>
              <a:t>혁신유도 </a:t>
            </a:r>
            <a:endParaRPr lang="en-US" altLang="ko-KR" sz="2400" dirty="0">
              <a:solidFill>
                <a:schemeClr val="bg1"/>
              </a:solidFill>
              <a:latin typeface="휴먼엑스포" panose="02030504000101010101" pitchFamily="18" charset="-127"/>
              <a:ea typeface="휴먼엑스포" panose="02030504000101010101" pitchFamily="18" charset="-127"/>
              <a:cs typeface="Arial" pitchFamily="34" charset="0"/>
            </a:endParaRPr>
          </a:p>
          <a:p>
            <a:pPr algn="ctr"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</a:pPr>
            <a:r>
              <a:rPr lang="en-US" altLang="ko-KR" sz="2400" dirty="0">
                <a:solidFill>
                  <a:schemeClr val="bg1"/>
                </a:solidFill>
                <a:latin typeface="휴먼엑스포" panose="02030504000101010101" pitchFamily="18" charset="-127"/>
                <a:ea typeface="휴먼엑스포" panose="02030504000101010101" pitchFamily="18" charset="-127"/>
                <a:cs typeface="Arial" pitchFamily="34" charset="0"/>
              </a:rPr>
              <a:t> </a:t>
            </a:r>
          </a:p>
          <a:p>
            <a:pPr algn="ctr"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</a:pPr>
            <a:endParaRPr lang="en-US" altLang="ko-KR" sz="2400" dirty="0">
              <a:solidFill>
                <a:schemeClr val="bg1"/>
              </a:solidFill>
              <a:latin typeface="휴먼엑스포" panose="02030504000101010101" pitchFamily="18" charset="-127"/>
              <a:ea typeface="휴먼엑스포" panose="02030504000101010101" pitchFamily="18" charset="-127"/>
              <a:cs typeface="Arial" pitchFamily="34" charset="0"/>
            </a:endParaRPr>
          </a:p>
          <a:p>
            <a:pPr algn="ctr"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</a:pPr>
            <a:r>
              <a:rPr lang="ko-KR" altLang="en-US" sz="2400" dirty="0">
                <a:solidFill>
                  <a:schemeClr val="bg1"/>
                </a:solidFill>
                <a:latin typeface="휴먼엑스포" panose="02030504000101010101" pitchFamily="18" charset="-127"/>
                <a:ea typeface="휴먼엑스포" panose="02030504000101010101" pitchFamily="18" charset="-127"/>
                <a:cs typeface="Arial" pitchFamily="34" charset="0"/>
              </a:rPr>
              <a:t>소비복지</a:t>
            </a:r>
            <a:r>
              <a:rPr lang="en-US" altLang="ko-KR" sz="2400" dirty="0">
                <a:solidFill>
                  <a:schemeClr val="bg1"/>
                </a:solidFill>
                <a:latin typeface="휴먼엑스포" panose="02030504000101010101" pitchFamily="18" charset="-127"/>
                <a:ea typeface="휴먼엑스포" panose="02030504000101010101" pitchFamily="18" charset="-127"/>
                <a:cs typeface="Arial" pitchFamily="34" charset="0"/>
              </a:rPr>
              <a:t>: </a:t>
            </a:r>
            <a:r>
              <a:rPr lang="ko-KR" altLang="en-US" sz="2400" dirty="0">
                <a:solidFill>
                  <a:schemeClr val="bg1"/>
                </a:solidFill>
                <a:latin typeface="휴먼엑스포" panose="02030504000101010101" pitchFamily="18" charset="-127"/>
                <a:ea typeface="휴먼엑스포" panose="02030504000101010101" pitchFamily="18" charset="-127"/>
                <a:cs typeface="Arial" pitchFamily="34" charset="0"/>
              </a:rPr>
              <a:t>선택권과 편의성 증대</a:t>
            </a:r>
            <a:endParaRPr lang="en-US" altLang="ko-KR" sz="2400" dirty="0">
              <a:solidFill>
                <a:schemeClr val="bg1"/>
              </a:solidFill>
              <a:latin typeface="휴먼엑스포" panose="02030504000101010101" pitchFamily="18" charset="-127"/>
              <a:ea typeface="휴먼엑스포" panose="02030504000101010101" pitchFamily="18" charset="-127"/>
              <a:cs typeface="Arial" pitchFamily="34" charset="0"/>
            </a:endParaRPr>
          </a:p>
          <a:p>
            <a:pPr algn="ctr"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</a:pPr>
            <a:r>
              <a:rPr lang="ko-KR" altLang="en-US" sz="2400" dirty="0">
                <a:solidFill>
                  <a:schemeClr val="bg1"/>
                </a:solidFill>
                <a:latin typeface="휴먼엑스포" panose="02030504000101010101" pitchFamily="18" charset="-127"/>
                <a:ea typeface="휴먼엑스포" panose="02030504000101010101" pitchFamily="18" charset="-127"/>
                <a:cs typeface="Arial" pitchFamily="34" charset="0"/>
              </a:rPr>
              <a:t>  </a:t>
            </a:r>
            <a:endParaRPr lang="en-US" altLang="ko-KR" sz="2400" dirty="0">
              <a:solidFill>
                <a:schemeClr val="bg1"/>
              </a:solidFill>
              <a:latin typeface="휴먼엑스포" panose="02030504000101010101" pitchFamily="18" charset="-127"/>
              <a:ea typeface="휴먼엑스포" panose="02030504000101010101" pitchFamily="18" charset="-127"/>
              <a:cs typeface="Arial" pitchFamily="34" charset="0"/>
            </a:endParaRPr>
          </a:p>
          <a:p>
            <a:pPr algn="ctr"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</a:pPr>
            <a:endParaRPr lang="en-US" altLang="ko-KR" sz="2400" dirty="0">
              <a:solidFill>
                <a:schemeClr val="bg1"/>
              </a:solidFill>
              <a:latin typeface="휴먼엑스포" panose="02030504000101010101" pitchFamily="18" charset="-127"/>
              <a:ea typeface="휴먼엑스포" panose="02030504000101010101" pitchFamily="18" charset="-127"/>
              <a:cs typeface="Arial" pitchFamily="34" charset="0"/>
            </a:endParaRPr>
          </a:p>
          <a:p>
            <a:pPr algn="ctr"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</a:pPr>
            <a:r>
              <a:rPr lang="ko-KR" altLang="en-US" sz="2400" dirty="0" err="1">
                <a:solidFill>
                  <a:srgbClr val="FFFF00"/>
                </a:solidFill>
                <a:latin typeface="휴먼엑스포" panose="02030504000101010101" pitchFamily="18" charset="-127"/>
                <a:ea typeface="휴먼엑스포" panose="02030504000101010101" pitchFamily="18" charset="-127"/>
                <a:cs typeface="Arial" pitchFamily="34" charset="0"/>
              </a:rPr>
              <a:t>지속가능한</a:t>
            </a:r>
            <a:endParaRPr lang="en-US" altLang="ko-KR" sz="2400" dirty="0">
              <a:solidFill>
                <a:srgbClr val="FFFF00"/>
              </a:solidFill>
              <a:latin typeface="휴먼엑스포" panose="02030504000101010101" pitchFamily="18" charset="-127"/>
              <a:ea typeface="휴먼엑스포" panose="02030504000101010101" pitchFamily="18" charset="-127"/>
              <a:cs typeface="Arial" pitchFamily="34" charset="0"/>
            </a:endParaRPr>
          </a:p>
          <a:p>
            <a:pPr algn="ctr"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</a:pPr>
            <a:r>
              <a:rPr lang="ko-KR" altLang="en-US" sz="2400" dirty="0">
                <a:solidFill>
                  <a:srgbClr val="FFFF00"/>
                </a:solidFill>
                <a:latin typeface="휴먼엑스포" panose="02030504000101010101" pitchFamily="18" charset="-127"/>
                <a:ea typeface="휴먼엑스포" panose="02030504000101010101" pitchFamily="18" charset="-127"/>
                <a:cs typeface="Arial" pitchFamily="34" charset="0"/>
              </a:rPr>
              <a:t>국민경제의 발전 기여</a:t>
            </a:r>
            <a:endParaRPr lang="en-US" altLang="ko-KR" sz="2400" dirty="0">
              <a:solidFill>
                <a:srgbClr val="FFFF00"/>
              </a:solidFill>
              <a:latin typeface="휴먼엑스포" panose="02030504000101010101" pitchFamily="18" charset="-127"/>
              <a:ea typeface="휴먼엑스포" panose="02030504000101010101" pitchFamily="18" charset="-127"/>
              <a:cs typeface="Arial" pitchFamily="34" charset="0"/>
            </a:endParaRPr>
          </a:p>
          <a:p>
            <a:pPr algn="ctr"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</a:pPr>
            <a:endParaRPr lang="ko-KR" altLang="en-US" sz="3200" dirty="0">
              <a:solidFill>
                <a:schemeClr val="bg1"/>
              </a:solidFill>
              <a:latin typeface="휴먼모음T" panose="02030504000101010101" pitchFamily="18" charset="-127"/>
              <a:ea typeface="휴먼모음T" panose="02030504000101010101" pitchFamily="18" charset="-127"/>
              <a:cs typeface="Arial" pitchFamily="34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7296297" y="3237752"/>
            <a:ext cx="1791232" cy="1692771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 lIns="0" tIns="0" rIns="0" bIns="0" rtlCol="0" anchor="t" anchorCtr="0">
            <a:spAutoFit/>
          </a:bodyPr>
          <a:lstStyle/>
          <a:p>
            <a:pPr marL="342900" indent="-342900">
              <a:spcBef>
                <a:spcPts val="600"/>
              </a:spcBef>
              <a:buClr>
                <a:schemeClr val="bg2"/>
              </a:buClr>
              <a:buFont typeface="Arial" panose="020B0604020202020204" pitchFamily="34" charset="0"/>
              <a:buChar char="•"/>
            </a:pPr>
            <a:r>
              <a:rPr lang="ko-KR" altLang="en-US" sz="2000" dirty="0">
                <a:latin typeface="휴먼엑스포" panose="02030504000101010101" pitchFamily="18" charset="-127"/>
                <a:ea typeface="휴먼엑스포" panose="02030504000101010101" pitchFamily="18" charset="-127"/>
                <a:cs typeface="Arial" pitchFamily="34" charset="0"/>
              </a:rPr>
              <a:t>혁신 변화 </a:t>
            </a:r>
            <a:r>
              <a:rPr lang="ko-KR" altLang="en-US" sz="2000" dirty="0" err="1">
                <a:latin typeface="휴먼엑스포" panose="02030504000101010101" pitchFamily="18" charset="-127"/>
                <a:ea typeface="휴먼엑스포" panose="02030504000101010101" pitchFamily="18" charset="-127"/>
                <a:cs typeface="Arial" pitchFamily="34" charset="0"/>
              </a:rPr>
              <a:t>트랜드</a:t>
            </a:r>
            <a:r>
              <a:rPr lang="ko-KR" altLang="en-US" sz="2000" dirty="0">
                <a:latin typeface="휴먼엑스포" panose="02030504000101010101" pitchFamily="18" charset="-127"/>
                <a:ea typeface="휴먼엑스포" panose="02030504000101010101" pitchFamily="18" charset="-127"/>
                <a:cs typeface="Arial" pitchFamily="34" charset="0"/>
              </a:rPr>
              <a:t> 수용</a:t>
            </a:r>
            <a:endParaRPr lang="en-US" altLang="ko-KR" sz="2000" dirty="0">
              <a:latin typeface="휴먼엑스포" panose="02030504000101010101" pitchFamily="18" charset="-127"/>
              <a:ea typeface="휴먼엑스포" panose="02030504000101010101" pitchFamily="18" charset="-127"/>
              <a:cs typeface="Arial" pitchFamily="34" charset="0"/>
            </a:endParaRPr>
          </a:p>
          <a:p>
            <a:pPr marL="342900" indent="-342900">
              <a:spcBef>
                <a:spcPts val="600"/>
              </a:spcBef>
              <a:buClr>
                <a:schemeClr val="bg2"/>
              </a:buClr>
              <a:buFont typeface="Arial" panose="020B0604020202020204" pitchFamily="34" charset="0"/>
              <a:buChar char="•"/>
            </a:pPr>
            <a:r>
              <a:rPr lang="en-US" altLang="ko-KR" sz="2000" dirty="0">
                <a:latin typeface="휴먼엑스포" panose="02030504000101010101" pitchFamily="18" charset="-127"/>
                <a:ea typeface="휴먼엑스포" panose="02030504000101010101" pitchFamily="18" charset="-127"/>
                <a:cs typeface="Arial" pitchFamily="34" charset="0"/>
              </a:rPr>
              <a:t>* Big Data &amp; Ai </a:t>
            </a:r>
          </a:p>
          <a:p>
            <a:pPr>
              <a:spcBef>
                <a:spcPts val="600"/>
              </a:spcBef>
              <a:buClr>
                <a:schemeClr val="bg2"/>
              </a:buClr>
            </a:pPr>
            <a:r>
              <a:rPr lang="en-US" altLang="ko-KR" sz="2000" dirty="0">
                <a:latin typeface="휴먼엑스포" panose="02030504000101010101" pitchFamily="18" charset="-127"/>
                <a:ea typeface="휴먼엑스포" panose="02030504000101010101" pitchFamily="18" charset="-127"/>
                <a:cs typeface="Arial" pitchFamily="34" charset="0"/>
              </a:rPr>
              <a:t>I</a:t>
            </a:r>
            <a:r>
              <a:rPr lang="ko-KR" altLang="en-US" sz="2000" dirty="0">
                <a:latin typeface="휴먼엑스포" panose="02030504000101010101" pitchFamily="18" charset="-127"/>
                <a:ea typeface="휴먼엑스포" panose="02030504000101010101" pitchFamily="18" charset="-127"/>
                <a:cs typeface="Arial" pitchFamily="34" charset="0"/>
              </a:rPr>
              <a:t>  </a:t>
            </a:r>
          </a:p>
        </p:txBody>
      </p:sp>
      <p:sp>
        <p:nvSpPr>
          <p:cNvPr id="3" name="아래쪽 화살표 2"/>
          <p:cNvSpPr/>
          <p:nvPr/>
        </p:nvSpPr>
        <p:spPr>
          <a:xfrm>
            <a:off x="10189306" y="2418641"/>
            <a:ext cx="521208" cy="374904"/>
          </a:xfrm>
          <a:prstGeom prst="downArrow">
            <a:avLst/>
          </a:prstGeom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9" name="아래쪽 화살표 8"/>
          <p:cNvSpPr/>
          <p:nvPr/>
        </p:nvSpPr>
        <p:spPr>
          <a:xfrm>
            <a:off x="10316607" y="4084138"/>
            <a:ext cx="521208" cy="374904"/>
          </a:xfrm>
          <a:prstGeom prst="downArrow">
            <a:avLst/>
          </a:prstGeom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735142203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제목 1">
            <a:extLst>
              <a:ext uri="{FF2B5EF4-FFF2-40B4-BE49-F238E27FC236}">
                <a16:creationId xmlns:a16="http://schemas.microsoft.com/office/drawing/2014/main" id="{D2000726-1E5C-BD49-C112-1D1C46E7E876}"/>
              </a:ext>
            </a:extLst>
          </p:cNvPr>
          <p:cNvSpPr txBox="1">
            <a:spLocks/>
          </p:cNvSpPr>
          <p:nvPr/>
        </p:nvSpPr>
        <p:spPr>
          <a:xfrm>
            <a:off x="339798" y="1078983"/>
            <a:ext cx="9406783" cy="625699"/>
          </a:xfrm>
          <a:prstGeom prst="rect">
            <a:avLst/>
          </a:prstGeom>
          <a:solidFill>
            <a:srgbClr val="002060"/>
          </a:solidFill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1" hangingPunct="1">
              <a:lnSpc>
                <a:spcPct val="85000"/>
              </a:lnSpc>
              <a:spcBef>
                <a:spcPct val="0"/>
              </a:spcBef>
              <a:buNone/>
              <a:defRPr sz="5400" kern="1200" spc="-120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kumimoji="0" lang="en-US" altLang="ko-KR" sz="2400" kern="0" dirty="0" smtClean="0">
                <a:solidFill>
                  <a:schemeClr val="bg1"/>
                </a:solidFill>
                <a:latin typeface="HY견고딕"/>
                <a:ea typeface="HY견고딕"/>
              </a:rPr>
              <a:t>AI </a:t>
            </a:r>
            <a:r>
              <a:rPr kumimoji="0" lang="ko-KR" altLang="en-US" sz="2400" kern="0" dirty="0" smtClean="0">
                <a:solidFill>
                  <a:schemeClr val="bg1"/>
                </a:solidFill>
                <a:latin typeface="HY견고딕"/>
                <a:ea typeface="HY견고딕"/>
              </a:rPr>
              <a:t>투자를 위한 정부 지원의 제안과  수용 </a:t>
            </a:r>
            <a:endParaRPr lang="ko-KR" altLang="en-US" sz="2400" dirty="0">
              <a:solidFill>
                <a:schemeClr val="bg1"/>
              </a:solidFill>
              <a:latin typeface="HY강B" panose="02030600000101010101" pitchFamily="18" charset="-127"/>
              <a:ea typeface="HY강B" panose="02030600000101010101" pitchFamily="18" charset="-127"/>
            </a:endParaRPr>
          </a:p>
        </p:txBody>
      </p:sp>
      <p:sp>
        <p:nvSpPr>
          <p:cNvPr id="14" name="날짜 개체 틀 13">
            <a:extLst>
              <a:ext uri="{FF2B5EF4-FFF2-40B4-BE49-F238E27FC236}">
                <a16:creationId xmlns:a16="http://schemas.microsoft.com/office/drawing/2014/main" id="{2FFD947A-C5DF-0618-F3CC-8535CC2D079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74BB7F-8129-410E-A816-B4D67A003D44}" type="datetime1">
              <a:rPr lang="en-US" altLang="ko-KR" smtClean="0"/>
              <a:t>6/22/2023</a:t>
            </a:fld>
            <a:endParaRPr lang="en-US" dirty="0"/>
          </a:p>
        </p:txBody>
      </p:sp>
      <p:sp>
        <p:nvSpPr>
          <p:cNvPr id="15" name="슬라이드 번호 개체 틀 14">
            <a:extLst>
              <a:ext uri="{FF2B5EF4-FFF2-40B4-BE49-F238E27FC236}">
                <a16:creationId xmlns:a16="http://schemas.microsoft.com/office/drawing/2014/main" id="{FCCAA9E0-5C04-A39B-7E84-97846C95974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smtClean="0"/>
              <a:t>30</a:t>
            </a:fld>
            <a:endParaRPr lang="en-US" dirty="0"/>
          </a:p>
        </p:txBody>
      </p:sp>
      <p:sp>
        <p:nvSpPr>
          <p:cNvPr id="12" name="제목 1"/>
          <p:cNvSpPr txBox="1">
            <a:spLocks/>
          </p:cNvSpPr>
          <p:nvPr/>
        </p:nvSpPr>
        <p:spPr>
          <a:xfrm>
            <a:off x="339798" y="67260"/>
            <a:ext cx="11558160" cy="875199"/>
          </a:xfrm>
          <a:prstGeom prst="rect">
            <a:avLst/>
          </a:prstGeom>
          <a:solidFill>
            <a:srgbClr val="0070C0"/>
          </a:solidFill>
        </p:spPr>
        <p:txBody>
          <a:bodyPr vert="horz" lIns="91440" tIns="45720" rIns="91440" bIns="45720" rtlCol="0" anchor="ctr">
            <a:normAutofit fontScale="92500" lnSpcReduction="10000"/>
          </a:bodyPr>
          <a:lstStyle>
            <a:lvl1pPr algn="l" defTabSz="914400" rtl="0" eaLnBrk="1" latinLnBrk="1" hangingPunct="1">
              <a:lnSpc>
                <a:spcPct val="85000"/>
              </a:lnSpc>
              <a:spcBef>
                <a:spcPct val="0"/>
              </a:spcBef>
              <a:buNone/>
              <a:defRPr sz="5400" kern="1200" spc="-120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altLang="ko-KR" sz="3600" b="1" kern="0" dirty="0">
                <a:solidFill>
                  <a:schemeClr val="bg1"/>
                </a:solidFill>
                <a:latin typeface="+mj-ea"/>
              </a:rPr>
              <a:t> </a:t>
            </a:r>
            <a:endParaRPr lang="en-US" altLang="ko-KR" sz="3600" b="1" kern="0" dirty="0" smtClean="0">
              <a:solidFill>
                <a:schemeClr val="bg1"/>
              </a:solidFill>
              <a:latin typeface="+mj-ea"/>
            </a:endParaRPr>
          </a:p>
          <a:p>
            <a:r>
              <a:rPr lang="en-US" altLang="ko-KR" sz="3600" b="1" kern="0" dirty="0" smtClean="0">
                <a:solidFill>
                  <a:schemeClr val="bg1"/>
                </a:solidFill>
                <a:latin typeface="+mj-ea"/>
              </a:rPr>
              <a:t>IV</a:t>
            </a:r>
            <a:r>
              <a:rPr lang="en-US" altLang="ko-KR" sz="3600" b="1" kern="0" dirty="0">
                <a:solidFill>
                  <a:schemeClr val="bg1"/>
                </a:solidFill>
                <a:latin typeface="+mj-ea"/>
              </a:rPr>
              <a:t>. </a:t>
            </a:r>
            <a:r>
              <a:rPr lang="ko-KR" altLang="en-US" sz="3600" b="1" kern="0" dirty="0" smtClean="0">
                <a:solidFill>
                  <a:schemeClr val="bg1"/>
                </a:solidFill>
                <a:latin typeface="+mj-ea"/>
              </a:rPr>
              <a:t>유통 산업 내 활용전략</a:t>
            </a:r>
            <a:endParaRPr lang="en-US" altLang="ko-KR" sz="3600" b="1" kern="0" dirty="0">
              <a:solidFill>
                <a:schemeClr val="bg1"/>
              </a:solidFill>
              <a:latin typeface="+mj-ea"/>
            </a:endParaRPr>
          </a:p>
          <a:p>
            <a:endParaRPr lang="ko-KR" altLang="en-US" sz="3600" dirty="0">
              <a:solidFill>
                <a:schemeClr val="bg1"/>
              </a:solidFill>
              <a:latin typeface="HY강B" panose="02030600000101010101" pitchFamily="18" charset="-127"/>
              <a:ea typeface="HY강B" panose="02030600000101010101" pitchFamily="18" charset="-127"/>
            </a:endParaRPr>
          </a:p>
        </p:txBody>
      </p:sp>
      <p:graphicFrame>
        <p:nvGraphicFramePr>
          <p:cNvPr id="3" name="다이어그램 2"/>
          <p:cNvGraphicFramePr/>
          <p:nvPr>
            <p:extLst>
              <p:ext uri="{D42A27DB-BD31-4B8C-83A1-F6EECF244321}">
                <p14:modId xmlns:p14="http://schemas.microsoft.com/office/powerpoint/2010/main" val="1915956854"/>
              </p:ext>
            </p:extLst>
          </p:nvPr>
        </p:nvGraphicFramePr>
        <p:xfrm>
          <a:off x="1003299" y="1976861"/>
          <a:ext cx="10136555" cy="410731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293300529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날짜 개체 틀 2">
            <a:extLst>
              <a:ext uri="{FF2B5EF4-FFF2-40B4-BE49-F238E27FC236}">
                <a16:creationId xmlns:a16="http://schemas.microsoft.com/office/drawing/2014/main" id="{8BEC0EEF-E580-1F75-2490-8A8B2F4D11C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FC9B95B-9606-41FD-9410-F2B308BBF263}" type="datetime1">
              <a:rPr lang="en-US" altLang="ko-KR" smtClean="0"/>
              <a:t>6/22/2023</a:t>
            </a:fld>
            <a:endParaRPr lang="en-US" dirty="0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818822C7-2AE3-D865-2FBC-85D609571C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smtClean="0"/>
              <a:t>31</a:t>
            </a:fld>
            <a:endParaRPr lang="en-US" dirty="0"/>
          </a:p>
        </p:txBody>
      </p:sp>
      <p:graphicFrame>
        <p:nvGraphicFramePr>
          <p:cNvPr id="9" name="다이어그램 8">
            <a:extLst>
              <a:ext uri="{FF2B5EF4-FFF2-40B4-BE49-F238E27FC236}">
                <a16:creationId xmlns:a16="http://schemas.microsoft.com/office/drawing/2014/main" id="{4CDAA269-3142-041D-7BFB-15BBAC617EC6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041067535"/>
              </p:ext>
            </p:extLst>
          </p:nvPr>
        </p:nvGraphicFramePr>
        <p:xfrm>
          <a:off x="339798" y="1665626"/>
          <a:ext cx="9098034" cy="518550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13" name="TextBox 12">
            <a:extLst>
              <a:ext uri="{FF2B5EF4-FFF2-40B4-BE49-F238E27FC236}">
                <a16:creationId xmlns:a16="http://schemas.microsoft.com/office/drawing/2014/main" id="{F9BAB9F2-05CC-013F-83C9-932A636B7344}"/>
              </a:ext>
            </a:extLst>
          </p:cNvPr>
          <p:cNvSpPr txBox="1"/>
          <p:nvPr/>
        </p:nvSpPr>
        <p:spPr>
          <a:xfrm>
            <a:off x="9648444" y="2397853"/>
            <a:ext cx="2543556" cy="378565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square">
            <a:spAutoFit/>
          </a:bodyPr>
          <a:lstStyle/>
          <a:p>
            <a:pPr marL="457200" indent="-457200" latinLnBrk="1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ko-KR" altLang="en-US" sz="2000" dirty="0" smtClean="0">
                <a:latin typeface="휴먼엑스포" panose="02030504000101010101" pitchFamily="18" charset="-127"/>
                <a:ea typeface="휴먼엑스포" panose="02030504000101010101" pitchFamily="18" charset="-127"/>
              </a:rPr>
              <a:t>인력구조 </a:t>
            </a:r>
            <a:r>
              <a:rPr lang="ko-KR" altLang="en-US" sz="2000" dirty="0" smtClean="0">
                <a:latin typeface="휴먼엑스포" panose="02030504000101010101" pitchFamily="18" charset="-127"/>
                <a:ea typeface="휴먼엑스포" panose="02030504000101010101" pitchFamily="18" charset="-127"/>
              </a:rPr>
              <a:t>변화</a:t>
            </a:r>
            <a:endParaRPr lang="en-US" altLang="ko-KR" sz="2000" dirty="0" smtClean="0">
              <a:latin typeface="휴먼엑스포" panose="02030504000101010101" pitchFamily="18" charset="-127"/>
              <a:ea typeface="휴먼엑스포" panose="02030504000101010101" pitchFamily="18" charset="-127"/>
            </a:endParaRPr>
          </a:p>
          <a:p>
            <a:pPr marL="457200" indent="-457200" latinLnBrk="1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ko-KR" altLang="en-US" sz="2000" dirty="0" err="1" smtClean="0">
                <a:latin typeface="휴먼엑스포" panose="02030504000101010101" pitchFamily="18" charset="-127"/>
                <a:ea typeface="휴먼엑스포" panose="02030504000101010101" pitchFamily="18" charset="-127"/>
              </a:rPr>
              <a:t>뉴</a:t>
            </a:r>
            <a:r>
              <a:rPr lang="ko-KR" altLang="en-US" sz="2000" dirty="0" smtClean="0">
                <a:latin typeface="휴먼엑스포" panose="02030504000101010101" pitchFamily="18" charset="-127"/>
                <a:ea typeface="휴먼엑스포" panose="02030504000101010101" pitchFamily="18" charset="-127"/>
              </a:rPr>
              <a:t> 비즈니스창조</a:t>
            </a:r>
            <a:endParaRPr lang="en-US" altLang="ko-KR" sz="2000" dirty="0">
              <a:latin typeface="휴먼엑스포" panose="02030504000101010101" pitchFamily="18" charset="-127"/>
              <a:ea typeface="휴먼엑스포" panose="02030504000101010101" pitchFamily="18" charset="-127"/>
            </a:endParaRPr>
          </a:p>
          <a:p>
            <a:pPr marL="457200" indent="-457200" latinLnBrk="1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ko-KR" altLang="en-US" sz="2000" dirty="0" smtClean="0">
                <a:latin typeface="휴먼엑스포" panose="02030504000101010101" pitchFamily="18" charset="-127"/>
                <a:ea typeface="휴먼엑스포" panose="02030504000101010101" pitchFamily="18" charset="-127"/>
              </a:rPr>
              <a:t>신 산업화</a:t>
            </a:r>
            <a:endParaRPr lang="en-US" altLang="ko-KR" sz="2000" dirty="0" smtClean="0">
              <a:latin typeface="휴먼엑스포" panose="02030504000101010101" pitchFamily="18" charset="-127"/>
              <a:ea typeface="휴먼엑스포" panose="02030504000101010101" pitchFamily="18" charset="-127"/>
            </a:endParaRPr>
          </a:p>
          <a:p>
            <a:pPr marL="457200" indent="-457200" latinLnBrk="1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ko-KR" altLang="en-US" sz="2000" dirty="0" smtClean="0">
                <a:latin typeface="휴먼엑스포" panose="02030504000101010101" pitchFamily="18" charset="-127"/>
                <a:ea typeface="휴먼엑스포" panose="02030504000101010101" pitchFamily="18" charset="-127"/>
              </a:rPr>
              <a:t>새로운 일자리</a:t>
            </a:r>
            <a:endParaRPr lang="en-US" altLang="ko-KR" sz="2000" dirty="0" smtClean="0">
              <a:latin typeface="휴먼엑스포" panose="02030504000101010101" pitchFamily="18" charset="-127"/>
              <a:ea typeface="휴먼엑스포" panose="02030504000101010101" pitchFamily="18" charset="-127"/>
            </a:endParaRPr>
          </a:p>
          <a:p>
            <a:pPr marL="457200" indent="-457200" latinLnBrk="1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ko-KR" altLang="en-US" sz="2000" dirty="0" smtClean="0">
                <a:latin typeface="휴먼엑스포" panose="02030504000101010101" pitchFamily="18" charset="-127"/>
                <a:ea typeface="휴먼엑스포" panose="02030504000101010101" pitchFamily="18" charset="-127"/>
              </a:rPr>
              <a:t>교육제도</a:t>
            </a:r>
            <a:endParaRPr lang="en-US" altLang="ko-KR" sz="2000" dirty="0" smtClean="0">
              <a:latin typeface="휴먼엑스포" panose="02030504000101010101" pitchFamily="18" charset="-127"/>
              <a:ea typeface="휴먼엑스포" panose="02030504000101010101" pitchFamily="18" charset="-127"/>
            </a:endParaRPr>
          </a:p>
          <a:p>
            <a:pPr marL="457200" indent="-457200" latinLnBrk="1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ko-KR" altLang="en-US" sz="2000" i="1" u="sng" dirty="0" smtClean="0">
                <a:latin typeface="휴먼엑스포" panose="02030504000101010101" pitchFamily="18" charset="-127"/>
                <a:ea typeface="휴먼엑스포" panose="02030504000101010101" pitchFamily="18" charset="-127"/>
              </a:rPr>
              <a:t>한국 국민경제와 유통산업의 경쟁력 좌우 </a:t>
            </a:r>
            <a:r>
              <a:rPr lang="ko-KR" altLang="en-US" sz="2000" i="1" u="sng" dirty="0" smtClean="0">
                <a:latin typeface="휴먼엑스포" panose="02030504000101010101" pitchFamily="18" charset="-127"/>
                <a:ea typeface="휴먼엑스포" panose="02030504000101010101" pitchFamily="18" charset="-127"/>
              </a:rPr>
              <a:t>  </a:t>
            </a:r>
            <a:endParaRPr lang="en-US" altLang="ko-KR" sz="2000" i="1" u="sng" dirty="0">
              <a:latin typeface="휴먼엑스포" panose="02030504000101010101" pitchFamily="18" charset="-127"/>
              <a:ea typeface="휴먼엑스포" panose="02030504000101010101" pitchFamily="18" charset="-127"/>
            </a:endParaRPr>
          </a:p>
        </p:txBody>
      </p:sp>
      <p:sp>
        <p:nvSpPr>
          <p:cNvPr id="5" name="직사각형 4"/>
          <p:cNvSpPr/>
          <p:nvPr/>
        </p:nvSpPr>
        <p:spPr>
          <a:xfrm>
            <a:off x="5222488" y="1940312"/>
            <a:ext cx="3263590" cy="17543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 fontAlgn="base">
              <a:buFont typeface="Arial" panose="020B0604020202020204" pitchFamily="34" charset="0"/>
              <a:buChar char="•"/>
            </a:pPr>
            <a:r>
              <a:rPr lang="ko-KR" altLang="en-US" b="1" kern="100" dirty="0" smtClean="0">
                <a:solidFill>
                  <a:srgbClr val="000000"/>
                </a:solidFill>
                <a:latin typeface="+mn-ea"/>
              </a:rPr>
              <a:t>검색포털</a:t>
            </a:r>
            <a:r>
              <a:rPr lang="en-US" altLang="ko-KR" b="1" kern="100" dirty="0" smtClean="0">
                <a:solidFill>
                  <a:srgbClr val="000000"/>
                </a:solidFill>
                <a:latin typeface="+mn-ea"/>
              </a:rPr>
              <a:t>/</a:t>
            </a:r>
          </a:p>
          <a:p>
            <a:pPr marL="285750" indent="-285750" fontAlgn="base">
              <a:buFont typeface="Arial" panose="020B0604020202020204" pitchFamily="34" charset="0"/>
              <a:buChar char="•"/>
            </a:pPr>
            <a:r>
              <a:rPr lang="ko-KR" altLang="en-US" b="1" kern="100" dirty="0" err="1" smtClean="0">
                <a:solidFill>
                  <a:srgbClr val="000000"/>
                </a:solidFill>
                <a:latin typeface="+mn-ea"/>
              </a:rPr>
              <a:t>소셜미디어</a:t>
            </a:r>
            <a:r>
              <a:rPr lang="en-US" altLang="ko-KR" b="1" kern="100" dirty="0" smtClean="0">
                <a:solidFill>
                  <a:srgbClr val="000000"/>
                </a:solidFill>
                <a:latin typeface="+mn-ea"/>
              </a:rPr>
              <a:t>/</a:t>
            </a:r>
          </a:p>
          <a:p>
            <a:pPr marL="285750" indent="-285750" fontAlgn="base">
              <a:buFont typeface="Arial" panose="020B0604020202020204" pitchFamily="34" charset="0"/>
              <a:buChar char="•"/>
            </a:pPr>
            <a:r>
              <a:rPr lang="ko-KR" altLang="en-US" b="1" kern="100" dirty="0" smtClean="0">
                <a:solidFill>
                  <a:srgbClr val="000000"/>
                </a:solidFill>
                <a:latin typeface="+mn-ea"/>
              </a:rPr>
              <a:t>거래데이터</a:t>
            </a:r>
            <a:r>
              <a:rPr lang="en-US" altLang="ko-KR" b="1" kern="100" dirty="0" smtClean="0">
                <a:solidFill>
                  <a:srgbClr val="000000"/>
                </a:solidFill>
                <a:latin typeface="+mn-ea"/>
              </a:rPr>
              <a:t>/</a:t>
            </a:r>
          </a:p>
          <a:p>
            <a:pPr marL="285750" indent="-285750" fontAlgn="base">
              <a:buFont typeface="Arial" panose="020B0604020202020204" pitchFamily="34" charset="0"/>
              <a:buChar char="•"/>
            </a:pPr>
            <a:r>
              <a:rPr lang="ko-KR" altLang="en-US" b="1" kern="100" dirty="0" smtClean="0">
                <a:solidFill>
                  <a:srgbClr val="000000"/>
                </a:solidFill>
                <a:latin typeface="+mn-ea"/>
              </a:rPr>
              <a:t>센스네트워크</a:t>
            </a:r>
            <a:r>
              <a:rPr lang="en-US" altLang="ko-KR" b="1" kern="100" dirty="0">
                <a:solidFill>
                  <a:srgbClr val="000000"/>
                </a:solidFill>
                <a:latin typeface="+mn-ea"/>
              </a:rPr>
              <a:t>/</a:t>
            </a:r>
            <a:r>
              <a:rPr lang="ko-KR" altLang="en-US" b="1" kern="100" dirty="0" err="1">
                <a:solidFill>
                  <a:srgbClr val="000000"/>
                </a:solidFill>
                <a:latin typeface="+mn-ea"/>
              </a:rPr>
              <a:t>모바일</a:t>
            </a:r>
            <a:endParaRPr lang="ko-KR" altLang="en-US" b="1" kern="100" dirty="0">
              <a:solidFill>
                <a:srgbClr val="000000"/>
              </a:solidFill>
              <a:latin typeface="+mn-ea"/>
            </a:endParaRPr>
          </a:p>
          <a:p>
            <a:pPr marL="285750" indent="-285750" fontAlgn="base">
              <a:buFont typeface="Arial" panose="020B0604020202020204" pitchFamily="34" charset="0"/>
              <a:buChar char="•"/>
            </a:pPr>
            <a:r>
              <a:rPr lang="en-US" altLang="ko-KR" b="1" kern="100" dirty="0">
                <a:solidFill>
                  <a:srgbClr val="000000"/>
                </a:solidFill>
                <a:latin typeface="+mn-ea"/>
              </a:rPr>
              <a:t>/</a:t>
            </a:r>
            <a:r>
              <a:rPr lang="en-US" altLang="ko-KR" b="1" kern="100" dirty="0" smtClean="0">
                <a:solidFill>
                  <a:srgbClr val="000000"/>
                </a:solidFill>
                <a:latin typeface="+mn-ea"/>
              </a:rPr>
              <a:t>Monitoring/Tracking </a:t>
            </a:r>
            <a:r>
              <a:rPr lang="en-US" altLang="ko-KR" b="1" kern="100" dirty="0" err="1" smtClean="0">
                <a:solidFill>
                  <a:srgbClr val="000000"/>
                </a:solidFill>
                <a:latin typeface="+mn-ea"/>
              </a:rPr>
              <a:t>emd</a:t>
            </a:r>
            <a:r>
              <a:rPr lang="en-US" altLang="ko-KR" kern="100" dirty="0" smtClean="0">
                <a:solidFill>
                  <a:srgbClr val="000000"/>
                </a:solidFill>
                <a:latin typeface="맑은 고딕" panose="020B0503020000020004" pitchFamily="50" charset="-127"/>
              </a:rPr>
              <a:t>  </a:t>
            </a:r>
            <a:r>
              <a:rPr lang="ko-KR" altLang="en-US" kern="100" dirty="0" smtClean="0">
                <a:solidFill>
                  <a:srgbClr val="000000"/>
                </a:solidFill>
                <a:latin typeface="맑은 고딕" panose="020B0503020000020004" pitchFamily="50" charset="-127"/>
              </a:rPr>
              <a:t>활성화 수준 </a:t>
            </a:r>
            <a:r>
              <a:rPr lang="en-US" altLang="ko-KR" kern="100" dirty="0" smtClean="0">
                <a:solidFill>
                  <a:srgbClr val="000000"/>
                </a:solidFill>
                <a:latin typeface="맑은 고딕" panose="020B0503020000020004" pitchFamily="50" charset="-127"/>
              </a:rPr>
              <a:t> </a:t>
            </a:r>
            <a:endParaRPr lang="ko-KR" altLang="en-US" sz="2400" kern="0" spc="0" dirty="0">
              <a:solidFill>
                <a:srgbClr val="000000"/>
              </a:solidFill>
              <a:effectLst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5646697" y="5018048"/>
            <a:ext cx="3458113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ko-KR" b="1" dirty="0" smtClean="0"/>
              <a:t>Big</a:t>
            </a:r>
            <a:r>
              <a:rPr lang="ko-KR" altLang="en-US" b="1" dirty="0" smtClean="0"/>
              <a:t> </a:t>
            </a:r>
            <a:r>
              <a:rPr lang="en-US" altLang="ko-KR" b="1" dirty="0" smtClean="0"/>
              <a:t>Data  &amp; </a:t>
            </a:r>
            <a:r>
              <a:rPr lang="en-US" altLang="ko-KR" b="1" dirty="0" smtClean="0"/>
              <a:t> </a:t>
            </a:r>
            <a:r>
              <a:rPr lang="en-US" altLang="ko-KR" b="1" dirty="0" smtClean="0"/>
              <a:t>AI </a:t>
            </a:r>
            <a:r>
              <a:rPr lang="en-US" altLang="ko-KR" b="1" dirty="0" smtClean="0"/>
              <a:t> </a:t>
            </a:r>
            <a:r>
              <a:rPr lang="ko-KR" altLang="en-US" b="1" dirty="0" err="1" smtClean="0"/>
              <a:t>응용수준</a:t>
            </a:r>
            <a:r>
              <a:rPr lang="ko-KR" altLang="en-US" b="1" dirty="0" smtClean="0"/>
              <a:t> </a:t>
            </a:r>
            <a:r>
              <a:rPr lang="ko-KR" altLang="en-US" b="1" dirty="0" err="1" smtClean="0"/>
              <a:t>빚니스의</a:t>
            </a:r>
            <a:r>
              <a:rPr lang="en-US" altLang="ko-KR" b="1" dirty="0" smtClean="0"/>
              <a:t> </a:t>
            </a:r>
            <a:r>
              <a:rPr lang="ko-KR" altLang="en-US" b="1" dirty="0" smtClean="0"/>
              <a:t>확산 수준  </a:t>
            </a:r>
            <a:r>
              <a:rPr lang="en-US" altLang="ko-KR" b="1" dirty="0" smtClean="0"/>
              <a:t> </a:t>
            </a:r>
            <a:endParaRPr lang="en-US" altLang="ko-KR" b="1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ko-KR" altLang="en-US" b="1" dirty="0" smtClean="0"/>
              <a:t>표준화</a:t>
            </a:r>
            <a:r>
              <a:rPr lang="en-US" altLang="ko-KR" b="1" dirty="0" smtClean="0"/>
              <a:t> </a:t>
            </a:r>
            <a:r>
              <a:rPr lang="ko-KR" altLang="en-US" b="1" dirty="0" smtClean="0"/>
              <a:t>기술</a:t>
            </a:r>
            <a:endParaRPr lang="en-US" altLang="ko-KR" b="1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ko-KR" altLang="en-US" b="1" dirty="0" smtClean="0"/>
              <a:t>보안기술 </a:t>
            </a:r>
            <a:endParaRPr lang="en-US" altLang="ko-KR" b="1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ko-KR" altLang="en-US" b="1" dirty="0" smtClean="0"/>
              <a:t>윤리적 </a:t>
            </a:r>
            <a:r>
              <a:rPr lang="en-US" altLang="ko-KR" b="1" dirty="0" smtClean="0"/>
              <a:t>/</a:t>
            </a:r>
            <a:r>
              <a:rPr lang="ko-KR" altLang="en-US" b="1" dirty="0" smtClean="0"/>
              <a:t>범죄 예방 규범 수준 </a:t>
            </a:r>
            <a:endParaRPr lang="ko-KR" altLang="en-US" b="1" dirty="0"/>
          </a:p>
        </p:txBody>
      </p:sp>
      <p:sp>
        <p:nvSpPr>
          <p:cNvPr id="15" name="제목 1"/>
          <p:cNvSpPr txBox="1">
            <a:spLocks/>
          </p:cNvSpPr>
          <p:nvPr/>
        </p:nvSpPr>
        <p:spPr>
          <a:xfrm>
            <a:off x="339798" y="100362"/>
            <a:ext cx="11503440" cy="942099"/>
          </a:xfrm>
          <a:prstGeom prst="rect">
            <a:avLst/>
          </a:prstGeom>
          <a:solidFill>
            <a:srgbClr val="0070C0"/>
          </a:solidFill>
        </p:spPr>
        <p:txBody>
          <a:bodyPr vert="horz" lIns="91440" tIns="45720" rIns="91440" bIns="45720" rtlCol="0" anchor="ctr">
            <a:normAutofit lnSpcReduction="10000"/>
          </a:bodyPr>
          <a:lstStyle>
            <a:lvl1pPr algn="l" defTabSz="914400" rtl="0" eaLnBrk="1" latinLnBrk="1" hangingPunct="1">
              <a:lnSpc>
                <a:spcPct val="85000"/>
              </a:lnSpc>
              <a:spcBef>
                <a:spcPct val="0"/>
              </a:spcBef>
              <a:buNone/>
              <a:defRPr sz="5400" kern="1200" spc="-120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altLang="ko-KR" sz="3600" b="1" kern="0" dirty="0">
                <a:solidFill>
                  <a:schemeClr val="bg1"/>
                </a:solidFill>
                <a:latin typeface="+mj-ea"/>
              </a:rPr>
              <a:t> </a:t>
            </a:r>
            <a:endParaRPr lang="en-US" altLang="ko-KR" sz="3600" b="1" kern="0" dirty="0" smtClean="0">
              <a:solidFill>
                <a:schemeClr val="bg1"/>
              </a:solidFill>
              <a:latin typeface="+mj-ea"/>
            </a:endParaRPr>
          </a:p>
          <a:p>
            <a:r>
              <a:rPr lang="en-US" altLang="ko-KR" sz="3200" b="1" kern="0" dirty="0" smtClean="0">
                <a:solidFill>
                  <a:schemeClr val="bg1"/>
                </a:solidFill>
                <a:latin typeface="+mj-ea"/>
              </a:rPr>
              <a:t>IV</a:t>
            </a:r>
            <a:r>
              <a:rPr lang="en-US" altLang="ko-KR" sz="3200" b="1" kern="0" dirty="0">
                <a:solidFill>
                  <a:schemeClr val="bg1"/>
                </a:solidFill>
                <a:latin typeface="+mj-ea"/>
              </a:rPr>
              <a:t>. </a:t>
            </a:r>
            <a:r>
              <a:rPr lang="ko-KR" altLang="en-US" sz="3200" b="1" kern="0" dirty="0" smtClean="0">
                <a:solidFill>
                  <a:schemeClr val="bg1"/>
                </a:solidFill>
                <a:latin typeface="+mj-ea"/>
              </a:rPr>
              <a:t>유통 산업 내 정부지원 </a:t>
            </a:r>
            <a:r>
              <a:rPr lang="ko-KR" altLang="en-US" sz="3200" b="1" kern="0" dirty="0">
                <a:solidFill>
                  <a:schemeClr val="bg1"/>
                </a:solidFill>
                <a:latin typeface="+mj-ea"/>
              </a:rPr>
              <a:t>정책제안  </a:t>
            </a:r>
            <a:endParaRPr lang="en-US" altLang="ko-KR" sz="3200" b="1" kern="0" dirty="0">
              <a:solidFill>
                <a:schemeClr val="bg1"/>
              </a:solidFill>
              <a:latin typeface="+mj-ea"/>
            </a:endParaRPr>
          </a:p>
          <a:p>
            <a:endParaRPr lang="ko-KR" altLang="en-US" sz="3300" dirty="0">
              <a:solidFill>
                <a:schemeClr val="bg1"/>
              </a:solidFill>
              <a:latin typeface="HY강B" panose="02030600000101010101" pitchFamily="18" charset="-127"/>
              <a:ea typeface="HY강B" panose="02030600000101010101" pitchFamily="18" charset="-127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339798" y="1268560"/>
            <a:ext cx="10980507" cy="461665"/>
          </a:xfrm>
          <a:prstGeom prst="rect">
            <a:avLst/>
          </a:prstGeom>
          <a:solidFill>
            <a:srgbClr val="002060"/>
          </a:solidFill>
        </p:spPr>
        <p:txBody>
          <a:bodyPr wrap="square" rtlCol="0">
            <a:spAutoFit/>
          </a:bodyPr>
          <a:lstStyle/>
          <a:p>
            <a:r>
              <a:rPr lang="ko-KR" altLang="en-US" sz="2400" b="1" dirty="0" smtClean="0">
                <a:solidFill>
                  <a:schemeClr val="bg1"/>
                </a:solidFill>
              </a:rPr>
              <a:t>빅데이터 </a:t>
            </a:r>
            <a:r>
              <a:rPr lang="ko-KR" altLang="en-US" sz="2400" b="1" dirty="0" smtClean="0">
                <a:solidFill>
                  <a:schemeClr val="bg1"/>
                </a:solidFill>
              </a:rPr>
              <a:t> </a:t>
            </a:r>
            <a:r>
              <a:rPr lang="en-US" altLang="ko-KR" sz="2400" b="1" dirty="0" smtClean="0">
                <a:solidFill>
                  <a:schemeClr val="bg1"/>
                </a:solidFill>
              </a:rPr>
              <a:t>AI </a:t>
            </a:r>
            <a:r>
              <a:rPr lang="ko-KR" altLang="en-US" sz="2400" b="1" dirty="0" smtClean="0">
                <a:solidFill>
                  <a:schemeClr val="bg1"/>
                </a:solidFill>
              </a:rPr>
              <a:t>생태계의  </a:t>
            </a:r>
            <a:r>
              <a:rPr lang="ko-KR" altLang="en-US" sz="2400" b="1" dirty="0" smtClean="0">
                <a:solidFill>
                  <a:schemeClr val="bg1"/>
                </a:solidFill>
              </a:rPr>
              <a:t>발전을 위한  </a:t>
            </a:r>
            <a:r>
              <a:rPr lang="ko-KR" altLang="en-US" sz="2400" b="1" dirty="0" err="1" smtClean="0">
                <a:solidFill>
                  <a:schemeClr val="bg1"/>
                </a:solidFill>
              </a:rPr>
              <a:t>영향요인의</a:t>
            </a:r>
            <a:r>
              <a:rPr lang="ko-KR" altLang="en-US" sz="2400" b="1" dirty="0" smtClean="0">
                <a:solidFill>
                  <a:schemeClr val="bg1"/>
                </a:solidFill>
              </a:rPr>
              <a:t> </a:t>
            </a:r>
            <a:r>
              <a:rPr lang="ko-KR" altLang="en-US" sz="2400" b="1" dirty="0" smtClean="0">
                <a:solidFill>
                  <a:schemeClr val="bg1"/>
                </a:solidFill>
              </a:rPr>
              <a:t>수준 유통산업의</a:t>
            </a:r>
            <a:r>
              <a:rPr lang="en-US" altLang="ko-KR" sz="2400" b="1" dirty="0" smtClean="0">
                <a:solidFill>
                  <a:schemeClr val="bg1"/>
                </a:solidFill>
              </a:rPr>
              <a:t> </a:t>
            </a:r>
            <a:r>
              <a:rPr lang="ko-KR" altLang="en-US" sz="2400" b="1" dirty="0" smtClean="0">
                <a:solidFill>
                  <a:schemeClr val="bg1"/>
                </a:solidFill>
              </a:rPr>
              <a:t>경쟁력 좌우  </a:t>
            </a:r>
            <a:endParaRPr lang="ko-KR" altLang="en-US" sz="24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43915173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다이어그램 6"/>
          <p:cNvGraphicFramePr/>
          <p:nvPr>
            <p:extLst>
              <p:ext uri="{D42A27DB-BD31-4B8C-83A1-F6EECF244321}">
                <p14:modId xmlns:p14="http://schemas.microsoft.com/office/powerpoint/2010/main" val="2940754003"/>
              </p:ext>
            </p:extLst>
          </p:nvPr>
        </p:nvGraphicFramePr>
        <p:xfrm>
          <a:off x="3602372" y="1983061"/>
          <a:ext cx="8128000" cy="541866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339798" y="100362"/>
            <a:ext cx="11558160" cy="1047718"/>
          </a:xfrm>
          <a:solidFill>
            <a:srgbClr val="0070C0"/>
          </a:solidFill>
        </p:spPr>
        <p:txBody>
          <a:bodyPr>
            <a:normAutofit fontScale="90000"/>
          </a:bodyPr>
          <a:lstStyle/>
          <a:p>
            <a:r>
              <a:rPr lang="en-US" altLang="ko-KR" sz="3600" b="1" kern="0" dirty="0" smtClean="0">
                <a:solidFill>
                  <a:schemeClr val="bg1"/>
                </a:solidFill>
                <a:latin typeface="+mj-ea"/>
              </a:rPr>
              <a:t>IV</a:t>
            </a:r>
            <a:r>
              <a:rPr lang="en-US" altLang="ko-KR" sz="3600" b="1" kern="0" dirty="0">
                <a:solidFill>
                  <a:schemeClr val="bg1"/>
                </a:solidFill>
                <a:latin typeface="+mj-ea"/>
              </a:rPr>
              <a:t>. </a:t>
            </a:r>
            <a:r>
              <a:rPr lang="ko-KR" altLang="en-US" sz="3600" b="1" kern="0" dirty="0">
                <a:solidFill>
                  <a:schemeClr val="bg1"/>
                </a:solidFill>
                <a:latin typeface="+mj-ea"/>
              </a:rPr>
              <a:t>전략 및 정책시사점 </a:t>
            </a:r>
            <a:r>
              <a:rPr lang="en-US" altLang="ko-KR" sz="3600" b="1" kern="0" dirty="0">
                <a:solidFill>
                  <a:schemeClr val="bg1"/>
                </a:solidFill>
                <a:latin typeface="+mj-ea"/>
              </a:rPr>
              <a:t/>
            </a:r>
            <a:br>
              <a:rPr lang="en-US" altLang="ko-KR" sz="3600" b="1" kern="0" dirty="0">
                <a:solidFill>
                  <a:schemeClr val="bg1"/>
                </a:solidFill>
                <a:latin typeface="+mj-ea"/>
              </a:rPr>
            </a:br>
            <a:endParaRPr lang="ko-KR" altLang="en-US" sz="3600" dirty="0">
              <a:solidFill>
                <a:schemeClr val="bg1"/>
              </a:solidFill>
              <a:latin typeface="HY강B" panose="02030600000101010101" pitchFamily="18" charset="-127"/>
              <a:ea typeface="HY강B" panose="02030600000101010101" pitchFamily="18" charset="-127"/>
            </a:endParaRPr>
          </a:p>
        </p:txBody>
      </p:sp>
      <p:sp>
        <p:nvSpPr>
          <p:cNvPr id="3" name="날짜 개체 틀 2">
            <a:extLst>
              <a:ext uri="{FF2B5EF4-FFF2-40B4-BE49-F238E27FC236}">
                <a16:creationId xmlns:a16="http://schemas.microsoft.com/office/drawing/2014/main" id="{8BEC0EEF-E580-1F75-2490-8A8B2F4D11C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FC9B95B-9606-41FD-9410-F2B308BBF263}" type="datetime1">
              <a:rPr lang="en-US" altLang="ko-KR" smtClean="0"/>
              <a:t>6/22/2023</a:t>
            </a:fld>
            <a:endParaRPr lang="en-US" dirty="0"/>
          </a:p>
        </p:txBody>
      </p:sp>
      <p:sp>
        <p:nvSpPr>
          <p:cNvPr id="6" name="TextBox 5"/>
          <p:cNvSpPr txBox="1"/>
          <p:nvPr/>
        </p:nvSpPr>
        <p:spPr>
          <a:xfrm>
            <a:off x="254977" y="1430016"/>
            <a:ext cx="4965107" cy="830997"/>
          </a:xfrm>
          <a:prstGeom prst="rect">
            <a:avLst/>
          </a:prstGeom>
          <a:solidFill>
            <a:srgbClr val="002060"/>
          </a:solidFill>
        </p:spPr>
        <p:txBody>
          <a:bodyPr wrap="square" rtlCol="0">
            <a:spAutoFit/>
          </a:bodyPr>
          <a:lstStyle/>
          <a:p>
            <a:r>
              <a:rPr lang="ko-KR" altLang="en-US" sz="2400" dirty="0">
                <a:solidFill>
                  <a:schemeClr val="bg1"/>
                </a:solidFill>
              </a:rPr>
              <a:t>  </a:t>
            </a:r>
            <a:r>
              <a:rPr lang="ko-KR" altLang="en-US" sz="2400" dirty="0">
                <a:solidFill>
                  <a:schemeClr val="bg1"/>
                </a:solidFill>
                <a:latin typeface="Nanum Barun Gothic"/>
              </a:rPr>
              <a:t>‘</a:t>
            </a:r>
            <a:r>
              <a:rPr lang="ko-KR" altLang="en-US" sz="2400" dirty="0" err="1">
                <a:solidFill>
                  <a:schemeClr val="bg1"/>
                </a:solidFill>
                <a:latin typeface="Nanum Barun Gothic"/>
              </a:rPr>
              <a:t>빅데이터</a:t>
            </a:r>
            <a:r>
              <a:rPr lang="en-US" altLang="ko-KR" sz="2400" dirty="0">
                <a:solidFill>
                  <a:schemeClr val="bg1"/>
                </a:solidFill>
                <a:latin typeface="Nanum Barun Gothic"/>
              </a:rPr>
              <a:t> &amp; AI</a:t>
            </a:r>
            <a:r>
              <a:rPr lang="ko-KR" altLang="en-US" sz="2400" b="1" dirty="0">
                <a:solidFill>
                  <a:schemeClr val="bg1"/>
                </a:solidFill>
                <a:latin typeface="Nanum Barun Gothic"/>
              </a:rPr>
              <a:t> 국가 전략’을 실현</a:t>
            </a:r>
            <a:endParaRPr lang="ko-KR" altLang="en-US" sz="2400" b="1" dirty="0">
              <a:solidFill>
                <a:schemeClr val="bg1"/>
              </a:solidFill>
            </a:endParaRPr>
          </a:p>
          <a:p>
            <a:endParaRPr lang="ko-KR" altLang="en-US" sz="2400" dirty="0">
              <a:solidFill>
                <a:schemeClr val="bg1"/>
              </a:solidFill>
            </a:endParaRPr>
          </a:p>
        </p:txBody>
      </p:sp>
      <p:sp>
        <p:nvSpPr>
          <p:cNvPr id="5" name="직사각형 4"/>
          <p:cNvSpPr/>
          <p:nvPr/>
        </p:nvSpPr>
        <p:spPr>
          <a:xfrm>
            <a:off x="795198" y="2544013"/>
            <a:ext cx="3075845" cy="3416320"/>
          </a:xfrm>
          <a:prstGeom prst="rect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ko-KR" dirty="0">
                <a:solidFill>
                  <a:srgbClr val="000000"/>
                </a:solidFill>
                <a:latin typeface="Nanum Barun Gothic"/>
              </a:rPr>
              <a:t>AI </a:t>
            </a:r>
            <a:r>
              <a:rPr lang="ko-KR" altLang="en-US" dirty="0">
                <a:solidFill>
                  <a:srgbClr val="000000"/>
                </a:solidFill>
                <a:latin typeface="Nanum Barun Gothic"/>
              </a:rPr>
              <a:t>융합실태조사</a:t>
            </a:r>
            <a:endParaRPr lang="en-US" altLang="ko-KR" dirty="0">
              <a:solidFill>
                <a:srgbClr val="000000"/>
              </a:solidFill>
              <a:latin typeface="Nanum Barun Gothic"/>
            </a:endParaRPr>
          </a:p>
          <a:p>
            <a:r>
              <a:rPr lang="en-US" altLang="ko-KR" dirty="0">
                <a:solidFill>
                  <a:srgbClr val="000000"/>
                </a:solidFill>
                <a:latin typeface="Nanum Barun Gothic"/>
              </a:rPr>
              <a:t>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ko-KR" altLang="en-US" dirty="0">
                <a:solidFill>
                  <a:srgbClr val="000000"/>
                </a:solidFill>
                <a:latin typeface="Nanum Barun Gothic"/>
              </a:rPr>
              <a:t> </a:t>
            </a:r>
            <a:r>
              <a:rPr lang="en-US" altLang="ko-KR" dirty="0">
                <a:solidFill>
                  <a:srgbClr val="000000"/>
                </a:solidFill>
                <a:latin typeface="Nanum Barun Gothic"/>
              </a:rPr>
              <a:t>AI</a:t>
            </a:r>
            <a:r>
              <a:rPr lang="ko-KR" altLang="en-US" dirty="0">
                <a:solidFill>
                  <a:srgbClr val="000000"/>
                </a:solidFill>
                <a:latin typeface="Nanum Barun Gothic"/>
              </a:rPr>
              <a:t> 국가 경쟁력 지수</a:t>
            </a:r>
            <a:r>
              <a:rPr lang="en-US" altLang="ko-KR" dirty="0">
                <a:solidFill>
                  <a:srgbClr val="000000"/>
                </a:solidFill>
                <a:latin typeface="Nanum Barun Gothic"/>
              </a:rPr>
              <a:t>/</a:t>
            </a:r>
            <a:r>
              <a:rPr lang="ko-KR" altLang="en-US" dirty="0">
                <a:solidFill>
                  <a:srgbClr val="000000"/>
                </a:solidFill>
                <a:latin typeface="Nanum Barun Gothic"/>
              </a:rPr>
              <a:t>대외</a:t>
            </a:r>
            <a:r>
              <a:rPr lang="en-US" altLang="ko-KR" dirty="0">
                <a:solidFill>
                  <a:srgbClr val="000000"/>
                </a:solidFill>
                <a:latin typeface="Nanum Barun Gothic"/>
              </a:rPr>
              <a:t> </a:t>
            </a:r>
            <a:r>
              <a:rPr lang="ko-KR" altLang="en-US" dirty="0">
                <a:solidFill>
                  <a:srgbClr val="000000"/>
                </a:solidFill>
                <a:latin typeface="Nanum Barun Gothic"/>
              </a:rPr>
              <a:t>비교</a:t>
            </a:r>
            <a:endParaRPr lang="en-US" altLang="ko-KR" dirty="0">
              <a:solidFill>
                <a:srgbClr val="000000"/>
              </a:solidFill>
              <a:latin typeface="Nanum Barun Gothic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altLang="ko-KR" dirty="0">
              <a:solidFill>
                <a:srgbClr val="000000"/>
              </a:solidFill>
              <a:latin typeface="Nanum Barun Gothic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ko-KR" dirty="0">
                <a:solidFill>
                  <a:srgbClr val="000000"/>
                </a:solidFill>
                <a:latin typeface="Nanum Barun Gothic"/>
              </a:rPr>
              <a:t>AI</a:t>
            </a:r>
            <a:r>
              <a:rPr lang="ko-KR" altLang="en-US" dirty="0">
                <a:solidFill>
                  <a:srgbClr val="000000"/>
                </a:solidFill>
                <a:latin typeface="Nanum Barun Gothic"/>
              </a:rPr>
              <a:t>경제적 파급효과 추정 </a:t>
            </a:r>
            <a:endParaRPr lang="en-US" altLang="ko-KR" dirty="0">
              <a:solidFill>
                <a:srgbClr val="000000"/>
              </a:solidFill>
              <a:latin typeface="Nanum Barun Gothic"/>
            </a:endParaRPr>
          </a:p>
          <a:p>
            <a:endParaRPr lang="en-US" altLang="ko-KR" dirty="0">
              <a:solidFill>
                <a:srgbClr val="000000"/>
              </a:solidFill>
              <a:latin typeface="Nanum Barun Gothic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ko-KR" dirty="0">
                <a:solidFill>
                  <a:srgbClr val="000000"/>
                </a:solidFill>
                <a:latin typeface="Nanum Barun Gothic"/>
              </a:rPr>
              <a:t>AI</a:t>
            </a:r>
            <a:r>
              <a:rPr lang="ko-KR" altLang="en-US" dirty="0">
                <a:solidFill>
                  <a:srgbClr val="000000"/>
                </a:solidFill>
                <a:latin typeface="Nanum Barun Gothic"/>
              </a:rPr>
              <a:t>을 기반으로 한 </a:t>
            </a:r>
            <a:r>
              <a:rPr lang="en-US" altLang="ko-KR" dirty="0">
                <a:solidFill>
                  <a:srgbClr val="000000"/>
                </a:solidFill>
                <a:latin typeface="Nanum Barun Gothic"/>
              </a:rPr>
              <a:t>DX(</a:t>
            </a:r>
            <a:r>
              <a:rPr lang="ko-KR" altLang="en-US" dirty="0">
                <a:solidFill>
                  <a:srgbClr val="000000"/>
                </a:solidFill>
                <a:latin typeface="Nanum Barun Gothic"/>
              </a:rPr>
              <a:t>디지털 전환</a:t>
            </a:r>
            <a:r>
              <a:rPr lang="en-US" altLang="ko-KR" dirty="0">
                <a:solidFill>
                  <a:srgbClr val="000000"/>
                </a:solidFill>
                <a:latin typeface="Nanum Barun Gothic"/>
              </a:rPr>
              <a:t>)</a:t>
            </a:r>
            <a:r>
              <a:rPr lang="ko-KR" altLang="en-US" dirty="0">
                <a:solidFill>
                  <a:srgbClr val="000000"/>
                </a:solidFill>
                <a:latin typeface="Nanum Barun Gothic"/>
              </a:rPr>
              <a:t> 주도</a:t>
            </a:r>
            <a:endParaRPr lang="en-US" altLang="ko-KR" dirty="0">
              <a:solidFill>
                <a:srgbClr val="000000"/>
              </a:solidFill>
              <a:latin typeface="Nanum Barun Gothic"/>
            </a:endParaRPr>
          </a:p>
          <a:p>
            <a:endParaRPr lang="en-US" altLang="ko-KR" dirty="0">
              <a:solidFill>
                <a:srgbClr val="000000"/>
              </a:solidFill>
              <a:latin typeface="Nanum Barun Gothic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ko-KR" altLang="en-US" dirty="0">
                <a:solidFill>
                  <a:srgbClr val="000000"/>
                </a:solidFill>
                <a:latin typeface="Nanum Barun Gothic"/>
              </a:rPr>
              <a:t>인공지능 활용수준을 파악</a:t>
            </a:r>
            <a:r>
              <a:rPr lang="en-US" altLang="ko-KR" dirty="0">
                <a:solidFill>
                  <a:srgbClr val="000000"/>
                </a:solidFill>
                <a:latin typeface="Nanum Barun Gothic"/>
              </a:rPr>
              <a:t>&gt; </a:t>
            </a:r>
            <a:r>
              <a:rPr lang="ko-KR" altLang="en-US" dirty="0">
                <a:solidFill>
                  <a:srgbClr val="000000"/>
                </a:solidFill>
                <a:latin typeface="Nanum Barun Gothic"/>
              </a:rPr>
              <a:t>개선</a:t>
            </a:r>
            <a:endParaRPr lang="ko-KR" altLang="en-US" dirty="0"/>
          </a:p>
        </p:txBody>
      </p:sp>
      <p:sp>
        <p:nvSpPr>
          <p:cNvPr id="8" name="TextBox 7"/>
          <p:cNvSpPr txBox="1"/>
          <p:nvPr/>
        </p:nvSpPr>
        <p:spPr>
          <a:xfrm>
            <a:off x="5648770" y="3089532"/>
            <a:ext cx="361832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dirty="0" err="1"/>
              <a:t>빅데이터</a:t>
            </a:r>
            <a:r>
              <a:rPr lang="ko-KR" altLang="en-US" dirty="0"/>
              <a:t> </a:t>
            </a:r>
            <a:r>
              <a:rPr lang="en-US" altLang="ko-KR" dirty="0"/>
              <a:t>&amp; </a:t>
            </a:r>
            <a:r>
              <a:rPr lang="ko-KR" altLang="en-US" dirty="0"/>
              <a:t> </a:t>
            </a:r>
            <a:r>
              <a:rPr lang="en-US" altLang="ko-KR" dirty="0"/>
              <a:t>AI </a:t>
            </a:r>
            <a:r>
              <a:rPr lang="ko-KR" altLang="en-US" dirty="0"/>
              <a:t>활용 위원회</a:t>
            </a:r>
          </a:p>
        </p:txBody>
      </p:sp>
      <p:sp>
        <p:nvSpPr>
          <p:cNvPr id="9" name="제목 1"/>
          <p:cNvSpPr txBox="1">
            <a:spLocks/>
          </p:cNvSpPr>
          <p:nvPr/>
        </p:nvSpPr>
        <p:spPr>
          <a:xfrm>
            <a:off x="339798" y="67260"/>
            <a:ext cx="11558160" cy="875199"/>
          </a:xfrm>
          <a:prstGeom prst="rect">
            <a:avLst/>
          </a:prstGeom>
          <a:solidFill>
            <a:srgbClr val="0070C0"/>
          </a:solidFill>
        </p:spPr>
        <p:txBody>
          <a:bodyPr vert="horz" lIns="91440" tIns="45720" rIns="91440" bIns="45720" rtlCol="0" anchor="ctr">
            <a:normAutofit fontScale="92500" lnSpcReduction="10000"/>
          </a:bodyPr>
          <a:lstStyle>
            <a:lvl1pPr algn="l" defTabSz="914400" rtl="0" eaLnBrk="1" latinLnBrk="1" hangingPunct="1">
              <a:lnSpc>
                <a:spcPct val="85000"/>
              </a:lnSpc>
              <a:spcBef>
                <a:spcPct val="0"/>
              </a:spcBef>
              <a:buNone/>
              <a:defRPr sz="5400" kern="1200" spc="-120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altLang="ko-KR" sz="3600" b="1" kern="0" dirty="0">
                <a:solidFill>
                  <a:schemeClr val="bg1"/>
                </a:solidFill>
                <a:latin typeface="+mj-ea"/>
              </a:rPr>
              <a:t> </a:t>
            </a:r>
            <a:endParaRPr lang="en-US" altLang="ko-KR" sz="3600" b="1" kern="0" dirty="0" smtClean="0">
              <a:solidFill>
                <a:schemeClr val="bg1"/>
              </a:solidFill>
              <a:latin typeface="+mj-ea"/>
            </a:endParaRPr>
          </a:p>
          <a:p>
            <a:r>
              <a:rPr lang="en-US" altLang="ko-KR" sz="3600" b="1" kern="0" dirty="0" smtClean="0">
                <a:solidFill>
                  <a:schemeClr val="bg1"/>
                </a:solidFill>
                <a:latin typeface="+mj-ea"/>
              </a:rPr>
              <a:t>IV</a:t>
            </a:r>
            <a:r>
              <a:rPr lang="en-US" altLang="ko-KR" sz="3600" b="1" kern="0" dirty="0">
                <a:solidFill>
                  <a:schemeClr val="bg1"/>
                </a:solidFill>
                <a:latin typeface="+mj-ea"/>
              </a:rPr>
              <a:t>. </a:t>
            </a:r>
            <a:r>
              <a:rPr lang="ko-KR" altLang="en-US" sz="3600" b="1" kern="0" dirty="0" smtClean="0">
                <a:solidFill>
                  <a:schemeClr val="bg1"/>
                </a:solidFill>
                <a:latin typeface="+mj-ea"/>
              </a:rPr>
              <a:t>유통 산업 내  </a:t>
            </a:r>
            <a:r>
              <a:rPr lang="ko-KR" altLang="en-US" sz="3600" b="1" kern="0" dirty="0">
                <a:solidFill>
                  <a:schemeClr val="bg1"/>
                </a:solidFill>
                <a:latin typeface="+mj-ea"/>
              </a:rPr>
              <a:t>정부지원 정책제안  </a:t>
            </a:r>
            <a:endParaRPr lang="en-US" altLang="ko-KR" sz="3600" b="1" kern="0" dirty="0">
              <a:solidFill>
                <a:schemeClr val="bg1"/>
              </a:solidFill>
              <a:latin typeface="+mj-ea"/>
            </a:endParaRPr>
          </a:p>
          <a:p>
            <a:endParaRPr lang="ko-KR" altLang="en-US" sz="3600" dirty="0">
              <a:solidFill>
                <a:schemeClr val="bg1"/>
              </a:solidFill>
              <a:latin typeface="HY강B" panose="02030600000101010101" pitchFamily="18" charset="-127"/>
              <a:ea typeface="HY강B" panose="02030600000101010101" pitchFamily="18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655545748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날짜 개체 틀 2">
            <a:extLst>
              <a:ext uri="{FF2B5EF4-FFF2-40B4-BE49-F238E27FC236}">
                <a16:creationId xmlns:a16="http://schemas.microsoft.com/office/drawing/2014/main" id="{8BEC0EEF-E580-1F75-2490-8A8B2F4D11C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49494" y="6371350"/>
            <a:ext cx="4114800" cy="228600"/>
          </a:xfrm>
        </p:spPr>
        <p:txBody>
          <a:bodyPr/>
          <a:lstStyle/>
          <a:p>
            <a:fld id="{5D3B88BA-9F88-4858-8FD3-F1FA47B3E0A7}" type="datetime1">
              <a:rPr lang="en-US" altLang="ko-KR" smtClean="0"/>
              <a:t>6/22/2023</a:t>
            </a:fld>
            <a:endParaRPr lang="en-US" dirty="0"/>
          </a:p>
        </p:txBody>
      </p:sp>
      <p:sp>
        <p:nvSpPr>
          <p:cNvPr id="6" name="TextBox 5"/>
          <p:cNvSpPr txBox="1"/>
          <p:nvPr/>
        </p:nvSpPr>
        <p:spPr>
          <a:xfrm>
            <a:off x="339798" y="1385102"/>
            <a:ext cx="10838484" cy="461665"/>
          </a:xfrm>
          <a:prstGeom prst="rect">
            <a:avLst/>
          </a:prstGeom>
          <a:solidFill>
            <a:srgbClr val="002060"/>
          </a:solidFill>
        </p:spPr>
        <p:txBody>
          <a:bodyPr wrap="square" rtlCol="0">
            <a:spAutoFit/>
          </a:bodyPr>
          <a:lstStyle/>
          <a:p>
            <a:r>
              <a:rPr lang="en-US" altLang="ko-KR" sz="2400" b="1" dirty="0">
                <a:solidFill>
                  <a:schemeClr val="bg1"/>
                </a:solidFill>
              </a:rPr>
              <a:t>  </a:t>
            </a:r>
            <a:r>
              <a:rPr lang="ko-KR" altLang="en-US" sz="2400" b="1" dirty="0" err="1">
                <a:solidFill>
                  <a:schemeClr val="bg1"/>
                </a:solidFill>
              </a:rPr>
              <a:t>정부내</a:t>
            </a:r>
            <a:r>
              <a:rPr lang="ko-KR" altLang="en-US" sz="2400" b="1" dirty="0">
                <a:solidFill>
                  <a:schemeClr val="bg1"/>
                </a:solidFill>
              </a:rPr>
              <a:t> </a:t>
            </a:r>
            <a:r>
              <a:rPr lang="ko-KR" altLang="en-US" sz="2400" dirty="0" err="1">
                <a:solidFill>
                  <a:schemeClr val="bg1"/>
                </a:solidFill>
              </a:rPr>
              <a:t>빅데이터</a:t>
            </a:r>
            <a:r>
              <a:rPr lang="ko-KR" altLang="en-US" sz="2400" dirty="0">
                <a:solidFill>
                  <a:schemeClr val="bg1"/>
                </a:solidFill>
              </a:rPr>
              <a:t>  </a:t>
            </a:r>
            <a:r>
              <a:rPr lang="en-US" altLang="ko-KR" sz="2400" dirty="0">
                <a:solidFill>
                  <a:schemeClr val="bg1"/>
                </a:solidFill>
              </a:rPr>
              <a:t>AI </a:t>
            </a:r>
            <a:r>
              <a:rPr lang="ko-KR" altLang="en-US" sz="2400" dirty="0">
                <a:solidFill>
                  <a:schemeClr val="bg1"/>
                </a:solidFill>
              </a:rPr>
              <a:t>활용 총괄 조직의  창설과 활용 </a:t>
            </a:r>
            <a:endParaRPr lang="ko-KR" altLang="en-US" dirty="0">
              <a:solidFill>
                <a:schemeClr val="bg1"/>
              </a:solidFill>
            </a:endParaRPr>
          </a:p>
        </p:txBody>
      </p:sp>
      <p:sp>
        <p:nvSpPr>
          <p:cNvPr id="7" name="내용 개체 틀 6"/>
          <p:cNvSpPr>
            <a:spLocks noGrp="1"/>
          </p:cNvSpPr>
          <p:nvPr>
            <p:ph idx="1"/>
          </p:nvPr>
        </p:nvSpPr>
        <p:spPr>
          <a:xfrm>
            <a:off x="561599" y="2138020"/>
            <a:ext cx="11094865" cy="4233330"/>
          </a:xfrm>
        </p:spPr>
        <p:txBody>
          <a:bodyPr>
            <a:normAutofit fontScale="92500" lnSpcReduction="20000"/>
          </a:bodyPr>
          <a:lstStyle/>
          <a:p>
            <a:pPr>
              <a:buFont typeface="Wingdings" panose="05000000000000000000" pitchFamily="2" charset="2"/>
              <a:buChar char="l"/>
            </a:pPr>
            <a:r>
              <a:rPr lang="ko-KR" altLang="en-US" sz="2000" dirty="0" err="1"/>
              <a:t>빅데이터의</a:t>
            </a:r>
            <a:r>
              <a:rPr lang="ko-KR" altLang="en-US" sz="2000" dirty="0"/>
              <a:t>  수집</a:t>
            </a:r>
            <a:r>
              <a:rPr lang="en-US" altLang="ko-KR" sz="2000" dirty="0"/>
              <a:t>,</a:t>
            </a:r>
            <a:r>
              <a:rPr lang="ko-KR" altLang="en-US" sz="2000" dirty="0"/>
              <a:t> 가공처리와 보관</a:t>
            </a:r>
            <a:r>
              <a:rPr lang="en-US" altLang="ko-KR" sz="2000" dirty="0"/>
              <a:t>,</a:t>
            </a:r>
            <a:r>
              <a:rPr lang="ko-KR" altLang="en-US" sz="2000" dirty="0"/>
              <a:t> 공익적 활용을 위한 전달 기능</a:t>
            </a:r>
            <a:r>
              <a:rPr lang="en-US" altLang="ko-KR" sz="2000" dirty="0"/>
              <a:t>/</a:t>
            </a:r>
            <a:r>
              <a:rPr lang="ko-KR" altLang="en-US" sz="2000" dirty="0"/>
              <a:t>데이터 </a:t>
            </a:r>
            <a:r>
              <a:rPr lang="ko-KR" altLang="en-US" sz="2000" dirty="0" err="1"/>
              <a:t>클라우드</a:t>
            </a:r>
            <a:r>
              <a:rPr lang="ko-KR" altLang="en-US" sz="2000" dirty="0"/>
              <a:t/>
            </a:r>
            <a:br>
              <a:rPr lang="ko-KR" altLang="en-US" sz="2000" dirty="0"/>
            </a:br>
            <a:r>
              <a:rPr lang="ko-KR" altLang="en-US" sz="2000" dirty="0"/>
              <a:t/>
            </a:r>
            <a:br>
              <a:rPr lang="ko-KR" altLang="en-US" sz="2000" dirty="0"/>
            </a:br>
            <a:r>
              <a:rPr lang="en-US" altLang="ko-KR" sz="2000" dirty="0"/>
              <a:t>   </a:t>
            </a:r>
            <a:r>
              <a:rPr lang="ko-KR" altLang="en-US" sz="2000" dirty="0"/>
              <a:t>담당할 상시 통합 조정  및 </a:t>
            </a:r>
            <a:r>
              <a:rPr lang="ko-KR" altLang="en-US" sz="2000" dirty="0" err="1"/>
              <a:t>정책기획과</a:t>
            </a:r>
            <a:r>
              <a:rPr lang="ko-KR" altLang="en-US" sz="2000" dirty="0"/>
              <a:t> </a:t>
            </a:r>
            <a:r>
              <a:rPr lang="ko-KR" altLang="en-US" sz="2000" dirty="0" err="1" smtClean="0"/>
              <a:t>수행할수</a:t>
            </a:r>
            <a:r>
              <a:rPr lang="ko-KR" altLang="en-US" sz="2000" dirty="0" smtClean="0"/>
              <a:t> 있는 독립된  조직</a:t>
            </a:r>
            <a:r>
              <a:rPr lang="en-US" altLang="ko-KR" sz="2000" dirty="0" smtClean="0"/>
              <a:t>/ </a:t>
            </a:r>
            <a:r>
              <a:rPr lang="ko-KR" altLang="en-US" sz="2000" dirty="0" smtClean="0"/>
              <a:t>장관급 부처의 </a:t>
            </a:r>
            <a:r>
              <a:rPr lang="ko-KR" altLang="en-US" sz="2000" dirty="0"/>
              <a:t>창설 </a:t>
            </a:r>
            <a:r>
              <a:rPr lang="en-US" altLang="ko-KR" sz="2000" dirty="0"/>
              <a:t> </a:t>
            </a:r>
          </a:p>
          <a:p>
            <a:pPr>
              <a:buFont typeface="Wingdings" panose="05000000000000000000" pitchFamily="2" charset="2"/>
              <a:buChar char="l"/>
            </a:pPr>
            <a:endParaRPr lang="en-US" altLang="ko-KR" sz="2000" dirty="0"/>
          </a:p>
          <a:p>
            <a:pPr>
              <a:buFont typeface="Wingdings" panose="05000000000000000000" pitchFamily="2" charset="2"/>
              <a:buChar char="l"/>
            </a:pPr>
            <a:endParaRPr lang="en-US" altLang="ko-KR" sz="2000" dirty="0"/>
          </a:p>
          <a:p>
            <a:pPr>
              <a:buFont typeface="Wingdings" panose="05000000000000000000" pitchFamily="2" charset="2"/>
              <a:buChar char="l"/>
            </a:pPr>
            <a:endParaRPr lang="en-US" altLang="ko-KR" sz="2000" dirty="0"/>
          </a:p>
          <a:p>
            <a:pPr>
              <a:buFont typeface="Wingdings" panose="05000000000000000000" pitchFamily="2" charset="2"/>
              <a:buChar char="l"/>
            </a:pPr>
            <a:endParaRPr lang="en-US" altLang="ko-KR" sz="2000" dirty="0"/>
          </a:p>
          <a:p>
            <a:pPr marL="0" indent="0">
              <a:buNone/>
            </a:pPr>
            <a:r>
              <a:rPr lang="ko-KR" altLang="en-US" sz="2000" dirty="0"/>
              <a:t> </a:t>
            </a:r>
            <a:endParaRPr lang="en-US" altLang="ko-KR" sz="2000" dirty="0"/>
          </a:p>
          <a:p>
            <a:pPr>
              <a:buFont typeface="Arial" panose="020B0604020202020204" pitchFamily="34" charset="0"/>
              <a:buChar char="•"/>
            </a:pPr>
            <a:endParaRPr lang="en-US" altLang="ko-KR" sz="2000" dirty="0"/>
          </a:p>
          <a:p>
            <a:pPr>
              <a:buFont typeface="Arial" panose="020B0604020202020204" pitchFamily="34" charset="0"/>
              <a:buChar char="•"/>
            </a:pPr>
            <a:endParaRPr lang="en-US" altLang="ko-KR" sz="2000" dirty="0"/>
          </a:p>
          <a:p>
            <a:pPr>
              <a:buFont typeface="Arial" panose="020B0604020202020204" pitchFamily="34" charset="0"/>
              <a:buChar char="•"/>
            </a:pPr>
            <a:r>
              <a:rPr lang="ko-KR" altLang="en-US" sz="1800" dirty="0"/>
              <a:t> 국내 데이터 산업과 </a:t>
            </a:r>
            <a:r>
              <a:rPr lang="en-US" altLang="ko-KR" sz="1800" dirty="0"/>
              <a:t>AI </a:t>
            </a:r>
            <a:r>
              <a:rPr lang="ko-KR" altLang="en-US" sz="1800" dirty="0"/>
              <a:t>생태계 조성의 기반을 다지려는 데이터 댐 지원 사업</a:t>
            </a:r>
            <a:endParaRPr lang="en-US" altLang="ko-KR" sz="1800" dirty="0"/>
          </a:p>
          <a:p>
            <a:pPr>
              <a:lnSpc>
                <a:spcPct val="170000"/>
              </a:lnSpc>
              <a:buFont typeface="Arial" panose="020B0604020202020204" pitchFamily="34" charset="0"/>
              <a:buChar char="•"/>
            </a:pPr>
            <a:r>
              <a:rPr lang="ko-KR" altLang="en-US" sz="1800" dirty="0"/>
              <a:t> 데이터거래소</a:t>
            </a:r>
            <a:r>
              <a:rPr lang="en-US" altLang="ko-KR" sz="1800" dirty="0"/>
              <a:t>&gt; </a:t>
            </a:r>
            <a:r>
              <a:rPr lang="ko-KR" altLang="en-US" sz="1800" dirty="0"/>
              <a:t>은행</a:t>
            </a:r>
            <a:r>
              <a:rPr lang="en-US" altLang="ko-KR" sz="1800" dirty="0"/>
              <a:t>·</a:t>
            </a:r>
            <a:r>
              <a:rPr lang="ko-KR" altLang="en-US" sz="1800" dirty="0"/>
              <a:t>증권</a:t>
            </a:r>
            <a:r>
              <a:rPr lang="en-US" altLang="ko-KR" sz="1800" dirty="0"/>
              <a:t>·</a:t>
            </a:r>
            <a:r>
              <a:rPr lang="ko-KR" altLang="en-US" sz="1800" dirty="0"/>
              <a:t>카드사가 보유한 금융 데이터를 기업과 연구소 등이 </a:t>
            </a:r>
            <a:r>
              <a:rPr lang="ko-KR" altLang="en-US" sz="1800" dirty="0" err="1"/>
              <a:t>거래가능한</a:t>
            </a:r>
            <a:r>
              <a:rPr lang="ko-KR" altLang="en-US" sz="1800" dirty="0"/>
              <a:t>  </a:t>
            </a:r>
            <a:r>
              <a:rPr lang="ko-KR" altLang="en-US" sz="1800" dirty="0" err="1"/>
              <a:t>빅데이터</a:t>
            </a:r>
            <a:r>
              <a:rPr lang="en-US" altLang="ko-KR" sz="1800" dirty="0"/>
              <a:t> &amp; </a:t>
            </a:r>
            <a:r>
              <a:rPr lang="ko-KR" altLang="en-US" sz="1800" dirty="0"/>
              <a:t>온라인 생성</a:t>
            </a:r>
            <a:r>
              <a:rPr lang="en-US" altLang="ko-KR" sz="1800" dirty="0"/>
              <a:t> AI </a:t>
            </a:r>
            <a:r>
              <a:rPr lang="ko-KR" altLang="en-US" sz="1800" dirty="0"/>
              <a:t>플랫폼</a:t>
            </a:r>
            <a:r>
              <a:rPr lang="en-US" altLang="ko-KR" sz="1800" dirty="0"/>
              <a:t> </a:t>
            </a:r>
            <a:r>
              <a:rPr lang="ko-KR" altLang="en-US" sz="1800" dirty="0"/>
              <a:t>연계</a:t>
            </a:r>
            <a:r>
              <a:rPr lang="en-US" altLang="ko-KR" sz="1800" dirty="0"/>
              <a:t> I </a:t>
            </a:r>
          </a:p>
          <a:p>
            <a:pPr>
              <a:lnSpc>
                <a:spcPct val="170000"/>
              </a:lnSpc>
              <a:buFont typeface="Arial" panose="020B0604020202020204" pitchFamily="34" charset="0"/>
              <a:buChar char="•"/>
            </a:pPr>
            <a:endParaRPr lang="en-US" altLang="ko-KR" sz="1800" dirty="0"/>
          </a:p>
        </p:txBody>
      </p:sp>
      <p:graphicFrame>
        <p:nvGraphicFramePr>
          <p:cNvPr id="10" name="다이어그램 9"/>
          <p:cNvGraphicFramePr/>
          <p:nvPr>
            <p:extLst>
              <p:ext uri="{D42A27DB-BD31-4B8C-83A1-F6EECF244321}">
                <p14:modId xmlns:p14="http://schemas.microsoft.com/office/powerpoint/2010/main" val="458806239"/>
              </p:ext>
            </p:extLst>
          </p:nvPr>
        </p:nvGraphicFramePr>
        <p:xfrm>
          <a:off x="655897" y="1148080"/>
          <a:ext cx="10375161" cy="541866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8" name="제목 1"/>
          <p:cNvSpPr txBox="1">
            <a:spLocks/>
          </p:cNvSpPr>
          <p:nvPr/>
        </p:nvSpPr>
        <p:spPr>
          <a:xfrm>
            <a:off x="339798" y="67260"/>
            <a:ext cx="11558160" cy="875199"/>
          </a:xfrm>
          <a:prstGeom prst="rect">
            <a:avLst/>
          </a:prstGeom>
          <a:solidFill>
            <a:srgbClr val="0070C0"/>
          </a:solidFill>
        </p:spPr>
        <p:txBody>
          <a:bodyPr vert="horz" lIns="91440" tIns="45720" rIns="91440" bIns="45720" rtlCol="0" anchor="ctr">
            <a:normAutofit fontScale="92500" lnSpcReduction="10000"/>
          </a:bodyPr>
          <a:lstStyle>
            <a:lvl1pPr algn="l" defTabSz="914400" rtl="0" eaLnBrk="1" latinLnBrk="1" hangingPunct="1">
              <a:lnSpc>
                <a:spcPct val="85000"/>
              </a:lnSpc>
              <a:spcBef>
                <a:spcPct val="0"/>
              </a:spcBef>
              <a:buNone/>
              <a:defRPr sz="5400" kern="1200" spc="-120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altLang="ko-KR" sz="3600" b="1" kern="0" dirty="0">
                <a:solidFill>
                  <a:schemeClr val="bg1"/>
                </a:solidFill>
                <a:latin typeface="+mj-ea"/>
              </a:rPr>
              <a:t> </a:t>
            </a:r>
            <a:endParaRPr lang="en-US" altLang="ko-KR" sz="3600" b="1" kern="0" dirty="0" smtClean="0">
              <a:solidFill>
                <a:schemeClr val="bg1"/>
              </a:solidFill>
              <a:latin typeface="+mj-ea"/>
            </a:endParaRPr>
          </a:p>
          <a:p>
            <a:r>
              <a:rPr lang="en-US" altLang="ko-KR" sz="3600" b="1" kern="0" dirty="0" smtClean="0">
                <a:solidFill>
                  <a:schemeClr val="bg1"/>
                </a:solidFill>
                <a:latin typeface="+mj-ea"/>
              </a:rPr>
              <a:t>IV</a:t>
            </a:r>
            <a:r>
              <a:rPr lang="en-US" altLang="ko-KR" sz="3600" b="1" kern="0" dirty="0">
                <a:solidFill>
                  <a:schemeClr val="bg1"/>
                </a:solidFill>
                <a:latin typeface="+mj-ea"/>
              </a:rPr>
              <a:t>. </a:t>
            </a:r>
            <a:r>
              <a:rPr lang="ko-KR" altLang="en-US" sz="3600" b="1" kern="0" dirty="0" smtClean="0">
                <a:solidFill>
                  <a:schemeClr val="bg1"/>
                </a:solidFill>
                <a:latin typeface="+mj-ea"/>
              </a:rPr>
              <a:t>유통 산업 내  </a:t>
            </a:r>
            <a:r>
              <a:rPr lang="ko-KR" altLang="en-US" sz="3600" b="1" kern="0" dirty="0">
                <a:solidFill>
                  <a:schemeClr val="bg1"/>
                </a:solidFill>
                <a:latin typeface="+mj-ea"/>
              </a:rPr>
              <a:t>정부지원 정책제안  </a:t>
            </a:r>
            <a:endParaRPr lang="en-US" altLang="ko-KR" sz="3600" b="1" kern="0" dirty="0">
              <a:solidFill>
                <a:schemeClr val="bg1"/>
              </a:solidFill>
              <a:latin typeface="+mj-ea"/>
            </a:endParaRPr>
          </a:p>
          <a:p>
            <a:endParaRPr lang="ko-KR" altLang="en-US" sz="3600" dirty="0">
              <a:solidFill>
                <a:schemeClr val="bg1"/>
              </a:solidFill>
              <a:latin typeface="HY강B" panose="02030600000101010101" pitchFamily="18" charset="-127"/>
              <a:ea typeface="HY강B" panose="02030600000101010101" pitchFamily="18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859224831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날짜 개체 틀 2">
            <a:extLst>
              <a:ext uri="{FF2B5EF4-FFF2-40B4-BE49-F238E27FC236}">
                <a16:creationId xmlns:a16="http://schemas.microsoft.com/office/drawing/2014/main" id="{8BEC0EEF-E580-1F75-2490-8A8B2F4D11C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49494" y="6371350"/>
            <a:ext cx="4114800" cy="228600"/>
          </a:xfrm>
        </p:spPr>
        <p:txBody>
          <a:bodyPr/>
          <a:lstStyle/>
          <a:p>
            <a:fld id="{5D3B88BA-9F88-4858-8FD3-F1FA47B3E0A7}" type="datetime1">
              <a:rPr lang="en-US" altLang="ko-KR" smtClean="0"/>
              <a:t>6/22/2023</a:t>
            </a:fld>
            <a:endParaRPr lang="en-US" dirty="0"/>
          </a:p>
        </p:txBody>
      </p:sp>
      <p:sp>
        <p:nvSpPr>
          <p:cNvPr id="6" name="TextBox 5"/>
          <p:cNvSpPr txBox="1"/>
          <p:nvPr/>
        </p:nvSpPr>
        <p:spPr>
          <a:xfrm>
            <a:off x="397037" y="1062187"/>
            <a:ext cx="11558160" cy="461665"/>
          </a:xfrm>
          <a:prstGeom prst="rect">
            <a:avLst/>
          </a:prstGeom>
          <a:solidFill>
            <a:srgbClr val="002060"/>
          </a:solidFill>
        </p:spPr>
        <p:txBody>
          <a:bodyPr wrap="square" rtlCol="0">
            <a:spAutoFit/>
          </a:bodyPr>
          <a:lstStyle/>
          <a:p>
            <a:r>
              <a:rPr lang="en-US" altLang="ko-KR" sz="2400" b="1" dirty="0">
                <a:solidFill>
                  <a:schemeClr val="bg1"/>
                </a:solidFill>
              </a:rPr>
              <a:t>  </a:t>
            </a:r>
            <a:r>
              <a:rPr lang="ko-KR" altLang="en-US" sz="2400" b="1" dirty="0" err="1">
                <a:solidFill>
                  <a:schemeClr val="bg1"/>
                </a:solidFill>
              </a:rPr>
              <a:t>정부내</a:t>
            </a:r>
            <a:r>
              <a:rPr lang="ko-KR" altLang="en-US" sz="2400" b="1" dirty="0">
                <a:solidFill>
                  <a:schemeClr val="bg1"/>
                </a:solidFill>
              </a:rPr>
              <a:t> </a:t>
            </a:r>
            <a:r>
              <a:rPr lang="ko-KR" altLang="en-US" sz="2400" dirty="0" err="1">
                <a:solidFill>
                  <a:schemeClr val="bg1"/>
                </a:solidFill>
              </a:rPr>
              <a:t>빅데이터</a:t>
            </a:r>
            <a:r>
              <a:rPr lang="ko-KR" altLang="en-US" sz="2400" dirty="0">
                <a:solidFill>
                  <a:schemeClr val="bg1"/>
                </a:solidFill>
              </a:rPr>
              <a:t> </a:t>
            </a:r>
            <a:r>
              <a:rPr lang="en-US" altLang="ko-KR" sz="2400" b="1" dirty="0">
                <a:solidFill>
                  <a:schemeClr val="bg1"/>
                </a:solidFill>
              </a:rPr>
              <a:t>&amp; AI </a:t>
            </a:r>
            <a:r>
              <a:rPr lang="ko-KR" altLang="en-US" sz="2400" dirty="0">
                <a:solidFill>
                  <a:schemeClr val="bg1"/>
                </a:solidFill>
              </a:rPr>
              <a:t>총괄 조직 개설 </a:t>
            </a:r>
            <a:r>
              <a:rPr lang="en-US" altLang="ko-KR" sz="2400" dirty="0">
                <a:solidFill>
                  <a:schemeClr val="bg1"/>
                </a:solidFill>
              </a:rPr>
              <a:t>&amp;  </a:t>
            </a:r>
            <a:r>
              <a:rPr lang="ko-KR" altLang="en-US" sz="2400" dirty="0">
                <a:solidFill>
                  <a:schemeClr val="bg1"/>
                </a:solidFill>
              </a:rPr>
              <a:t>부처별 </a:t>
            </a:r>
            <a:r>
              <a:rPr lang="ko-KR" altLang="en-US" sz="2400" dirty="0" err="1">
                <a:solidFill>
                  <a:schemeClr val="bg1"/>
                </a:solidFill>
              </a:rPr>
              <a:t>빅데이터팀과</a:t>
            </a:r>
            <a:r>
              <a:rPr lang="ko-KR" altLang="en-US" sz="2400" dirty="0">
                <a:solidFill>
                  <a:schemeClr val="bg1"/>
                </a:solidFill>
              </a:rPr>
              <a:t>  전문위원회</a:t>
            </a:r>
            <a:r>
              <a:rPr lang="en-US" altLang="ko-KR" sz="2400" dirty="0">
                <a:solidFill>
                  <a:schemeClr val="bg1"/>
                </a:solidFill>
              </a:rPr>
              <a:t>/</a:t>
            </a:r>
            <a:r>
              <a:rPr lang="ko-KR" altLang="en-US" sz="2400" dirty="0">
                <a:solidFill>
                  <a:schemeClr val="bg1"/>
                </a:solidFill>
              </a:rPr>
              <a:t>번역지원  </a:t>
            </a:r>
            <a:endParaRPr lang="ko-KR" altLang="en-US" dirty="0">
              <a:solidFill>
                <a:schemeClr val="bg1"/>
              </a:solidFill>
            </a:endParaRPr>
          </a:p>
        </p:txBody>
      </p:sp>
      <p:sp>
        <p:nvSpPr>
          <p:cNvPr id="7" name="내용 개체 틀 6"/>
          <p:cNvSpPr>
            <a:spLocks noGrp="1"/>
          </p:cNvSpPr>
          <p:nvPr>
            <p:ph idx="1"/>
          </p:nvPr>
        </p:nvSpPr>
        <p:spPr>
          <a:xfrm>
            <a:off x="450698" y="1742654"/>
            <a:ext cx="11336359" cy="3766185"/>
          </a:xfrm>
        </p:spPr>
        <p:txBody>
          <a:bodyPr>
            <a:normAutofit/>
          </a:bodyPr>
          <a:lstStyle/>
          <a:p>
            <a:pPr>
              <a:buFont typeface="Wingdings" panose="05000000000000000000" pitchFamily="2" charset="2"/>
              <a:buChar char="l"/>
            </a:pPr>
            <a:r>
              <a:rPr lang="ko-KR" altLang="en-US" sz="1800" dirty="0"/>
              <a:t>각 부처별 빅데이터 </a:t>
            </a:r>
            <a:r>
              <a:rPr lang="en-US" altLang="ko-KR" sz="1800" dirty="0"/>
              <a:t>&amp; AI</a:t>
            </a:r>
            <a:r>
              <a:rPr lang="ko-KR" altLang="en-US" sz="1800" dirty="0"/>
              <a:t> 팀 신설하고 각 기능 별  전문위원회 활용 관리 </a:t>
            </a:r>
            <a:r>
              <a:rPr lang="en-US" altLang="ko-KR" sz="1800" dirty="0"/>
              <a:t>&gt; </a:t>
            </a:r>
            <a:r>
              <a:rPr lang="ko-KR" altLang="en-US" sz="1800" dirty="0" smtClean="0"/>
              <a:t>빅데이터 </a:t>
            </a:r>
            <a:r>
              <a:rPr lang="en-US" altLang="ko-KR" sz="1800" dirty="0"/>
              <a:t>&amp; AI</a:t>
            </a:r>
            <a:r>
              <a:rPr lang="ko-KR" altLang="en-US" sz="1800" dirty="0"/>
              <a:t> </a:t>
            </a:r>
            <a:r>
              <a:rPr lang="ko-KR" altLang="en-US" sz="1800" dirty="0" smtClean="0"/>
              <a:t>특별위원회</a:t>
            </a:r>
            <a:r>
              <a:rPr lang="en-US" altLang="ko-KR" sz="1800" dirty="0" smtClean="0"/>
              <a:t> </a:t>
            </a:r>
            <a:r>
              <a:rPr lang="en-US" altLang="ko-KR" sz="1800" dirty="0"/>
              <a:t>(</a:t>
            </a:r>
            <a:r>
              <a:rPr lang="ko-KR" altLang="en-US" sz="1800" dirty="0"/>
              <a:t>장관급</a:t>
            </a:r>
            <a:r>
              <a:rPr lang="en-US" altLang="ko-KR" sz="1800" dirty="0"/>
              <a:t>)</a:t>
            </a:r>
          </a:p>
          <a:p>
            <a:pPr>
              <a:buFont typeface="Wingdings" panose="05000000000000000000" pitchFamily="2" charset="2"/>
              <a:buChar char="l"/>
            </a:pPr>
            <a:r>
              <a:rPr lang="ko-KR" altLang="en-US" sz="1800" dirty="0"/>
              <a:t> </a:t>
            </a:r>
            <a:r>
              <a:rPr lang="ko-KR" altLang="en-US" sz="2400" dirty="0">
                <a:solidFill>
                  <a:srgbClr val="FF0000"/>
                </a:solidFill>
              </a:rPr>
              <a:t>번역의  지원정책 확대와 부처별 </a:t>
            </a:r>
            <a:r>
              <a:rPr lang="ko-KR" altLang="en-US" sz="2400" dirty="0" err="1">
                <a:solidFill>
                  <a:srgbClr val="FF0000"/>
                </a:solidFill>
              </a:rPr>
              <a:t>빅데이터실</a:t>
            </a:r>
            <a:r>
              <a:rPr lang="ko-KR" altLang="en-US" sz="2400" dirty="0">
                <a:solidFill>
                  <a:srgbClr val="FF0000"/>
                </a:solidFill>
              </a:rPr>
              <a:t> 내  번역 지원 강화  </a:t>
            </a:r>
            <a:r>
              <a:rPr lang="en-US" altLang="ko-KR" sz="2400" dirty="0">
                <a:solidFill>
                  <a:srgbClr val="FF0000"/>
                </a:solidFill>
              </a:rPr>
              <a:t> </a:t>
            </a:r>
            <a:endParaRPr lang="en-US" altLang="ko-KR" sz="1800" dirty="0">
              <a:solidFill>
                <a:srgbClr val="FF0000"/>
              </a:solidFill>
            </a:endParaRPr>
          </a:p>
          <a:p>
            <a:pPr>
              <a:buFont typeface="Arial" panose="020B0604020202020204" pitchFamily="34" charset="0"/>
              <a:buChar char="•"/>
            </a:pPr>
            <a:r>
              <a:rPr lang="en-US" altLang="ko-KR" sz="1800" dirty="0"/>
              <a:t> </a:t>
            </a:r>
            <a:r>
              <a:rPr lang="ko-KR" altLang="en-US" sz="1800" dirty="0"/>
              <a:t>시장</a:t>
            </a:r>
            <a:r>
              <a:rPr lang="en-US" altLang="ko-KR" sz="1800" dirty="0"/>
              <a:t>/</a:t>
            </a:r>
            <a:r>
              <a:rPr lang="ko-KR" altLang="en-US" sz="1800" dirty="0"/>
              <a:t>기업중심</a:t>
            </a:r>
            <a:r>
              <a:rPr lang="en-US" altLang="ko-KR" sz="1800" dirty="0"/>
              <a:t>/</a:t>
            </a:r>
            <a:r>
              <a:rPr lang="ko-KR" altLang="en-US" sz="1800" dirty="0"/>
              <a:t>이해관계자 적절 구성 </a:t>
            </a:r>
            <a:r>
              <a:rPr lang="en-US" altLang="ko-KR" sz="1800" dirty="0"/>
              <a:t>* </a:t>
            </a:r>
            <a:r>
              <a:rPr lang="ko-KR" altLang="en-US" sz="1800" dirty="0"/>
              <a:t>독일의 </a:t>
            </a:r>
            <a:r>
              <a:rPr lang="en-US" altLang="ko-KR" sz="1800" dirty="0"/>
              <a:t>4</a:t>
            </a:r>
            <a:r>
              <a:rPr lang="ko-KR" altLang="en-US" sz="1800" dirty="0" err="1"/>
              <a:t>차혁명위원회</a:t>
            </a:r>
            <a:r>
              <a:rPr lang="ko-KR" altLang="en-US" sz="1800" dirty="0"/>
              <a:t> 참고   </a:t>
            </a:r>
            <a:endParaRPr lang="en-US" altLang="ko-KR" sz="1800" dirty="0"/>
          </a:p>
          <a:p>
            <a:pPr>
              <a:buFont typeface="Wingdings" panose="05000000000000000000" pitchFamily="2" charset="2"/>
              <a:buChar char="l"/>
            </a:pPr>
            <a:r>
              <a:rPr lang="ko-KR" altLang="en-US" sz="1800" dirty="0"/>
              <a:t> 빅데이터 </a:t>
            </a:r>
            <a:r>
              <a:rPr lang="en-US" altLang="ko-KR" sz="1800" dirty="0"/>
              <a:t>&amp; AI</a:t>
            </a:r>
            <a:r>
              <a:rPr lang="ko-KR" altLang="en-US" sz="1800" dirty="0"/>
              <a:t>의 기능별 효율적 방법론의 개발과 지원</a:t>
            </a:r>
            <a:r>
              <a:rPr lang="en-US" altLang="ko-KR" sz="1800" dirty="0"/>
              <a:t>  &gt;&gt; </a:t>
            </a:r>
            <a:r>
              <a:rPr lang="ko-KR" altLang="en-US" sz="1800" dirty="0"/>
              <a:t>국내 데이터 주권 강화 </a:t>
            </a:r>
            <a:endParaRPr lang="en-US" altLang="ko-KR" sz="1800" dirty="0"/>
          </a:p>
          <a:p>
            <a:pPr>
              <a:buFont typeface="Wingdings" panose="05000000000000000000" pitchFamily="2" charset="2"/>
              <a:buChar char="l"/>
            </a:pPr>
            <a:r>
              <a:rPr lang="ko-KR" altLang="en-US" sz="1800" dirty="0"/>
              <a:t>빅데이터 </a:t>
            </a:r>
            <a:r>
              <a:rPr lang="en-US" altLang="ko-KR" sz="1800" dirty="0"/>
              <a:t>&amp; AI </a:t>
            </a:r>
            <a:r>
              <a:rPr lang="ko-KR" altLang="en-US" sz="1800" dirty="0"/>
              <a:t>의 사적 </a:t>
            </a:r>
            <a:r>
              <a:rPr lang="ko-KR" altLang="en-US" sz="1800" dirty="0" err="1"/>
              <a:t>기업로</a:t>
            </a:r>
            <a:r>
              <a:rPr lang="ko-KR" altLang="en-US" sz="1800" dirty="0"/>
              <a:t> 부터도 공익적 목적에 부합하는 </a:t>
            </a:r>
            <a:endParaRPr lang="en-US" altLang="ko-KR" sz="1800" dirty="0" smtClean="0"/>
          </a:p>
          <a:p>
            <a:pPr marL="0" indent="0">
              <a:buNone/>
            </a:pPr>
            <a:r>
              <a:rPr lang="en-US" altLang="ko-KR" sz="1800" dirty="0"/>
              <a:t> </a:t>
            </a:r>
            <a:r>
              <a:rPr lang="en-US" altLang="ko-KR" sz="1800" dirty="0" smtClean="0"/>
              <a:t>  </a:t>
            </a:r>
            <a:r>
              <a:rPr lang="ko-KR" altLang="en-US" sz="2400" dirty="0" smtClean="0"/>
              <a:t>빅데이터 </a:t>
            </a:r>
            <a:r>
              <a:rPr lang="ko-KR" altLang="en-US" sz="2400" dirty="0"/>
              <a:t>수집</a:t>
            </a:r>
            <a:r>
              <a:rPr lang="en-US" altLang="ko-KR" sz="2400" dirty="0"/>
              <a:t>/</a:t>
            </a:r>
            <a:r>
              <a:rPr lang="ko-KR" altLang="en-US" sz="2400" dirty="0" err="1"/>
              <a:t>테이터셋</a:t>
            </a:r>
            <a:r>
              <a:rPr lang="en-US" altLang="ko-KR" sz="2400" dirty="0"/>
              <a:t> </a:t>
            </a:r>
            <a:r>
              <a:rPr lang="ko-KR" altLang="en-US" sz="2400" dirty="0"/>
              <a:t> </a:t>
            </a:r>
            <a:r>
              <a:rPr lang="ko-KR" altLang="en-US" sz="1800" dirty="0"/>
              <a:t>등 통합화</a:t>
            </a:r>
            <a:r>
              <a:rPr lang="en-US" altLang="ko-KR" sz="1800" dirty="0"/>
              <a:t>( </a:t>
            </a:r>
            <a:r>
              <a:rPr lang="ko-KR" altLang="en-US" sz="1800" dirty="0"/>
              <a:t>데이터</a:t>
            </a:r>
            <a:r>
              <a:rPr lang="en-US" altLang="ko-KR" sz="1800" dirty="0"/>
              <a:t> </a:t>
            </a:r>
            <a:r>
              <a:rPr lang="ko-KR" altLang="en-US" sz="1800" dirty="0"/>
              <a:t>품질 중요</a:t>
            </a:r>
            <a:r>
              <a:rPr lang="en-US" altLang="ko-KR" sz="1800" dirty="0"/>
              <a:t>)</a:t>
            </a:r>
          </a:p>
        </p:txBody>
      </p:sp>
      <p:sp>
        <p:nvSpPr>
          <p:cNvPr id="4" name="아래쪽 화살표 3"/>
          <p:cNvSpPr/>
          <p:nvPr/>
        </p:nvSpPr>
        <p:spPr>
          <a:xfrm>
            <a:off x="1719143" y="4696464"/>
            <a:ext cx="8507003" cy="575353"/>
          </a:xfrm>
          <a:prstGeom prst="downArrow">
            <a:avLst/>
          </a:prstGeom>
          <a:solidFill>
            <a:srgbClr val="0070C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2400" b="1" dirty="0">
                <a:solidFill>
                  <a:schemeClr val="bg1"/>
                </a:solidFill>
              </a:rPr>
              <a:t>빅데이터 </a:t>
            </a:r>
            <a:r>
              <a:rPr lang="en-US" altLang="ko-KR" sz="2400" b="1" dirty="0">
                <a:solidFill>
                  <a:schemeClr val="bg1"/>
                </a:solidFill>
              </a:rPr>
              <a:t>&amp; AI</a:t>
            </a:r>
            <a:r>
              <a:rPr lang="ko-KR" altLang="en-US" sz="2400" b="1" dirty="0">
                <a:solidFill>
                  <a:schemeClr val="bg1"/>
                </a:solidFill>
              </a:rPr>
              <a:t>  정책 인프라 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1432241" y="5399621"/>
            <a:ext cx="9746041" cy="120032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pPr marL="342900" indent="-342900" algn="ctr">
              <a:buFont typeface="Arial" panose="020B0604020202020204" pitchFamily="34" charset="0"/>
              <a:buChar char="•"/>
            </a:pPr>
            <a:r>
              <a:rPr lang="ko-KR" altLang="en-US" sz="2400" dirty="0"/>
              <a:t>한국 정치</a:t>
            </a:r>
            <a:r>
              <a:rPr lang="en-US" altLang="ko-KR" sz="2400" dirty="0"/>
              <a:t>/</a:t>
            </a:r>
            <a:r>
              <a:rPr lang="ko-KR" altLang="en-US" sz="2400" dirty="0"/>
              <a:t>경제</a:t>
            </a:r>
            <a:r>
              <a:rPr lang="en-US" altLang="ko-KR" sz="2400" dirty="0"/>
              <a:t>/</a:t>
            </a:r>
            <a:r>
              <a:rPr lang="ko-KR" altLang="en-US" sz="2400" dirty="0"/>
              <a:t>산업</a:t>
            </a:r>
            <a:r>
              <a:rPr lang="en-US" altLang="ko-KR" sz="2400" dirty="0"/>
              <a:t>/</a:t>
            </a:r>
            <a:r>
              <a:rPr lang="ko-KR" altLang="en-US" sz="2400" dirty="0"/>
              <a:t>사회의 모든 조직과 제도 내   </a:t>
            </a:r>
            <a:endParaRPr lang="en-US" altLang="ko-KR" sz="2400" dirty="0"/>
          </a:p>
          <a:p>
            <a:pPr marL="342900" indent="-342900" algn="ctr">
              <a:buFont typeface="Arial" panose="020B0604020202020204" pitchFamily="34" charset="0"/>
              <a:buChar char="•"/>
            </a:pPr>
            <a:r>
              <a:rPr lang="ko-KR" altLang="en-US" sz="2400" dirty="0" err="1"/>
              <a:t>빅데이터</a:t>
            </a:r>
            <a:r>
              <a:rPr lang="ko-KR" altLang="en-US" sz="2400" dirty="0"/>
              <a:t> 정책과 전략을  통합화</a:t>
            </a:r>
            <a:r>
              <a:rPr lang="en-US" altLang="ko-KR" sz="2400" dirty="0"/>
              <a:t>(integration) </a:t>
            </a:r>
            <a:r>
              <a:rPr lang="ko-KR" altLang="en-US" sz="2400" dirty="0"/>
              <a:t> </a:t>
            </a:r>
            <a:endParaRPr lang="en-US" altLang="ko-KR" sz="2400" dirty="0"/>
          </a:p>
          <a:p>
            <a:pPr marL="342900" indent="-342900" algn="ctr">
              <a:buFont typeface="Arial" panose="020B0604020202020204" pitchFamily="34" charset="0"/>
              <a:buChar char="•"/>
            </a:pPr>
            <a:r>
              <a:rPr lang="ko-KR" altLang="en-US" sz="2400" dirty="0"/>
              <a:t>  질적 양적 </a:t>
            </a:r>
            <a:r>
              <a:rPr lang="ko-KR" altLang="en-US" sz="2400" dirty="0" err="1" smtClean="0"/>
              <a:t>타임밍이</a:t>
            </a:r>
            <a:r>
              <a:rPr lang="ko-KR" altLang="en-US" sz="2400" dirty="0" smtClean="0"/>
              <a:t> 국가경제의 경쟁력 좌우  </a:t>
            </a:r>
            <a:endParaRPr lang="ko-KR" altLang="en-US" sz="2400" dirty="0"/>
          </a:p>
        </p:txBody>
      </p:sp>
      <p:sp>
        <p:nvSpPr>
          <p:cNvPr id="9" name="제목 1"/>
          <p:cNvSpPr txBox="1">
            <a:spLocks/>
          </p:cNvSpPr>
          <p:nvPr/>
        </p:nvSpPr>
        <p:spPr>
          <a:xfrm>
            <a:off x="339798" y="67260"/>
            <a:ext cx="11558160" cy="875199"/>
          </a:xfrm>
          <a:prstGeom prst="rect">
            <a:avLst/>
          </a:prstGeom>
          <a:solidFill>
            <a:srgbClr val="0070C0"/>
          </a:solidFill>
        </p:spPr>
        <p:txBody>
          <a:bodyPr vert="horz" lIns="91440" tIns="45720" rIns="91440" bIns="45720" rtlCol="0" anchor="ctr">
            <a:normAutofit fontScale="92500" lnSpcReduction="10000"/>
          </a:bodyPr>
          <a:lstStyle>
            <a:lvl1pPr algn="l" defTabSz="914400" rtl="0" eaLnBrk="1" latinLnBrk="1" hangingPunct="1">
              <a:lnSpc>
                <a:spcPct val="85000"/>
              </a:lnSpc>
              <a:spcBef>
                <a:spcPct val="0"/>
              </a:spcBef>
              <a:buNone/>
              <a:defRPr sz="5400" kern="1200" spc="-120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altLang="ko-KR" sz="3600" b="1" kern="0" dirty="0">
                <a:solidFill>
                  <a:schemeClr val="bg1"/>
                </a:solidFill>
                <a:latin typeface="+mj-ea"/>
              </a:rPr>
              <a:t> </a:t>
            </a:r>
            <a:endParaRPr lang="en-US" altLang="ko-KR" sz="3600" b="1" kern="0" dirty="0" smtClean="0">
              <a:solidFill>
                <a:schemeClr val="bg1"/>
              </a:solidFill>
              <a:latin typeface="+mj-ea"/>
            </a:endParaRPr>
          </a:p>
          <a:p>
            <a:r>
              <a:rPr lang="en-US" altLang="ko-KR" sz="3600" b="1" kern="0" dirty="0" smtClean="0">
                <a:solidFill>
                  <a:schemeClr val="bg1"/>
                </a:solidFill>
                <a:latin typeface="+mj-ea"/>
              </a:rPr>
              <a:t>IV</a:t>
            </a:r>
            <a:r>
              <a:rPr lang="en-US" altLang="ko-KR" sz="3600" b="1" kern="0" dirty="0">
                <a:solidFill>
                  <a:schemeClr val="bg1"/>
                </a:solidFill>
                <a:latin typeface="+mj-ea"/>
              </a:rPr>
              <a:t>. </a:t>
            </a:r>
            <a:r>
              <a:rPr lang="ko-KR" altLang="en-US" sz="3600" b="1" kern="0" dirty="0" smtClean="0">
                <a:solidFill>
                  <a:schemeClr val="bg1"/>
                </a:solidFill>
                <a:latin typeface="+mj-ea"/>
              </a:rPr>
              <a:t>유통 산업 내  </a:t>
            </a:r>
            <a:r>
              <a:rPr lang="ko-KR" altLang="en-US" sz="3600" b="1" kern="0" dirty="0">
                <a:solidFill>
                  <a:schemeClr val="bg1"/>
                </a:solidFill>
                <a:latin typeface="+mj-ea"/>
              </a:rPr>
              <a:t>정부지원 정책제안  </a:t>
            </a:r>
            <a:endParaRPr lang="en-US" altLang="ko-KR" sz="3600" b="1" kern="0" dirty="0">
              <a:solidFill>
                <a:schemeClr val="bg1"/>
              </a:solidFill>
              <a:latin typeface="+mj-ea"/>
            </a:endParaRPr>
          </a:p>
          <a:p>
            <a:endParaRPr lang="ko-KR" altLang="en-US" sz="3600" dirty="0">
              <a:solidFill>
                <a:schemeClr val="bg1"/>
              </a:solidFill>
              <a:latin typeface="HY강B" panose="02030600000101010101" pitchFamily="18" charset="-127"/>
              <a:ea typeface="HY강B" panose="02030600000101010101" pitchFamily="18" charset="-127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9850680" y="2110255"/>
            <a:ext cx="1936377" cy="2308324"/>
          </a:xfrm>
          <a:prstGeom prst="rect">
            <a:avLst/>
          </a:prstGeom>
          <a:solidFill>
            <a:srgbClr val="92D050"/>
          </a:solidFill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US" altLang="ko-KR" dirty="0"/>
              <a:t>80</a:t>
            </a:r>
            <a:r>
              <a:rPr lang="ko-KR" altLang="en-US" dirty="0"/>
              <a:t>억 인구 중</a:t>
            </a:r>
            <a:endParaRPr lang="en-US" altLang="ko-KR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ko-KR" altLang="en-US" dirty="0"/>
              <a:t>영어 사용 인구 </a:t>
            </a:r>
            <a:r>
              <a:rPr lang="en-US" altLang="ko-KR" dirty="0"/>
              <a:t>15</a:t>
            </a:r>
            <a:r>
              <a:rPr lang="ko-KR" altLang="en-US" dirty="0" err="1"/>
              <a:t>억명</a:t>
            </a:r>
            <a:r>
              <a:rPr lang="ko-KR" altLang="en-US" dirty="0"/>
              <a:t> </a:t>
            </a:r>
            <a:endParaRPr lang="en-US" altLang="ko-KR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ko-KR" altLang="en-US" dirty="0"/>
              <a:t>한국어 </a:t>
            </a:r>
            <a:r>
              <a:rPr lang="en-US" altLang="ko-KR" dirty="0"/>
              <a:t>8200</a:t>
            </a:r>
            <a:r>
              <a:rPr lang="ko-KR" altLang="en-US" dirty="0" err="1"/>
              <a:t>만명</a:t>
            </a:r>
            <a:r>
              <a:rPr lang="ko-KR" altLang="en-US" dirty="0"/>
              <a:t> 수준 </a:t>
            </a:r>
            <a:endParaRPr lang="en-US" altLang="ko-KR" dirty="0"/>
          </a:p>
          <a:p>
            <a:r>
              <a:rPr lang="en-US" altLang="ko-KR" dirty="0"/>
              <a:t>*</a:t>
            </a:r>
            <a:r>
              <a:rPr lang="ko-KR" altLang="en-US" dirty="0"/>
              <a:t>한국데이터 </a:t>
            </a:r>
            <a:r>
              <a:rPr lang="en-US" altLang="ko-KR" dirty="0"/>
              <a:t> </a:t>
            </a:r>
            <a:r>
              <a:rPr lang="ko-KR" altLang="en-US" dirty="0" err="1"/>
              <a:t>영어테이터화</a:t>
            </a:r>
            <a:r>
              <a:rPr lang="ko-KR" altLang="en-US" dirty="0"/>
              <a:t> 번역촉진 필수  </a:t>
            </a:r>
          </a:p>
        </p:txBody>
      </p:sp>
    </p:spTree>
    <p:extLst>
      <p:ext uri="{BB962C8B-B14F-4D97-AF65-F5344CB8AC3E}">
        <p14:creationId xmlns:p14="http://schemas.microsoft.com/office/powerpoint/2010/main" val="3335314196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날짜 개체 틀 2">
            <a:extLst>
              <a:ext uri="{FF2B5EF4-FFF2-40B4-BE49-F238E27FC236}">
                <a16:creationId xmlns:a16="http://schemas.microsoft.com/office/drawing/2014/main" id="{8BEC0EEF-E580-1F75-2490-8A8B2F4D11C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49494" y="6371350"/>
            <a:ext cx="4114800" cy="228600"/>
          </a:xfrm>
        </p:spPr>
        <p:txBody>
          <a:bodyPr/>
          <a:lstStyle/>
          <a:p>
            <a:fld id="{CFC9B95B-9606-41FD-9410-F2B308BBF263}" type="datetime1">
              <a:rPr lang="en-US" altLang="ko-KR" smtClean="0"/>
              <a:t>6/22/2023</a:t>
            </a:fld>
            <a:endParaRPr lang="en-US" dirty="0"/>
          </a:p>
        </p:txBody>
      </p:sp>
      <p:sp>
        <p:nvSpPr>
          <p:cNvPr id="7" name="내용 개체 틀 6"/>
          <p:cNvSpPr>
            <a:spLocks noGrp="1"/>
          </p:cNvSpPr>
          <p:nvPr>
            <p:ph idx="1"/>
          </p:nvPr>
        </p:nvSpPr>
        <p:spPr>
          <a:xfrm>
            <a:off x="602968" y="1876622"/>
            <a:ext cx="11046840" cy="3766185"/>
          </a:xfrm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>
            <a:normAutofit fontScale="70000" lnSpcReduction="20000"/>
          </a:bodyPr>
          <a:lstStyle/>
          <a:p>
            <a:pPr>
              <a:buFont typeface="Wingdings" panose="05000000000000000000" pitchFamily="2" charset="2"/>
              <a:buChar char="l"/>
            </a:pPr>
            <a:endParaRPr lang="en-US" altLang="ko-KR" dirty="0"/>
          </a:p>
          <a:p>
            <a:pPr>
              <a:buFont typeface="Wingdings" panose="05000000000000000000" pitchFamily="2" charset="2"/>
              <a:buChar char="l"/>
            </a:pPr>
            <a:r>
              <a:rPr lang="ko-KR" altLang="en-US" dirty="0"/>
              <a:t>빅데이터와 </a:t>
            </a:r>
            <a:r>
              <a:rPr lang="en-US" altLang="ko-KR" b="1" dirty="0">
                <a:solidFill>
                  <a:schemeClr val="tx1"/>
                </a:solidFill>
              </a:rPr>
              <a:t>&amp; AI  </a:t>
            </a:r>
            <a:r>
              <a:rPr lang="ko-KR" altLang="en-US" dirty="0"/>
              <a:t>활용  시장 원리 적용</a:t>
            </a:r>
            <a:r>
              <a:rPr lang="en-US" altLang="ko-KR" dirty="0"/>
              <a:t>&gt;&gt; </a:t>
            </a:r>
            <a:r>
              <a:rPr lang="ko-KR" altLang="en-US" dirty="0"/>
              <a:t> 규제는 명확히 </a:t>
            </a:r>
            <a:r>
              <a:rPr lang="en-US" altLang="ko-KR" dirty="0"/>
              <a:t>&gt; </a:t>
            </a:r>
            <a:r>
              <a:rPr lang="ko-KR" altLang="en-US" dirty="0"/>
              <a:t>스타트업 기업에게 기회를 제공 </a:t>
            </a:r>
            <a:endParaRPr lang="en-US" altLang="ko-KR" dirty="0"/>
          </a:p>
          <a:p>
            <a:pPr>
              <a:buFont typeface="Wingdings" panose="05000000000000000000" pitchFamily="2" charset="2"/>
              <a:buChar char="l"/>
            </a:pPr>
            <a:r>
              <a:rPr lang="ko-KR" altLang="en-US" dirty="0"/>
              <a:t>빅데이터와 </a:t>
            </a:r>
            <a:r>
              <a:rPr lang="en-US" altLang="ko-KR" b="1" dirty="0">
                <a:solidFill>
                  <a:schemeClr val="tx1"/>
                </a:solidFill>
              </a:rPr>
              <a:t>&amp; AI  </a:t>
            </a:r>
            <a:r>
              <a:rPr lang="ko-KR" altLang="en-US" dirty="0">
                <a:solidFill>
                  <a:schemeClr val="tx1"/>
                </a:solidFill>
              </a:rPr>
              <a:t>결과의 </a:t>
            </a:r>
            <a:r>
              <a:rPr lang="ko-KR" altLang="en-US" dirty="0"/>
              <a:t>변환</a:t>
            </a:r>
            <a:r>
              <a:rPr lang="en-US" altLang="ko-KR" dirty="0"/>
              <a:t>/</a:t>
            </a:r>
            <a:r>
              <a:rPr lang="ko-KR" altLang="en-US" dirty="0"/>
              <a:t>가공 그리고 활용에 관한 표준의 개발과 정립 정립</a:t>
            </a:r>
            <a:endParaRPr lang="en-US" altLang="ko-KR" dirty="0"/>
          </a:p>
          <a:p>
            <a:pPr>
              <a:buFont typeface="Arial" panose="020B0604020202020204" pitchFamily="34" charset="0"/>
              <a:buChar char="•"/>
            </a:pPr>
            <a:r>
              <a:rPr lang="en-US" altLang="ko-KR" dirty="0"/>
              <a:t> </a:t>
            </a:r>
            <a:r>
              <a:rPr lang="ko-KR" altLang="en-US" sz="2000" dirty="0"/>
              <a:t>빅데이터 </a:t>
            </a:r>
            <a:r>
              <a:rPr lang="en-US" altLang="ko-KR" sz="2000" b="1" dirty="0">
                <a:solidFill>
                  <a:schemeClr val="tx1"/>
                </a:solidFill>
              </a:rPr>
              <a:t>&amp; AI</a:t>
            </a:r>
            <a:r>
              <a:rPr lang="ko-KR" altLang="en-US" sz="2000" dirty="0"/>
              <a:t> 생성</a:t>
            </a:r>
            <a:r>
              <a:rPr lang="en-US" altLang="ko-KR" sz="2000" dirty="0"/>
              <a:t>, </a:t>
            </a:r>
            <a:r>
              <a:rPr lang="ko-KR" altLang="en-US" sz="2000" dirty="0"/>
              <a:t>가공</a:t>
            </a:r>
            <a:r>
              <a:rPr lang="en-US" altLang="ko-KR" sz="2000" dirty="0"/>
              <a:t>, </a:t>
            </a:r>
            <a:r>
              <a:rPr lang="ko-KR" altLang="en-US" sz="2000" dirty="0"/>
              <a:t>해석  관련 방법론</a:t>
            </a:r>
            <a:r>
              <a:rPr lang="en-US" altLang="ko-KR" sz="2000" dirty="0"/>
              <a:t>/</a:t>
            </a:r>
            <a:r>
              <a:rPr lang="ko-KR" altLang="en-US" sz="2000" dirty="0"/>
              <a:t>전달 방식의 개발과 활용에 따른 </a:t>
            </a:r>
            <a:endParaRPr lang="en-US" altLang="ko-KR" sz="2000" dirty="0"/>
          </a:p>
          <a:p>
            <a:pPr marL="0" indent="0">
              <a:buNone/>
            </a:pPr>
            <a:r>
              <a:rPr lang="en-US" altLang="ko-KR" sz="2000" dirty="0"/>
              <a:t>     </a:t>
            </a:r>
            <a:r>
              <a:rPr lang="ko-KR" altLang="en-US" sz="2000" dirty="0"/>
              <a:t>시간</a:t>
            </a:r>
            <a:r>
              <a:rPr lang="en-US" altLang="ko-KR" sz="2000" dirty="0"/>
              <a:t>/</a:t>
            </a:r>
            <a:r>
              <a:rPr lang="ko-KR" altLang="en-US" sz="2000" dirty="0"/>
              <a:t> 시행착오 방지에 따른 기회비용의 절감을 통한 경제성 제고</a:t>
            </a:r>
            <a:endParaRPr lang="en-US" altLang="ko-KR" sz="2000" dirty="0"/>
          </a:p>
          <a:p>
            <a:pPr>
              <a:buFont typeface="Arial" panose="020B0604020202020204" pitchFamily="34" charset="0"/>
              <a:buChar char="•"/>
            </a:pPr>
            <a:r>
              <a:rPr lang="en-US" altLang="ko-KR" sz="2000" dirty="0"/>
              <a:t> </a:t>
            </a:r>
            <a:r>
              <a:rPr lang="ko-KR" altLang="en-US" sz="2000" dirty="0"/>
              <a:t>글로벌 표준과 연대를 통한 호환성 극대화 </a:t>
            </a:r>
            <a:r>
              <a:rPr lang="en-US" altLang="ko-KR" sz="2000" dirty="0"/>
              <a:t> </a:t>
            </a:r>
            <a:r>
              <a:rPr lang="ko-KR" altLang="en-US" sz="2000" dirty="0"/>
              <a:t> </a:t>
            </a:r>
            <a:endParaRPr lang="en-US" altLang="ko-KR" sz="2000" dirty="0"/>
          </a:p>
          <a:p>
            <a:pPr marL="0" indent="0">
              <a:buNone/>
            </a:pPr>
            <a:r>
              <a:rPr lang="ko-KR" altLang="en-US" sz="2000" dirty="0"/>
              <a:t> </a:t>
            </a:r>
            <a:endParaRPr lang="en-US" altLang="ko-KR" sz="2000" dirty="0"/>
          </a:p>
          <a:p>
            <a:pPr>
              <a:lnSpc>
                <a:spcPct val="160000"/>
              </a:lnSpc>
              <a:buFont typeface="Wingdings" panose="05000000000000000000" pitchFamily="2" charset="2"/>
              <a:buChar char="l"/>
            </a:pPr>
            <a:r>
              <a:rPr lang="ko-KR" altLang="en-US" dirty="0"/>
              <a:t> 빅데이터 </a:t>
            </a:r>
            <a:r>
              <a:rPr lang="en-US" altLang="ko-KR" b="1" dirty="0">
                <a:solidFill>
                  <a:schemeClr val="tx1"/>
                </a:solidFill>
              </a:rPr>
              <a:t>&amp; AI </a:t>
            </a:r>
            <a:r>
              <a:rPr lang="ko-KR" altLang="en-US" dirty="0"/>
              <a:t>의  안전</a:t>
            </a:r>
            <a:r>
              <a:rPr lang="en-US" altLang="ko-KR" dirty="0"/>
              <a:t>/</a:t>
            </a:r>
            <a:r>
              <a:rPr lang="ko-KR" altLang="en-US" dirty="0"/>
              <a:t>보안시스템에 관한 개발과</a:t>
            </a:r>
            <a:r>
              <a:rPr lang="en-US" altLang="ko-KR" dirty="0"/>
              <a:t> </a:t>
            </a:r>
            <a:r>
              <a:rPr lang="ko-KR" altLang="en-US" dirty="0"/>
              <a:t>모든 조직내 적용</a:t>
            </a:r>
            <a:r>
              <a:rPr lang="en-US" altLang="ko-KR" dirty="0"/>
              <a:t>/  </a:t>
            </a:r>
            <a:r>
              <a:rPr lang="ko-KR" altLang="en-US" dirty="0"/>
              <a:t>교육 등 지원강화 </a:t>
            </a:r>
            <a:endParaRPr lang="en-US" altLang="ko-KR" dirty="0"/>
          </a:p>
          <a:p>
            <a:pPr marL="0" indent="0">
              <a:buNone/>
            </a:pPr>
            <a:r>
              <a:rPr lang="ko-KR" altLang="en-US" dirty="0"/>
              <a:t> </a:t>
            </a:r>
            <a:endParaRPr lang="en-US" altLang="ko-KR" dirty="0"/>
          </a:p>
          <a:p>
            <a:pPr>
              <a:buFont typeface="Wingdings" panose="05000000000000000000" pitchFamily="2" charset="2"/>
              <a:buChar char="l"/>
            </a:pPr>
            <a:r>
              <a:rPr lang="en-US" altLang="ko-KR" dirty="0"/>
              <a:t> </a:t>
            </a:r>
            <a:r>
              <a:rPr lang="ko-KR" altLang="en-US" dirty="0"/>
              <a:t>빅데이터</a:t>
            </a:r>
            <a:r>
              <a:rPr lang="en-US" altLang="ko-KR" b="1" dirty="0">
                <a:solidFill>
                  <a:schemeClr val="tx1"/>
                </a:solidFill>
              </a:rPr>
              <a:t> &amp; AI</a:t>
            </a:r>
            <a:r>
              <a:rPr lang="ko-KR" altLang="en-US" dirty="0"/>
              <a:t>  범죄와 가짜 정보의 유통에 관한 엄중한 규범시스템 </a:t>
            </a:r>
            <a:r>
              <a:rPr lang="en-US" altLang="ko-KR" dirty="0"/>
              <a:t>&gt; </a:t>
            </a:r>
            <a:r>
              <a:rPr lang="ko-KR" altLang="en-US" dirty="0"/>
              <a:t>법제정과 집행 </a:t>
            </a:r>
            <a:endParaRPr lang="en-US" altLang="ko-KR" dirty="0"/>
          </a:p>
          <a:p>
            <a:pPr marL="0" indent="0">
              <a:buNone/>
            </a:pPr>
            <a:endParaRPr lang="en-US" altLang="ko-KR" dirty="0"/>
          </a:p>
        </p:txBody>
      </p:sp>
      <p:sp>
        <p:nvSpPr>
          <p:cNvPr id="8" name="제목 1"/>
          <p:cNvSpPr txBox="1">
            <a:spLocks/>
          </p:cNvSpPr>
          <p:nvPr/>
        </p:nvSpPr>
        <p:spPr>
          <a:xfrm>
            <a:off x="339798" y="67260"/>
            <a:ext cx="11558160" cy="875199"/>
          </a:xfrm>
          <a:prstGeom prst="rect">
            <a:avLst/>
          </a:prstGeom>
          <a:solidFill>
            <a:srgbClr val="0070C0"/>
          </a:solidFill>
        </p:spPr>
        <p:txBody>
          <a:bodyPr vert="horz" lIns="91440" tIns="45720" rIns="91440" bIns="45720" rtlCol="0" anchor="ctr">
            <a:normAutofit fontScale="92500" lnSpcReduction="10000"/>
          </a:bodyPr>
          <a:lstStyle>
            <a:lvl1pPr algn="l" defTabSz="914400" rtl="0" eaLnBrk="1" latinLnBrk="1" hangingPunct="1">
              <a:lnSpc>
                <a:spcPct val="85000"/>
              </a:lnSpc>
              <a:spcBef>
                <a:spcPct val="0"/>
              </a:spcBef>
              <a:buNone/>
              <a:defRPr sz="5400" kern="1200" spc="-120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altLang="ko-KR" sz="3600" b="1" kern="0" dirty="0">
                <a:solidFill>
                  <a:schemeClr val="bg1"/>
                </a:solidFill>
                <a:latin typeface="+mj-ea"/>
              </a:rPr>
              <a:t> </a:t>
            </a:r>
            <a:endParaRPr lang="en-US" altLang="ko-KR" sz="3600" b="1" kern="0" dirty="0" smtClean="0">
              <a:solidFill>
                <a:schemeClr val="bg1"/>
              </a:solidFill>
              <a:latin typeface="+mj-ea"/>
            </a:endParaRPr>
          </a:p>
          <a:p>
            <a:r>
              <a:rPr lang="en-US" altLang="ko-KR" sz="3600" b="1" kern="0" dirty="0" smtClean="0">
                <a:solidFill>
                  <a:schemeClr val="bg1"/>
                </a:solidFill>
                <a:latin typeface="+mj-ea"/>
              </a:rPr>
              <a:t>IV</a:t>
            </a:r>
            <a:r>
              <a:rPr lang="en-US" altLang="ko-KR" sz="3600" b="1" kern="0" dirty="0">
                <a:solidFill>
                  <a:schemeClr val="bg1"/>
                </a:solidFill>
                <a:latin typeface="+mj-ea"/>
              </a:rPr>
              <a:t>. </a:t>
            </a:r>
            <a:r>
              <a:rPr lang="ko-KR" altLang="en-US" sz="3600" b="1" kern="0" dirty="0" smtClean="0">
                <a:solidFill>
                  <a:schemeClr val="bg1"/>
                </a:solidFill>
                <a:latin typeface="+mj-ea"/>
              </a:rPr>
              <a:t>유통 산업 내  </a:t>
            </a:r>
            <a:r>
              <a:rPr lang="ko-KR" altLang="en-US" sz="3600" b="1" kern="0" dirty="0">
                <a:solidFill>
                  <a:schemeClr val="bg1"/>
                </a:solidFill>
                <a:latin typeface="+mj-ea"/>
              </a:rPr>
              <a:t>정부지원 정책제안  </a:t>
            </a:r>
            <a:endParaRPr lang="en-US" altLang="ko-KR" sz="3600" b="1" kern="0" dirty="0">
              <a:solidFill>
                <a:schemeClr val="bg1"/>
              </a:solidFill>
              <a:latin typeface="+mj-ea"/>
            </a:endParaRPr>
          </a:p>
          <a:p>
            <a:endParaRPr lang="ko-KR" altLang="en-US" sz="3600" dirty="0">
              <a:solidFill>
                <a:schemeClr val="bg1"/>
              </a:solidFill>
              <a:latin typeface="HY강B" panose="02030600000101010101" pitchFamily="18" charset="-127"/>
              <a:ea typeface="HY강B" panose="02030600000101010101" pitchFamily="18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444885954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왼쪽 화살표 설명선 21"/>
          <p:cNvSpPr/>
          <p:nvPr/>
        </p:nvSpPr>
        <p:spPr>
          <a:xfrm>
            <a:off x="7390714" y="2485302"/>
            <a:ext cx="4335332" cy="3063640"/>
          </a:xfrm>
          <a:prstGeom prst="leftArrowCallou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3" name="날짜 개체 틀 2">
            <a:extLst>
              <a:ext uri="{FF2B5EF4-FFF2-40B4-BE49-F238E27FC236}">
                <a16:creationId xmlns:a16="http://schemas.microsoft.com/office/drawing/2014/main" id="{8BEC0EEF-E580-1F75-2490-8A8B2F4D11C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49494" y="6371350"/>
            <a:ext cx="4114800" cy="228600"/>
          </a:xfrm>
        </p:spPr>
        <p:txBody>
          <a:bodyPr/>
          <a:lstStyle/>
          <a:p>
            <a:fld id="{CFC9B95B-9606-41FD-9410-F2B308BBF263}" type="datetime1">
              <a:rPr lang="en-US" altLang="ko-KR" smtClean="0"/>
              <a:t>6/22/2023</a:t>
            </a:fld>
            <a:endParaRPr lang="en-US" dirty="0"/>
          </a:p>
        </p:txBody>
      </p:sp>
      <p:sp>
        <p:nvSpPr>
          <p:cNvPr id="6" name="TextBox 5"/>
          <p:cNvSpPr txBox="1"/>
          <p:nvPr/>
        </p:nvSpPr>
        <p:spPr>
          <a:xfrm>
            <a:off x="534493" y="1302662"/>
            <a:ext cx="9154630" cy="461665"/>
          </a:xfrm>
          <a:prstGeom prst="rect">
            <a:avLst/>
          </a:prstGeom>
          <a:solidFill>
            <a:srgbClr val="002060"/>
          </a:solidFill>
        </p:spPr>
        <p:txBody>
          <a:bodyPr wrap="square" rtlCol="0">
            <a:spAutoFit/>
          </a:bodyPr>
          <a:lstStyle/>
          <a:p>
            <a:r>
              <a:rPr lang="en-US" altLang="ko-KR" sz="2400" b="1" dirty="0"/>
              <a:t> </a:t>
            </a:r>
            <a:r>
              <a:rPr lang="ko-KR" altLang="en-US" sz="2400" b="1" dirty="0" err="1">
                <a:solidFill>
                  <a:schemeClr val="bg1"/>
                </a:solidFill>
              </a:rPr>
              <a:t>빅데이터</a:t>
            </a:r>
            <a:r>
              <a:rPr lang="ko-KR" altLang="en-US" sz="2400" b="1" dirty="0">
                <a:solidFill>
                  <a:schemeClr val="bg1"/>
                </a:solidFill>
              </a:rPr>
              <a:t> </a:t>
            </a:r>
            <a:r>
              <a:rPr lang="en-US" altLang="ko-KR" sz="2400" b="1" dirty="0">
                <a:solidFill>
                  <a:schemeClr val="bg1"/>
                </a:solidFill>
              </a:rPr>
              <a:t>&amp; AI</a:t>
            </a:r>
            <a:r>
              <a:rPr lang="ko-KR" altLang="en-US" sz="2400" b="1" dirty="0">
                <a:solidFill>
                  <a:schemeClr val="bg1"/>
                </a:solidFill>
              </a:rPr>
              <a:t> 관련 연계기술</a:t>
            </a:r>
            <a:r>
              <a:rPr lang="en-US" altLang="ko-KR" sz="2400" b="1" dirty="0">
                <a:solidFill>
                  <a:schemeClr val="bg1"/>
                </a:solidFill>
              </a:rPr>
              <a:t>/</a:t>
            </a:r>
            <a:r>
              <a:rPr lang="ko-KR" altLang="en-US" sz="2400" b="1" dirty="0">
                <a:solidFill>
                  <a:schemeClr val="bg1"/>
                </a:solidFill>
              </a:rPr>
              <a:t>방법론 의 개발과 </a:t>
            </a:r>
            <a:r>
              <a:rPr lang="ko-KR" altLang="en-US" sz="2400" b="1" dirty="0" err="1">
                <a:solidFill>
                  <a:schemeClr val="bg1"/>
                </a:solidFill>
              </a:rPr>
              <a:t>융복합</a:t>
            </a:r>
            <a:r>
              <a:rPr lang="ko-KR" altLang="en-US" sz="2400" b="1" dirty="0">
                <a:solidFill>
                  <a:schemeClr val="bg1"/>
                </a:solidFill>
              </a:rPr>
              <a:t>  지원</a:t>
            </a:r>
            <a:r>
              <a:rPr lang="ko-KR" altLang="en-US" sz="2400" dirty="0">
                <a:solidFill>
                  <a:schemeClr val="bg1"/>
                </a:solidFill>
              </a:rPr>
              <a:t>  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9113178" y="4962418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ko-KR" altLang="en-US"/>
          </a:p>
        </p:txBody>
      </p:sp>
      <p:graphicFrame>
        <p:nvGraphicFramePr>
          <p:cNvPr id="13" name="다이어그램 12"/>
          <p:cNvGraphicFramePr/>
          <p:nvPr>
            <p:extLst/>
          </p:nvPr>
        </p:nvGraphicFramePr>
        <p:xfrm>
          <a:off x="534493" y="1764327"/>
          <a:ext cx="8044031" cy="580203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grpSp>
        <p:nvGrpSpPr>
          <p:cNvPr id="17" name="그룹 16"/>
          <p:cNvGrpSpPr/>
          <p:nvPr/>
        </p:nvGrpSpPr>
        <p:grpSpPr>
          <a:xfrm>
            <a:off x="2133600" y="4916735"/>
            <a:ext cx="2223223" cy="2182296"/>
            <a:chOff x="2648509" y="207819"/>
            <a:chExt cx="1849382" cy="1849382"/>
          </a:xfrm>
          <a:solidFill>
            <a:srgbClr val="D6A048"/>
          </a:solidFill>
        </p:grpSpPr>
        <p:sp>
          <p:nvSpPr>
            <p:cNvPr id="18" name="도형 17"/>
            <p:cNvSpPr/>
            <p:nvPr/>
          </p:nvSpPr>
          <p:spPr>
            <a:xfrm rot="20700000">
              <a:off x="2648509" y="207819"/>
              <a:ext cx="1849382" cy="1849382"/>
            </a:xfrm>
            <a:prstGeom prst="gear6">
              <a:avLst/>
            </a:prstGeom>
            <a:grpFill/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</p:sp>
        <p:sp>
          <p:nvSpPr>
            <p:cNvPr id="19" name="도형 4"/>
            <p:cNvSpPr/>
            <p:nvPr/>
          </p:nvSpPr>
          <p:spPr>
            <a:xfrm>
              <a:off x="3054133" y="613443"/>
              <a:ext cx="1038135" cy="1038135"/>
            </a:xfrm>
            <a:prstGeom prst="rect">
              <a:avLst/>
            </a:prstGeom>
            <a:grp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25400" tIns="25400" rIns="25400" bIns="25400" numCol="1" spcCol="1270" anchor="ctr" anchorCtr="0">
              <a:noAutofit/>
            </a:bodyPr>
            <a:lstStyle/>
            <a:p>
              <a:pPr lvl="0" algn="ctr" defTabSz="889000" latinLnBrk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ko-KR" altLang="en-US" sz="2000" kern="1200"/>
            </a:p>
          </p:txBody>
        </p:sp>
      </p:grpSp>
      <p:sp>
        <p:nvSpPr>
          <p:cNvPr id="20" name="TextBox 19"/>
          <p:cNvSpPr txBox="1"/>
          <p:nvPr/>
        </p:nvSpPr>
        <p:spPr>
          <a:xfrm>
            <a:off x="2777233" y="5299465"/>
            <a:ext cx="972032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2400" dirty="0"/>
              <a:t> </a:t>
            </a:r>
            <a:r>
              <a:rPr lang="ko-KR" altLang="en-US" sz="2400" dirty="0"/>
              <a:t>센스</a:t>
            </a:r>
            <a:r>
              <a:rPr lang="en-US" altLang="ko-KR" sz="2400" dirty="0"/>
              <a:t>/4D</a:t>
            </a:r>
            <a:endParaRPr lang="ko-KR" altLang="en-US" sz="2400" dirty="0"/>
          </a:p>
        </p:txBody>
      </p:sp>
      <p:sp>
        <p:nvSpPr>
          <p:cNvPr id="21" name="TextBox 20"/>
          <p:cNvSpPr txBox="1"/>
          <p:nvPr/>
        </p:nvSpPr>
        <p:spPr>
          <a:xfrm>
            <a:off x="8944815" y="2591563"/>
            <a:ext cx="2781231" cy="2400657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ko-KR" altLang="en-US" sz="2000" dirty="0">
                <a:solidFill>
                  <a:srgbClr val="002060"/>
                </a:solidFill>
                <a:latin typeface="+mj-ea"/>
                <a:ea typeface="+mj-ea"/>
              </a:rPr>
              <a:t>균형적 기술발전을 통한 </a:t>
            </a:r>
            <a:endParaRPr lang="en-US" altLang="ko-KR" sz="2000" dirty="0">
              <a:solidFill>
                <a:srgbClr val="002060"/>
              </a:solidFill>
              <a:latin typeface="+mj-ea"/>
              <a:ea typeface="+mj-ea"/>
            </a:endParaRP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ko-KR" altLang="en-US" sz="2000" dirty="0" err="1">
                <a:solidFill>
                  <a:srgbClr val="002060"/>
                </a:solidFill>
                <a:latin typeface="+mj-ea"/>
                <a:ea typeface="+mj-ea"/>
              </a:rPr>
              <a:t>빅데이터</a:t>
            </a:r>
            <a:r>
              <a:rPr lang="ko-KR" altLang="en-US" sz="2000" dirty="0">
                <a:solidFill>
                  <a:srgbClr val="002060"/>
                </a:solidFill>
                <a:latin typeface="+mj-ea"/>
                <a:ea typeface="+mj-ea"/>
              </a:rPr>
              <a:t> 주권 사회</a:t>
            </a:r>
            <a:endParaRPr lang="en-US" altLang="ko-KR" sz="2000" dirty="0">
              <a:solidFill>
                <a:srgbClr val="002060"/>
              </a:solidFill>
              <a:latin typeface="+mj-ea"/>
              <a:ea typeface="+mj-ea"/>
            </a:endParaRP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ko-KR" altLang="en-US" sz="2000" dirty="0">
                <a:solidFill>
                  <a:srgbClr val="002060"/>
                </a:solidFill>
                <a:latin typeface="+mj-ea"/>
                <a:ea typeface="+mj-ea"/>
              </a:rPr>
              <a:t>글로벌 경쟁우위   </a:t>
            </a:r>
            <a:endParaRPr lang="en-US" altLang="ko-KR" sz="2000" dirty="0">
              <a:solidFill>
                <a:srgbClr val="002060"/>
              </a:solidFill>
              <a:latin typeface="+mj-ea"/>
              <a:ea typeface="+mj-ea"/>
            </a:endParaRP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ko-KR" altLang="en-US" sz="2000" dirty="0">
                <a:solidFill>
                  <a:srgbClr val="002060"/>
                </a:solidFill>
                <a:latin typeface="+mj-ea"/>
                <a:ea typeface="+mj-ea"/>
              </a:rPr>
              <a:t>지속성장 </a:t>
            </a:r>
            <a:r>
              <a:rPr lang="ko-KR" altLang="en-US" sz="2000" dirty="0" err="1">
                <a:solidFill>
                  <a:srgbClr val="002060"/>
                </a:solidFill>
                <a:latin typeface="+mj-ea"/>
                <a:ea typeface="+mj-ea"/>
              </a:rPr>
              <a:t>리딩</a:t>
            </a:r>
            <a:r>
              <a:rPr lang="ko-KR" altLang="en-US" sz="2000" dirty="0">
                <a:solidFill>
                  <a:srgbClr val="002060"/>
                </a:solidFill>
                <a:latin typeface="+mj-ea"/>
                <a:ea typeface="+mj-ea"/>
              </a:rPr>
              <a:t> 가능  </a:t>
            </a:r>
          </a:p>
        </p:txBody>
      </p:sp>
      <p:sp>
        <p:nvSpPr>
          <p:cNvPr id="4" name="직사각형 3"/>
          <p:cNvSpPr/>
          <p:nvPr/>
        </p:nvSpPr>
        <p:spPr>
          <a:xfrm rot="10800000" flipV="1">
            <a:off x="343400" y="2775371"/>
            <a:ext cx="1946984" cy="20313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ko-KR" altLang="en-US" dirty="0"/>
              <a:t>지연속도 </a:t>
            </a:r>
            <a:r>
              <a:rPr lang="en-US" altLang="ko-KR" dirty="0"/>
              <a:t>5G </a:t>
            </a:r>
            <a:r>
              <a:rPr lang="ko-KR" altLang="en-US" dirty="0"/>
              <a:t>의</a:t>
            </a:r>
            <a:r>
              <a:rPr lang="en-US" altLang="ko-KR" dirty="0"/>
              <a:t> 10</a:t>
            </a:r>
            <a:r>
              <a:rPr lang="ko-KR" altLang="en-US" dirty="0"/>
              <a:t>분의</a:t>
            </a:r>
            <a:r>
              <a:rPr lang="en-US" altLang="ko-KR" dirty="0"/>
              <a:t>1 </a:t>
            </a:r>
            <a:r>
              <a:rPr lang="ko-KR" altLang="en-US" dirty="0"/>
              <a:t>수준</a:t>
            </a:r>
            <a:r>
              <a:rPr lang="en-US" altLang="ko-KR" dirty="0"/>
              <a:t>/ </a:t>
            </a:r>
            <a:r>
              <a:rPr lang="ko-KR" altLang="en-US" dirty="0"/>
              <a:t>전송속도는 </a:t>
            </a:r>
            <a:r>
              <a:rPr lang="en-US" altLang="ko-KR" dirty="0"/>
              <a:t>50</a:t>
            </a:r>
            <a:r>
              <a:rPr lang="ko-KR" altLang="en-US" dirty="0"/>
              <a:t>배</a:t>
            </a:r>
            <a:r>
              <a:rPr lang="en-US" altLang="ko-KR" dirty="0"/>
              <a:t>( 1</a:t>
            </a:r>
            <a:r>
              <a:rPr lang="ko-KR" altLang="en-US" dirty="0"/>
              <a:t>초에 </a:t>
            </a:r>
            <a:r>
              <a:rPr lang="en-US" altLang="ko-KR" dirty="0"/>
              <a:t>1</a:t>
            </a:r>
            <a:r>
              <a:rPr lang="ko-KR" altLang="en-US" dirty="0" err="1"/>
              <a:t>조비트</a:t>
            </a:r>
            <a:r>
              <a:rPr lang="ko-KR" altLang="en-US" dirty="0"/>
              <a:t> 전송 가능</a:t>
            </a:r>
            <a:r>
              <a:rPr lang="en-US" altLang="ko-KR" dirty="0"/>
              <a:t>)</a:t>
            </a:r>
          </a:p>
          <a:p>
            <a:r>
              <a:rPr lang="ko-KR" altLang="en-US" dirty="0"/>
              <a:t>직접 감지 기술 </a:t>
            </a:r>
            <a:endParaRPr lang="en-US" altLang="ko-KR" dirty="0"/>
          </a:p>
        </p:txBody>
      </p:sp>
      <p:sp>
        <p:nvSpPr>
          <p:cNvPr id="14" name="제목 1"/>
          <p:cNvSpPr txBox="1">
            <a:spLocks/>
          </p:cNvSpPr>
          <p:nvPr/>
        </p:nvSpPr>
        <p:spPr>
          <a:xfrm>
            <a:off x="339798" y="67260"/>
            <a:ext cx="11558160" cy="875199"/>
          </a:xfrm>
          <a:prstGeom prst="rect">
            <a:avLst/>
          </a:prstGeom>
          <a:solidFill>
            <a:srgbClr val="0070C0"/>
          </a:solidFill>
        </p:spPr>
        <p:txBody>
          <a:bodyPr vert="horz" lIns="91440" tIns="45720" rIns="91440" bIns="45720" rtlCol="0" anchor="ctr">
            <a:normAutofit fontScale="92500" lnSpcReduction="10000"/>
          </a:bodyPr>
          <a:lstStyle>
            <a:lvl1pPr algn="l" defTabSz="914400" rtl="0" eaLnBrk="1" latinLnBrk="1" hangingPunct="1">
              <a:lnSpc>
                <a:spcPct val="85000"/>
              </a:lnSpc>
              <a:spcBef>
                <a:spcPct val="0"/>
              </a:spcBef>
              <a:buNone/>
              <a:defRPr sz="5400" kern="1200" spc="-120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altLang="ko-KR" sz="3600" b="1" kern="0" dirty="0">
                <a:solidFill>
                  <a:schemeClr val="bg1"/>
                </a:solidFill>
                <a:latin typeface="+mj-ea"/>
              </a:rPr>
              <a:t> </a:t>
            </a:r>
            <a:endParaRPr lang="en-US" altLang="ko-KR" sz="3600" b="1" kern="0" dirty="0" smtClean="0">
              <a:solidFill>
                <a:schemeClr val="bg1"/>
              </a:solidFill>
              <a:latin typeface="+mj-ea"/>
            </a:endParaRPr>
          </a:p>
          <a:p>
            <a:r>
              <a:rPr lang="en-US" altLang="ko-KR" sz="3600" b="1" kern="0" dirty="0" smtClean="0">
                <a:solidFill>
                  <a:schemeClr val="bg1"/>
                </a:solidFill>
                <a:latin typeface="+mj-ea"/>
              </a:rPr>
              <a:t>IV</a:t>
            </a:r>
            <a:r>
              <a:rPr lang="en-US" altLang="ko-KR" sz="3600" b="1" kern="0" dirty="0">
                <a:solidFill>
                  <a:schemeClr val="bg1"/>
                </a:solidFill>
                <a:latin typeface="+mj-ea"/>
              </a:rPr>
              <a:t>. </a:t>
            </a:r>
            <a:r>
              <a:rPr lang="ko-KR" altLang="en-US" sz="3600" b="1" kern="0" dirty="0" smtClean="0">
                <a:solidFill>
                  <a:schemeClr val="bg1"/>
                </a:solidFill>
                <a:latin typeface="+mj-ea"/>
              </a:rPr>
              <a:t>유통 산업 내  </a:t>
            </a:r>
            <a:r>
              <a:rPr lang="ko-KR" altLang="en-US" sz="3600" b="1" kern="0" dirty="0">
                <a:solidFill>
                  <a:schemeClr val="bg1"/>
                </a:solidFill>
                <a:latin typeface="+mj-ea"/>
              </a:rPr>
              <a:t>정부지원 정책제안  </a:t>
            </a:r>
            <a:endParaRPr lang="en-US" altLang="ko-KR" sz="3600" b="1" kern="0" dirty="0">
              <a:solidFill>
                <a:schemeClr val="bg1"/>
              </a:solidFill>
              <a:latin typeface="+mj-ea"/>
            </a:endParaRPr>
          </a:p>
          <a:p>
            <a:endParaRPr lang="ko-KR" altLang="en-US" sz="3600" dirty="0">
              <a:solidFill>
                <a:schemeClr val="bg1"/>
              </a:solidFill>
              <a:latin typeface="HY강B" panose="02030600000101010101" pitchFamily="18" charset="-127"/>
              <a:ea typeface="HY강B" panose="02030600000101010101" pitchFamily="18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352061070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날짜 개체 틀 6">
            <a:extLst>
              <a:ext uri="{FF2B5EF4-FFF2-40B4-BE49-F238E27FC236}">
                <a16:creationId xmlns:a16="http://schemas.microsoft.com/office/drawing/2014/main" id="{5AE71DD0-0DE3-0200-03FE-13061E5E59E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3B7B391-8541-4626-9241-4D8AC8062DCC}" type="datetime1">
              <a:rPr lang="en-US" altLang="ko-KR" smtClean="0"/>
              <a:t>6/22/2023</a:t>
            </a:fld>
            <a:endParaRPr lang="en-US" dirty="0"/>
          </a:p>
        </p:txBody>
      </p:sp>
      <p:sp>
        <p:nvSpPr>
          <p:cNvPr id="10" name="슬라이드 번호 개체 틀 9">
            <a:extLst>
              <a:ext uri="{FF2B5EF4-FFF2-40B4-BE49-F238E27FC236}">
                <a16:creationId xmlns:a16="http://schemas.microsoft.com/office/drawing/2014/main" id="{D911B350-24D0-D822-B925-EF6B3028746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smtClean="0"/>
              <a:t>37</a:t>
            </a:fld>
            <a:endParaRPr lang="en-US" dirty="0"/>
          </a:p>
        </p:txBody>
      </p:sp>
      <p:graphicFrame>
        <p:nvGraphicFramePr>
          <p:cNvPr id="2" name="다이어그램 1"/>
          <p:cNvGraphicFramePr/>
          <p:nvPr>
            <p:extLst>
              <p:ext uri="{D42A27DB-BD31-4B8C-83A1-F6EECF244321}">
                <p14:modId xmlns:p14="http://schemas.microsoft.com/office/powerpoint/2010/main" val="3714363099"/>
              </p:ext>
            </p:extLst>
          </p:nvPr>
        </p:nvGraphicFramePr>
        <p:xfrm>
          <a:off x="635926" y="1400938"/>
          <a:ext cx="8128000" cy="550363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3" name="TextBox 2"/>
          <p:cNvSpPr txBox="1"/>
          <p:nvPr/>
        </p:nvSpPr>
        <p:spPr>
          <a:xfrm>
            <a:off x="7525116" y="1533538"/>
            <a:ext cx="3828684" cy="230832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v"/>
            </a:pPr>
            <a:r>
              <a:rPr lang="en-US" altLang="ko-KR" dirty="0"/>
              <a:t> </a:t>
            </a:r>
            <a:r>
              <a:rPr lang="ko-KR" altLang="en-US" dirty="0" smtClean="0"/>
              <a:t>모든</a:t>
            </a:r>
            <a:r>
              <a:rPr lang="en-US" altLang="ko-KR" dirty="0" smtClean="0"/>
              <a:t> </a:t>
            </a:r>
            <a:r>
              <a:rPr lang="ko-KR" altLang="en-US" dirty="0"/>
              <a:t>교육</a:t>
            </a:r>
            <a:r>
              <a:rPr lang="en-US" altLang="ko-KR" dirty="0"/>
              <a:t>: </a:t>
            </a:r>
            <a:r>
              <a:rPr lang="ko-KR" altLang="en-US" dirty="0"/>
              <a:t>초등</a:t>
            </a:r>
            <a:r>
              <a:rPr lang="en-US" altLang="ko-KR" dirty="0"/>
              <a:t>&gt;</a:t>
            </a:r>
            <a:r>
              <a:rPr lang="ko-KR" altLang="en-US" dirty="0"/>
              <a:t> 중등 </a:t>
            </a:r>
            <a:r>
              <a:rPr lang="en-US" altLang="ko-KR" dirty="0"/>
              <a:t>&gt;</a:t>
            </a:r>
            <a:r>
              <a:rPr lang="ko-KR" altLang="en-US" dirty="0"/>
              <a:t>고등</a:t>
            </a:r>
            <a:r>
              <a:rPr lang="en-US" altLang="ko-KR" dirty="0"/>
              <a:t>&gt;</a:t>
            </a:r>
            <a:r>
              <a:rPr lang="ko-KR" altLang="en-US" dirty="0"/>
              <a:t> 대학에 이르기까지  빅데이터 </a:t>
            </a:r>
            <a:r>
              <a:rPr lang="en-US" altLang="ko-KR" dirty="0"/>
              <a:t>&amp; AI </a:t>
            </a:r>
            <a:r>
              <a:rPr lang="ko-KR" altLang="en-US" dirty="0"/>
              <a:t>교육</a:t>
            </a:r>
            <a:r>
              <a:rPr lang="en-US" altLang="ko-KR" dirty="0"/>
              <a:t> </a:t>
            </a:r>
            <a:r>
              <a:rPr lang="ko-KR" altLang="en-US" dirty="0"/>
              <a:t>필수 교과내용에 삽입 </a:t>
            </a:r>
            <a:r>
              <a:rPr lang="ko-KR" altLang="en-US" dirty="0" smtClean="0"/>
              <a:t>교육</a:t>
            </a:r>
            <a:endParaRPr lang="en-US" altLang="ko-KR" dirty="0" smtClean="0"/>
          </a:p>
          <a:p>
            <a:pPr marL="285750" indent="-285750">
              <a:buFont typeface="Wingdings" panose="05000000000000000000" pitchFamily="2" charset="2"/>
              <a:buChar char="v"/>
            </a:pPr>
            <a:r>
              <a:rPr lang="ko-KR" altLang="en-US" dirty="0" smtClean="0"/>
              <a:t>직업훈련원</a:t>
            </a:r>
            <a:r>
              <a:rPr lang="en-US" altLang="ko-KR" dirty="0" smtClean="0"/>
              <a:t>/ </a:t>
            </a:r>
            <a:r>
              <a:rPr lang="ko-KR" altLang="en-US" dirty="0" smtClean="0"/>
              <a:t>평생교육원</a:t>
            </a:r>
            <a:r>
              <a:rPr lang="en-US" altLang="ko-KR" dirty="0" smtClean="0"/>
              <a:t>/ </a:t>
            </a:r>
            <a:r>
              <a:rPr lang="ko-KR" altLang="en-US" dirty="0" smtClean="0"/>
              <a:t>기업 내부 연수원</a:t>
            </a:r>
            <a:r>
              <a:rPr lang="en-US" altLang="ko-KR" dirty="0" smtClean="0"/>
              <a:t>/ </a:t>
            </a:r>
            <a:r>
              <a:rPr lang="ko-KR" altLang="en-US" dirty="0" smtClean="0"/>
              <a:t>온라인 강의 </a:t>
            </a:r>
            <a:r>
              <a:rPr lang="en-US" altLang="ko-KR" dirty="0" smtClean="0"/>
              <a:t>/</a:t>
            </a:r>
            <a:r>
              <a:rPr lang="ko-KR" altLang="en-US" dirty="0" err="1" smtClean="0"/>
              <a:t>유튜버</a:t>
            </a:r>
            <a:r>
              <a:rPr lang="ko-KR" altLang="en-US" dirty="0" smtClean="0"/>
              <a:t> 등에도 지원 확대 </a:t>
            </a:r>
            <a:endParaRPr lang="en-US" altLang="ko-KR" dirty="0"/>
          </a:p>
          <a:p>
            <a:pPr marL="285750" indent="-285750">
              <a:buFont typeface="Wingdings" panose="05000000000000000000" pitchFamily="2" charset="2"/>
              <a:buChar char="v"/>
            </a:pPr>
            <a:r>
              <a:rPr lang="ko-KR" altLang="en-US" dirty="0"/>
              <a:t>해외 인재 교수 임용  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685800" y="1302706"/>
            <a:ext cx="3445136" cy="461665"/>
          </a:xfrm>
          <a:prstGeom prst="rect">
            <a:avLst/>
          </a:prstGeom>
          <a:solidFill>
            <a:srgbClr val="002060"/>
          </a:solidFill>
        </p:spPr>
        <p:txBody>
          <a:bodyPr wrap="square" rtlCol="0">
            <a:spAutoFit/>
          </a:bodyPr>
          <a:lstStyle/>
          <a:p>
            <a:r>
              <a:rPr lang="ko-KR" altLang="en-US" sz="2400" dirty="0" smtClean="0">
                <a:solidFill>
                  <a:schemeClr val="bg1"/>
                </a:solidFill>
              </a:rPr>
              <a:t>정책지원</a:t>
            </a:r>
            <a:r>
              <a:rPr lang="en-US" altLang="ko-KR" sz="2400" dirty="0" smtClean="0">
                <a:solidFill>
                  <a:schemeClr val="bg1"/>
                </a:solidFill>
              </a:rPr>
              <a:t>: </a:t>
            </a:r>
            <a:r>
              <a:rPr lang="ko-KR" altLang="en-US" sz="2400" dirty="0" smtClean="0">
                <a:solidFill>
                  <a:schemeClr val="bg1"/>
                </a:solidFill>
              </a:rPr>
              <a:t>교육혁신   </a:t>
            </a:r>
            <a:endParaRPr lang="ko-KR" altLang="en-US" sz="2400" dirty="0">
              <a:solidFill>
                <a:schemeClr val="bg1"/>
              </a:solidFill>
            </a:endParaRPr>
          </a:p>
        </p:txBody>
      </p:sp>
      <p:sp>
        <p:nvSpPr>
          <p:cNvPr id="9" name="제목 1"/>
          <p:cNvSpPr txBox="1">
            <a:spLocks/>
          </p:cNvSpPr>
          <p:nvPr/>
        </p:nvSpPr>
        <p:spPr>
          <a:xfrm>
            <a:off x="339798" y="67260"/>
            <a:ext cx="11558160" cy="875199"/>
          </a:xfrm>
          <a:prstGeom prst="rect">
            <a:avLst/>
          </a:prstGeom>
          <a:solidFill>
            <a:srgbClr val="0070C0"/>
          </a:solidFill>
        </p:spPr>
        <p:txBody>
          <a:bodyPr vert="horz" lIns="91440" tIns="45720" rIns="91440" bIns="45720" rtlCol="0" anchor="ctr">
            <a:normAutofit fontScale="92500" lnSpcReduction="10000"/>
          </a:bodyPr>
          <a:lstStyle>
            <a:lvl1pPr algn="l" defTabSz="914400" rtl="0" eaLnBrk="1" latinLnBrk="1" hangingPunct="1">
              <a:lnSpc>
                <a:spcPct val="85000"/>
              </a:lnSpc>
              <a:spcBef>
                <a:spcPct val="0"/>
              </a:spcBef>
              <a:buNone/>
              <a:defRPr sz="5400" kern="1200" spc="-120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altLang="ko-KR" sz="3600" b="1" kern="0" dirty="0">
                <a:solidFill>
                  <a:schemeClr val="bg1"/>
                </a:solidFill>
                <a:latin typeface="+mj-ea"/>
              </a:rPr>
              <a:t> </a:t>
            </a:r>
            <a:endParaRPr lang="en-US" altLang="ko-KR" sz="3600" b="1" kern="0" dirty="0" smtClean="0">
              <a:solidFill>
                <a:schemeClr val="bg1"/>
              </a:solidFill>
              <a:latin typeface="+mj-ea"/>
            </a:endParaRPr>
          </a:p>
          <a:p>
            <a:r>
              <a:rPr lang="en-US" altLang="ko-KR" sz="3600" b="1" kern="0" dirty="0" smtClean="0">
                <a:solidFill>
                  <a:schemeClr val="bg1"/>
                </a:solidFill>
                <a:latin typeface="+mj-ea"/>
              </a:rPr>
              <a:t>IV</a:t>
            </a:r>
            <a:r>
              <a:rPr lang="en-US" altLang="ko-KR" sz="3600" b="1" kern="0" dirty="0">
                <a:solidFill>
                  <a:schemeClr val="bg1"/>
                </a:solidFill>
                <a:latin typeface="+mj-ea"/>
              </a:rPr>
              <a:t>. </a:t>
            </a:r>
            <a:r>
              <a:rPr lang="ko-KR" altLang="en-US" sz="3600" b="1" kern="0" dirty="0" smtClean="0">
                <a:solidFill>
                  <a:schemeClr val="bg1"/>
                </a:solidFill>
                <a:latin typeface="+mj-ea"/>
              </a:rPr>
              <a:t>유통 산업 내  </a:t>
            </a:r>
            <a:r>
              <a:rPr lang="ko-KR" altLang="en-US" sz="3600" b="1" kern="0" dirty="0">
                <a:solidFill>
                  <a:schemeClr val="bg1"/>
                </a:solidFill>
                <a:latin typeface="+mj-ea"/>
              </a:rPr>
              <a:t>정부지원 정책제안  </a:t>
            </a:r>
            <a:endParaRPr lang="en-US" altLang="ko-KR" sz="3600" b="1" kern="0" dirty="0">
              <a:solidFill>
                <a:schemeClr val="bg1"/>
              </a:solidFill>
              <a:latin typeface="+mj-ea"/>
            </a:endParaRPr>
          </a:p>
          <a:p>
            <a:endParaRPr lang="ko-KR" altLang="en-US" sz="3600" dirty="0">
              <a:solidFill>
                <a:schemeClr val="bg1"/>
              </a:solidFill>
              <a:latin typeface="HY강B" panose="02030600000101010101" pitchFamily="18" charset="-127"/>
              <a:ea typeface="HY강B" panose="02030600000101010101" pitchFamily="18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487571134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날짜 개체 틀 2">
            <a:extLst>
              <a:ext uri="{FF2B5EF4-FFF2-40B4-BE49-F238E27FC236}">
                <a16:creationId xmlns:a16="http://schemas.microsoft.com/office/drawing/2014/main" id="{8BEC0EEF-E580-1F75-2490-8A8B2F4D11C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49494" y="6371350"/>
            <a:ext cx="4114800" cy="228600"/>
          </a:xfrm>
        </p:spPr>
        <p:txBody>
          <a:bodyPr/>
          <a:lstStyle/>
          <a:p>
            <a:fld id="{CFC9B95B-9606-41FD-9410-F2B308BBF263}" type="datetime1">
              <a:rPr lang="en-US" altLang="ko-KR" smtClean="0"/>
              <a:t>6/22/2023</a:t>
            </a:fld>
            <a:endParaRPr lang="en-US" dirty="0"/>
          </a:p>
        </p:txBody>
      </p:sp>
      <p:sp>
        <p:nvSpPr>
          <p:cNvPr id="6" name="TextBox 5"/>
          <p:cNvSpPr txBox="1"/>
          <p:nvPr/>
        </p:nvSpPr>
        <p:spPr>
          <a:xfrm>
            <a:off x="718160" y="4397562"/>
            <a:ext cx="2919550" cy="1846659"/>
          </a:xfrm>
          <a:prstGeom prst="rect">
            <a:avLst/>
          </a:prstGeom>
          <a:solidFill>
            <a:srgbClr val="002060"/>
          </a:solidFill>
        </p:spPr>
        <p:txBody>
          <a:bodyPr wrap="square" rtlCol="0">
            <a:spAutoFit/>
          </a:bodyPr>
          <a:lstStyle/>
          <a:p>
            <a:r>
              <a:rPr lang="en-US" altLang="ko-KR" sz="2400" dirty="0">
                <a:solidFill>
                  <a:schemeClr val="bg1"/>
                </a:solidFill>
              </a:rPr>
              <a:t> </a:t>
            </a:r>
            <a:r>
              <a:rPr lang="ko-KR" altLang="en-US" sz="2400" b="1" dirty="0" err="1">
                <a:solidFill>
                  <a:schemeClr val="bg1"/>
                </a:solidFill>
              </a:rPr>
              <a:t>빅데이터</a:t>
            </a:r>
            <a:r>
              <a:rPr lang="ko-KR" altLang="en-US" sz="2400" b="1" dirty="0">
                <a:solidFill>
                  <a:schemeClr val="bg1"/>
                </a:solidFill>
              </a:rPr>
              <a:t> </a:t>
            </a:r>
            <a:r>
              <a:rPr lang="en-US" altLang="ko-KR" sz="2400" b="1" dirty="0">
                <a:solidFill>
                  <a:schemeClr val="bg1"/>
                </a:solidFill>
              </a:rPr>
              <a:t>&amp; AI </a:t>
            </a:r>
            <a:r>
              <a:rPr lang="ko-KR" altLang="en-US" sz="2400" b="1" dirty="0">
                <a:solidFill>
                  <a:schemeClr val="bg1"/>
                </a:solidFill>
              </a:rPr>
              <a:t>에 대한 </a:t>
            </a:r>
            <a:r>
              <a:rPr lang="en-US" altLang="ko-KR" sz="2400" b="1" dirty="0">
                <a:solidFill>
                  <a:schemeClr val="bg1"/>
                </a:solidFill>
              </a:rPr>
              <a:t>EU</a:t>
            </a:r>
            <a:r>
              <a:rPr lang="ko-KR" altLang="en-US" sz="2400" b="1" dirty="0">
                <a:solidFill>
                  <a:schemeClr val="bg1"/>
                </a:solidFill>
              </a:rPr>
              <a:t> 규제 위험 </a:t>
            </a:r>
            <a:r>
              <a:rPr lang="en-US" altLang="ko-KR" sz="2400" b="1" dirty="0">
                <a:solidFill>
                  <a:schemeClr val="bg1"/>
                </a:solidFill>
              </a:rPr>
              <a:t>4</a:t>
            </a:r>
            <a:r>
              <a:rPr lang="ko-KR" altLang="en-US" sz="2400" b="1" dirty="0">
                <a:solidFill>
                  <a:schemeClr val="bg1"/>
                </a:solidFill>
              </a:rPr>
              <a:t>단계에 따른 규제</a:t>
            </a:r>
            <a:endParaRPr lang="en-US" altLang="ko-KR" sz="2400" b="1" dirty="0">
              <a:solidFill>
                <a:schemeClr val="bg1"/>
              </a:solidFill>
            </a:endParaRPr>
          </a:p>
          <a:p>
            <a:r>
              <a:rPr lang="en-US" altLang="ko-KR" sz="2400" b="1" dirty="0">
                <a:solidFill>
                  <a:schemeClr val="bg1"/>
                </a:solidFill>
              </a:rPr>
              <a:t>23/05  </a:t>
            </a:r>
            <a:r>
              <a:rPr lang="en-US" altLang="ko-KR" sz="2400" b="1" dirty="0" err="1">
                <a:solidFill>
                  <a:schemeClr val="bg1"/>
                </a:solidFill>
              </a:rPr>
              <a:t>AIact</a:t>
            </a:r>
            <a:r>
              <a:rPr lang="ko-KR" altLang="en-US" sz="2400" b="1" dirty="0">
                <a:solidFill>
                  <a:schemeClr val="bg1"/>
                </a:solidFill>
              </a:rPr>
              <a:t>  수정안</a:t>
            </a:r>
            <a:r>
              <a:rPr lang="en-US" altLang="ko-KR" sz="2400" b="1" dirty="0">
                <a:solidFill>
                  <a:schemeClr val="bg1"/>
                </a:solidFill>
              </a:rPr>
              <a:t> </a:t>
            </a:r>
            <a:r>
              <a:rPr lang="ko-KR" altLang="en-US" sz="2400" b="1" dirty="0">
                <a:solidFill>
                  <a:schemeClr val="bg1"/>
                </a:solidFill>
              </a:rPr>
              <a:t> </a:t>
            </a:r>
            <a:endParaRPr lang="en-US" altLang="ko-KR" sz="2400" b="1" dirty="0">
              <a:solidFill>
                <a:schemeClr val="bg1"/>
              </a:solidFill>
            </a:endParaRPr>
          </a:p>
          <a:p>
            <a:endParaRPr lang="ko-KR" altLang="en-US" dirty="0">
              <a:solidFill>
                <a:schemeClr val="bg1"/>
              </a:solidFill>
            </a:endParaRPr>
          </a:p>
        </p:txBody>
      </p:sp>
      <p:graphicFrame>
        <p:nvGraphicFramePr>
          <p:cNvPr id="4" name="다이어그램 3"/>
          <p:cNvGraphicFramePr/>
          <p:nvPr>
            <p:extLst>
              <p:ext uri="{D42A27DB-BD31-4B8C-83A1-F6EECF244321}">
                <p14:modId xmlns:p14="http://schemas.microsoft.com/office/powerpoint/2010/main" val="2326650865"/>
              </p:ext>
            </p:extLst>
          </p:nvPr>
        </p:nvGraphicFramePr>
        <p:xfrm>
          <a:off x="733081" y="1301678"/>
          <a:ext cx="6035526" cy="529827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5" name="TextBox 4"/>
          <p:cNvSpPr txBox="1"/>
          <p:nvPr/>
        </p:nvSpPr>
        <p:spPr>
          <a:xfrm>
            <a:off x="9113178" y="4962418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ko-KR" altLang="en-U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E9292FAD-8259-CD0F-D3F8-438426D6B924}"/>
              </a:ext>
            </a:extLst>
          </p:cNvPr>
          <p:cNvSpPr txBox="1"/>
          <p:nvPr/>
        </p:nvSpPr>
        <p:spPr>
          <a:xfrm>
            <a:off x="9205543" y="2645345"/>
            <a:ext cx="2647394" cy="3631763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r>
              <a:rPr lang="ko-KR" altLang="en-US" sz="3200" dirty="0"/>
              <a:t>미국 </a:t>
            </a:r>
            <a:endParaRPr lang="en-US" altLang="ko-KR" sz="3200" dirty="0"/>
          </a:p>
          <a:p>
            <a:r>
              <a:rPr lang="en-US" altLang="ko-KR" dirty="0"/>
              <a:t>“2020 </a:t>
            </a:r>
            <a:r>
              <a:rPr lang="ko-KR" altLang="en-US" dirty="0"/>
              <a:t>국가 </a:t>
            </a:r>
            <a:endParaRPr lang="en-US" altLang="ko-KR" dirty="0" smtClean="0"/>
          </a:p>
          <a:p>
            <a:r>
              <a:rPr lang="en-US" altLang="ko-KR" dirty="0" smtClean="0"/>
              <a:t>AI </a:t>
            </a:r>
            <a:r>
              <a:rPr lang="ko-KR" altLang="en-US" dirty="0"/>
              <a:t>이니셔티브법</a:t>
            </a:r>
            <a:r>
              <a:rPr lang="en-US" altLang="ko-KR" dirty="0"/>
              <a:t>”</a:t>
            </a:r>
            <a:r>
              <a:rPr lang="ko-KR" altLang="en-US" dirty="0"/>
              <a:t> </a:t>
            </a:r>
            <a:endParaRPr lang="en-US" altLang="ko-KR" dirty="0"/>
          </a:p>
          <a:p>
            <a:r>
              <a:rPr lang="en-US" altLang="ko-KR" dirty="0"/>
              <a:t> </a:t>
            </a:r>
            <a:r>
              <a:rPr lang="ko-KR" altLang="en-US" dirty="0"/>
              <a:t>잠재적 차별 줄이고 공공조직의 </a:t>
            </a:r>
            <a:r>
              <a:rPr lang="en-US" altLang="ko-KR" dirty="0"/>
              <a:t>AI </a:t>
            </a:r>
            <a:r>
              <a:rPr lang="ko-KR" altLang="en-US" dirty="0"/>
              <a:t>도입</a:t>
            </a:r>
            <a:r>
              <a:rPr lang="en-US" altLang="ko-KR" dirty="0"/>
              <a:t> </a:t>
            </a:r>
            <a:r>
              <a:rPr lang="ko-KR" altLang="en-US" dirty="0"/>
              <a:t>지원 </a:t>
            </a:r>
            <a:endParaRPr lang="en-US" altLang="ko-KR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ko-KR" altLang="en-US" dirty="0"/>
              <a:t>의사결정편향성 평가결과를 연방거래위원회에 제출하는  알고리즘책임법안 제출 </a:t>
            </a:r>
            <a:endParaRPr lang="en-US" altLang="ko-KR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ko-KR" altLang="en-US" dirty="0"/>
              <a:t>데이터 처리 전송 관련 개인정보 및 보호법  책임법안</a:t>
            </a:r>
            <a:r>
              <a:rPr lang="en-US" altLang="ko-KR" dirty="0"/>
              <a:t>( 22/03)</a:t>
            </a:r>
            <a:r>
              <a:rPr lang="ko-KR" altLang="en-US" dirty="0"/>
              <a:t> </a:t>
            </a:r>
          </a:p>
        </p:txBody>
      </p:sp>
      <p:sp>
        <p:nvSpPr>
          <p:cNvPr id="12" name="화살표: 왼쪽/오른쪽 11">
            <a:extLst>
              <a:ext uri="{FF2B5EF4-FFF2-40B4-BE49-F238E27FC236}">
                <a16:creationId xmlns:a16="http://schemas.microsoft.com/office/drawing/2014/main" id="{78B73C16-2E56-8868-E6AD-648D1A9E3FF1}"/>
              </a:ext>
            </a:extLst>
          </p:cNvPr>
          <p:cNvSpPr/>
          <p:nvPr/>
        </p:nvSpPr>
        <p:spPr>
          <a:xfrm>
            <a:off x="6896342" y="3291841"/>
            <a:ext cx="2226549" cy="1445622"/>
          </a:xfrm>
          <a:prstGeom prst="leftRightArrow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6" name="화살표: 아래쪽 15">
            <a:extLst>
              <a:ext uri="{FF2B5EF4-FFF2-40B4-BE49-F238E27FC236}">
                <a16:creationId xmlns:a16="http://schemas.microsoft.com/office/drawing/2014/main" id="{BDE96D5B-7347-665F-B08E-F8281D3032AA}"/>
              </a:ext>
            </a:extLst>
          </p:cNvPr>
          <p:cNvSpPr/>
          <p:nvPr/>
        </p:nvSpPr>
        <p:spPr>
          <a:xfrm>
            <a:off x="1376499" y="3275467"/>
            <a:ext cx="1538151" cy="1122095"/>
          </a:xfrm>
          <a:prstGeom prst="downArrow">
            <a:avLst>
              <a:gd name="adj1" fmla="val 39189"/>
              <a:gd name="adj2" fmla="val 50000"/>
            </a:avLst>
          </a:prstGeom>
          <a:solidFill>
            <a:srgbClr val="133727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dirty="0"/>
              <a:t>위험도  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C5AE45D1-20BB-1D4D-2A74-565110B83559}"/>
              </a:ext>
            </a:extLst>
          </p:cNvPr>
          <p:cNvSpPr txBox="1"/>
          <p:nvPr/>
        </p:nvSpPr>
        <p:spPr>
          <a:xfrm>
            <a:off x="9085672" y="1332237"/>
            <a:ext cx="2812286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dirty="0"/>
              <a:t>중국가인터넷 </a:t>
            </a:r>
            <a:r>
              <a:rPr lang="ko-KR" altLang="en-US" dirty="0" err="1"/>
              <a:t>정보판공실</a:t>
            </a:r>
            <a:r>
              <a:rPr lang="ko-KR" altLang="en-US" dirty="0"/>
              <a:t> </a:t>
            </a:r>
            <a:endParaRPr lang="en-US" altLang="ko-KR" dirty="0"/>
          </a:p>
          <a:p>
            <a:r>
              <a:rPr lang="en-US" altLang="ko-KR" dirty="0"/>
              <a:t>AI </a:t>
            </a:r>
            <a:r>
              <a:rPr lang="ko-KR" altLang="en-US" dirty="0"/>
              <a:t>서비스출시전</a:t>
            </a:r>
            <a:r>
              <a:rPr lang="en-US" altLang="ko-KR" dirty="0"/>
              <a:t> </a:t>
            </a:r>
            <a:r>
              <a:rPr lang="ko-KR" altLang="en-US" dirty="0"/>
              <a:t>당국 보안평가 필</a:t>
            </a:r>
            <a:r>
              <a:rPr lang="en-US" altLang="ko-KR" dirty="0"/>
              <a:t>( 22/04)</a:t>
            </a:r>
            <a:r>
              <a:rPr lang="ko-KR" altLang="en-US" dirty="0"/>
              <a:t>  </a:t>
            </a:r>
          </a:p>
        </p:txBody>
      </p:sp>
      <p:sp>
        <p:nvSpPr>
          <p:cNvPr id="11" name="제목 1"/>
          <p:cNvSpPr txBox="1">
            <a:spLocks/>
          </p:cNvSpPr>
          <p:nvPr/>
        </p:nvSpPr>
        <p:spPr>
          <a:xfrm>
            <a:off x="339798" y="67260"/>
            <a:ext cx="11558160" cy="875199"/>
          </a:xfrm>
          <a:prstGeom prst="rect">
            <a:avLst/>
          </a:prstGeom>
          <a:solidFill>
            <a:srgbClr val="0070C0"/>
          </a:solidFill>
        </p:spPr>
        <p:txBody>
          <a:bodyPr vert="horz" lIns="91440" tIns="45720" rIns="91440" bIns="45720" rtlCol="0" anchor="ctr">
            <a:normAutofit fontScale="92500" lnSpcReduction="10000"/>
          </a:bodyPr>
          <a:lstStyle>
            <a:lvl1pPr algn="l" defTabSz="914400" rtl="0" eaLnBrk="1" latinLnBrk="1" hangingPunct="1">
              <a:lnSpc>
                <a:spcPct val="85000"/>
              </a:lnSpc>
              <a:spcBef>
                <a:spcPct val="0"/>
              </a:spcBef>
              <a:buNone/>
              <a:defRPr sz="5400" kern="1200" spc="-120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altLang="ko-KR" sz="3600" b="1" kern="0" dirty="0">
                <a:solidFill>
                  <a:schemeClr val="bg1"/>
                </a:solidFill>
                <a:latin typeface="+mj-ea"/>
              </a:rPr>
              <a:t> </a:t>
            </a:r>
            <a:endParaRPr lang="en-US" altLang="ko-KR" sz="3600" b="1" kern="0" dirty="0" smtClean="0">
              <a:solidFill>
                <a:schemeClr val="bg1"/>
              </a:solidFill>
              <a:latin typeface="+mj-ea"/>
            </a:endParaRPr>
          </a:p>
          <a:p>
            <a:r>
              <a:rPr lang="en-US" altLang="ko-KR" sz="3600" b="1" kern="0" dirty="0" smtClean="0">
                <a:solidFill>
                  <a:schemeClr val="bg1"/>
                </a:solidFill>
                <a:latin typeface="+mj-ea"/>
              </a:rPr>
              <a:t>IV</a:t>
            </a:r>
            <a:r>
              <a:rPr lang="en-US" altLang="ko-KR" sz="3600" b="1" kern="0" dirty="0">
                <a:solidFill>
                  <a:schemeClr val="bg1"/>
                </a:solidFill>
                <a:latin typeface="+mj-ea"/>
              </a:rPr>
              <a:t>. </a:t>
            </a:r>
            <a:r>
              <a:rPr lang="ko-KR" altLang="en-US" sz="3600" b="1" kern="0" dirty="0" smtClean="0">
                <a:solidFill>
                  <a:schemeClr val="bg1"/>
                </a:solidFill>
                <a:latin typeface="+mj-ea"/>
              </a:rPr>
              <a:t>유통 산업 내  </a:t>
            </a:r>
            <a:r>
              <a:rPr lang="ko-KR" altLang="en-US" sz="3600" b="1" kern="0" dirty="0">
                <a:solidFill>
                  <a:schemeClr val="bg1"/>
                </a:solidFill>
                <a:latin typeface="+mj-ea"/>
              </a:rPr>
              <a:t>정부지원 정책제안  </a:t>
            </a:r>
            <a:endParaRPr lang="en-US" altLang="ko-KR" sz="3600" b="1" kern="0" dirty="0">
              <a:solidFill>
                <a:schemeClr val="bg1"/>
              </a:solidFill>
              <a:latin typeface="+mj-ea"/>
            </a:endParaRPr>
          </a:p>
          <a:p>
            <a:endParaRPr lang="ko-KR" altLang="en-US" sz="3600" dirty="0">
              <a:solidFill>
                <a:schemeClr val="bg1"/>
              </a:solidFill>
              <a:latin typeface="HY강B" panose="02030600000101010101" pitchFamily="18" charset="-127"/>
              <a:ea typeface="HY강B" panose="02030600000101010101" pitchFamily="18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784290052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줄무늬가 있는 오른쪽 화살표 10"/>
          <p:cNvSpPr/>
          <p:nvPr/>
        </p:nvSpPr>
        <p:spPr>
          <a:xfrm>
            <a:off x="4344844" y="3122868"/>
            <a:ext cx="1086330" cy="1979688"/>
          </a:xfrm>
          <a:prstGeom prst="stripedRightArrow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3" name="날짜 개체 틀 2">
            <a:extLst>
              <a:ext uri="{FF2B5EF4-FFF2-40B4-BE49-F238E27FC236}">
                <a16:creationId xmlns:a16="http://schemas.microsoft.com/office/drawing/2014/main" id="{8BEC0EEF-E580-1F75-2490-8A8B2F4D11C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49494" y="6371350"/>
            <a:ext cx="4114800" cy="228600"/>
          </a:xfrm>
        </p:spPr>
        <p:txBody>
          <a:bodyPr/>
          <a:lstStyle/>
          <a:p>
            <a:fld id="{CFC9B95B-9606-41FD-9410-F2B308BBF263}" type="datetime1">
              <a:rPr lang="en-US" altLang="ko-KR" smtClean="0"/>
              <a:t>6/22/2023</a:t>
            </a:fld>
            <a:endParaRPr lang="en-US" dirty="0"/>
          </a:p>
        </p:txBody>
      </p:sp>
      <p:sp>
        <p:nvSpPr>
          <p:cNvPr id="6" name="TextBox 5"/>
          <p:cNvSpPr txBox="1"/>
          <p:nvPr/>
        </p:nvSpPr>
        <p:spPr>
          <a:xfrm>
            <a:off x="346118" y="1146640"/>
            <a:ext cx="9937434" cy="1354217"/>
          </a:xfrm>
          <a:prstGeom prst="rect">
            <a:avLst/>
          </a:prstGeom>
          <a:solidFill>
            <a:srgbClr val="002060"/>
          </a:solidFill>
        </p:spPr>
        <p:txBody>
          <a:bodyPr wrap="square" rtlCol="0">
            <a:spAutoFit/>
          </a:bodyPr>
          <a:lstStyle/>
          <a:p>
            <a:r>
              <a:rPr lang="en-US" altLang="ko-KR" sz="2400" dirty="0">
                <a:solidFill>
                  <a:schemeClr val="bg1"/>
                </a:solidFill>
              </a:rPr>
              <a:t> </a:t>
            </a:r>
            <a:r>
              <a:rPr lang="ko-KR" altLang="en-US" sz="2000" dirty="0">
                <a:solidFill>
                  <a:schemeClr val="bg1"/>
                </a:solidFill>
              </a:rPr>
              <a:t>국내 </a:t>
            </a:r>
            <a:r>
              <a:rPr lang="ko-KR" altLang="en-US" sz="2000" b="1" dirty="0">
                <a:solidFill>
                  <a:schemeClr val="bg1"/>
                </a:solidFill>
              </a:rPr>
              <a:t>빅데이터 </a:t>
            </a:r>
            <a:r>
              <a:rPr lang="en-US" altLang="ko-KR" sz="2000" b="1" dirty="0">
                <a:solidFill>
                  <a:schemeClr val="bg1"/>
                </a:solidFill>
              </a:rPr>
              <a:t>&amp; AI </a:t>
            </a:r>
            <a:r>
              <a:rPr lang="ko-KR" altLang="en-US" sz="2000" b="1" dirty="0">
                <a:solidFill>
                  <a:schemeClr val="bg1"/>
                </a:solidFill>
              </a:rPr>
              <a:t>에 대한 규제 및 법제도의 개선</a:t>
            </a:r>
            <a:r>
              <a:rPr lang="en-US" altLang="ko-KR" sz="2000" b="1" dirty="0">
                <a:solidFill>
                  <a:schemeClr val="bg1"/>
                </a:solidFill>
              </a:rPr>
              <a:t>: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ko-KR" altLang="en-US" sz="2000" b="1" dirty="0">
                <a:solidFill>
                  <a:schemeClr val="bg1"/>
                </a:solidFill>
              </a:rPr>
              <a:t>인공지능 법안 </a:t>
            </a:r>
            <a:r>
              <a:rPr lang="en-US" altLang="ko-KR" sz="2000" b="1" dirty="0">
                <a:solidFill>
                  <a:schemeClr val="bg1"/>
                </a:solidFill>
              </a:rPr>
              <a:t>: </a:t>
            </a:r>
            <a:r>
              <a:rPr lang="ko-KR" altLang="en-US" sz="2000" b="1" dirty="0">
                <a:solidFill>
                  <a:schemeClr val="bg1"/>
                </a:solidFill>
              </a:rPr>
              <a:t>선 허용 후 규제 명문화</a:t>
            </a:r>
            <a:endParaRPr lang="en-US" altLang="ko-KR" sz="2000" b="1" dirty="0">
              <a:solidFill>
                <a:schemeClr val="bg1"/>
              </a:solidFill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ko-KR" altLang="en-US" sz="2000" b="1" dirty="0">
                <a:solidFill>
                  <a:schemeClr val="bg1"/>
                </a:solidFill>
              </a:rPr>
              <a:t>국무총리산하 </a:t>
            </a:r>
            <a:r>
              <a:rPr lang="en-US" altLang="ko-KR" sz="2000" b="1" dirty="0">
                <a:solidFill>
                  <a:schemeClr val="bg1"/>
                </a:solidFill>
              </a:rPr>
              <a:t>AI </a:t>
            </a:r>
            <a:r>
              <a:rPr lang="ko-KR" altLang="en-US" sz="2000" b="1" dirty="0">
                <a:solidFill>
                  <a:schemeClr val="bg1"/>
                </a:solidFill>
              </a:rPr>
              <a:t>위원회 조직화  </a:t>
            </a:r>
            <a:endParaRPr lang="en-US" altLang="ko-KR" sz="2000" b="1" dirty="0">
              <a:solidFill>
                <a:schemeClr val="bg1"/>
              </a:solidFill>
            </a:endParaRPr>
          </a:p>
          <a:p>
            <a:endParaRPr lang="ko-KR" altLang="en-US" dirty="0">
              <a:solidFill>
                <a:schemeClr val="bg1"/>
              </a:solidFill>
            </a:endParaRPr>
          </a:p>
        </p:txBody>
      </p:sp>
      <p:graphicFrame>
        <p:nvGraphicFramePr>
          <p:cNvPr id="4" name="다이어그램 3"/>
          <p:cNvGraphicFramePr/>
          <p:nvPr>
            <p:extLst>
              <p:ext uri="{D42A27DB-BD31-4B8C-83A1-F6EECF244321}">
                <p14:modId xmlns:p14="http://schemas.microsoft.com/office/powerpoint/2010/main" val="717921288"/>
              </p:ext>
            </p:extLst>
          </p:nvPr>
        </p:nvGraphicFramePr>
        <p:xfrm>
          <a:off x="502090" y="2257394"/>
          <a:ext cx="4380460" cy="541004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5" name="TextBox 4"/>
          <p:cNvSpPr txBox="1"/>
          <p:nvPr/>
        </p:nvSpPr>
        <p:spPr>
          <a:xfrm>
            <a:off x="9113178" y="4962418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ko-KR" altLang="en-US"/>
          </a:p>
        </p:txBody>
      </p:sp>
      <p:sp>
        <p:nvSpPr>
          <p:cNvPr id="8" name="TextBox 7"/>
          <p:cNvSpPr txBox="1"/>
          <p:nvPr/>
        </p:nvSpPr>
        <p:spPr>
          <a:xfrm>
            <a:off x="5604081" y="3214247"/>
            <a:ext cx="5506617" cy="1865126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marL="285750" indent="-285750">
              <a:lnSpc>
                <a:spcPct val="170000"/>
              </a:lnSpc>
              <a:buFont typeface="Arial" panose="020B0604020202020204" pitchFamily="34" charset="0"/>
              <a:buChar char="•"/>
            </a:pPr>
            <a:r>
              <a:rPr lang="ko-KR" altLang="en-US" dirty="0"/>
              <a:t> 개인정보 가명정보로 전환하여 그  이용을 촉진</a:t>
            </a:r>
            <a:endParaRPr lang="en-US" altLang="ko-KR" dirty="0"/>
          </a:p>
          <a:p>
            <a:pPr marL="285750" indent="-285750">
              <a:lnSpc>
                <a:spcPct val="170000"/>
              </a:lnSpc>
              <a:buFont typeface="Arial" panose="020B0604020202020204" pitchFamily="34" charset="0"/>
              <a:buChar char="•"/>
            </a:pPr>
            <a:r>
              <a:rPr lang="ko-KR" altLang="en-US" dirty="0"/>
              <a:t>자신 데이터를 </a:t>
            </a:r>
            <a:r>
              <a:rPr lang="ko-KR" altLang="en-US" dirty="0" err="1"/>
              <a:t>다운로드하여</a:t>
            </a:r>
            <a:r>
              <a:rPr lang="ko-KR" altLang="en-US" dirty="0"/>
              <a:t> 목적에 활용 권리</a:t>
            </a:r>
            <a:endParaRPr lang="en-US" altLang="ko-KR" dirty="0"/>
          </a:p>
          <a:p>
            <a:pPr>
              <a:buFont typeface="Arial" panose="020B0604020202020204" pitchFamily="34" charset="0"/>
              <a:buChar char="•"/>
            </a:pPr>
            <a:r>
              <a:rPr lang="ko-KR" altLang="en-US" dirty="0"/>
              <a:t>   </a:t>
            </a:r>
            <a:r>
              <a:rPr lang="ko-KR" altLang="en-US" dirty="0" smtClean="0"/>
              <a:t>개인데이터를 </a:t>
            </a:r>
            <a:r>
              <a:rPr lang="ko-KR" altLang="en-US" dirty="0"/>
              <a:t>자신은 물론 지정한 </a:t>
            </a:r>
            <a:r>
              <a:rPr lang="en-US" altLang="ko-KR" dirty="0"/>
              <a:t>3</a:t>
            </a:r>
            <a:r>
              <a:rPr lang="ko-KR" altLang="en-US" dirty="0"/>
              <a:t>자에게 제공 </a:t>
            </a:r>
            <a:r>
              <a:rPr lang="ko-KR" altLang="en-US" dirty="0" smtClean="0"/>
              <a:t>           </a:t>
            </a:r>
            <a:endParaRPr lang="en-US" altLang="ko-KR" dirty="0" smtClean="0"/>
          </a:p>
          <a:p>
            <a:r>
              <a:rPr lang="ko-KR" altLang="en-US" dirty="0" smtClean="0"/>
              <a:t>등 </a:t>
            </a:r>
            <a:r>
              <a:rPr lang="ko-KR" altLang="en-US" dirty="0"/>
              <a:t>안전한 정보 보호와 원활한 활용에 초점  </a:t>
            </a:r>
            <a:endParaRPr lang="en-US" altLang="ko-KR" dirty="0"/>
          </a:p>
          <a:p>
            <a:pPr>
              <a:buFont typeface="Arial" panose="020B0604020202020204" pitchFamily="34" charset="0"/>
              <a:buChar char="•"/>
            </a:pPr>
            <a:endParaRPr lang="ko-KR" altLang="en-US" dirty="0"/>
          </a:p>
        </p:txBody>
      </p:sp>
      <p:sp>
        <p:nvSpPr>
          <p:cNvPr id="9" name="직사각형 8"/>
          <p:cNvSpPr/>
          <p:nvPr/>
        </p:nvSpPr>
        <p:spPr>
          <a:xfrm>
            <a:off x="508452" y="5248812"/>
            <a:ext cx="10307466" cy="1477328"/>
          </a:xfrm>
          <a:prstGeom prst="rect">
            <a:avLst/>
          </a:prstGeom>
          <a:solidFill>
            <a:srgbClr val="92D050"/>
          </a:solidFill>
        </p:spPr>
        <p:txBody>
          <a:bodyPr wrap="square">
            <a:spAutoFit/>
          </a:bodyPr>
          <a:lstStyle/>
          <a:p>
            <a:pPr>
              <a:buFont typeface="Arial" panose="020B0604020202020204" pitchFamily="34" charset="0"/>
              <a:buChar char="•"/>
            </a:pPr>
            <a:r>
              <a:rPr lang="ko-KR" altLang="en-US" sz="1600" dirty="0"/>
              <a:t>    </a:t>
            </a:r>
            <a:r>
              <a:rPr lang="ko-KR" altLang="en-US" i="1" dirty="0"/>
              <a:t>개인정보주체와  공익을 위해 필요한 경우 즉 정보의 유통 활성화와 </a:t>
            </a:r>
            <a:r>
              <a:rPr lang="ko-KR" altLang="en-US" i="1" dirty="0" err="1"/>
              <a:t>적용범용성</a:t>
            </a:r>
            <a:r>
              <a:rPr lang="ko-KR" altLang="en-US" i="1" dirty="0"/>
              <a:t> 확보</a:t>
            </a:r>
            <a:endParaRPr lang="en-US" altLang="ko-KR" i="1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ko-KR" altLang="en-US" i="1" dirty="0"/>
              <a:t>안정성 확보와 신뢰가 전제되는  </a:t>
            </a:r>
            <a:r>
              <a:rPr lang="ko-KR" altLang="en-US" i="1" dirty="0" err="1"/>
              <a:t>경쟁력있는</a:t>
            </a:r>
            <a:r>
              <a:rPr lang="ko-KR" altLang="en-US" i="1" dirty="0"/>
              <a:t> 서비스기업의  비즈니스로 발전 </a:t>
            </a:r>
            <a:endParaRPr lang="en-US" altLang="ko-KR" i="1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ko-KR" altLang="en-US" b="0" i="0" dirty="0">
                <a:solidFill>
                  <a:srgbClr val="373A3C"/>
                </a:solidFill>
                <a:effectLst/>
                <a:latin typeface="Open Sans" panose="020B0606030504020204" pitchFamily="34" charset="0"/>
              </a:rPr>
              <a:t>인공지능 </a:t>
            </a:r>
            <a:r>
              <a:rPr lang="ko-KR" altLang="en-US" b="0" i="0" u="none" strike="noStrike" dirty="0">
                <a:solidFill>
                  <a:srgbClr val="0275D8"/>
                </a:solidFill>
                <a:effectLst/>
                <a:latin typeface="Open Sans" panose="020B0606030504020204" pitchFamily="34" charset="0"/>
                <a:hlinkClick r:id="rId8" tooltip="프로그램"/>
              </a:rPr>
              <a:t>프로그램</a:t>
            </a:r>
            <a:r>
              <a:rPr lang="ko-KR" altLang="en-US" b="0" i="0" dirty="0">
                <a:solidFill>
                  <a:srgbClr val="373A3C"/>
                </a:solidFill>
                <a:effectLst/>
                <a:latin typeface="Open Sans" panose="020B0606030504020204" pitchFamily="34" charset="0"/>
              </a:rPr>
              <a:t>의 </a:t>
            </a:r>
            <a:r>
              <a:rPr lang="ko-KR" altLang="en-US" b="0" i="0" u="none" strike="noStrike" dirty="0">
                <a:solidFill>
                  <a:srgbClr val="0275D8"/>
                </a:solidFill>
                <a:effectLst/>
                <a:latin typeface="Open Sans" panose="020B0606030504020204" pitchFamily="34" charset="0"/>
                <a:hlinkClick r:id="rId9" tooltip="미션"/>
              </a:rPr>
              <a:t>미션</a:t>
            </a:r>
            <a:r>
              <a:rPr lang="ko-KR" altLang="en-US" b="0" i="0" dirty="0">
                <a:solidFill>
                  <a:srgbClr val="373A3C"/>
                </a:solidFill>
                <a:effectLst/>
                <a:latin typeface="Open Sans" panose="020B0606030504020204" pitchFamily="34" charset="0"/>
              </a:rPr>
              <a:t>을 명확히 규정하고</a:t>
            </a:r>
            <a:r>
              <a:rPr lang="en-US" altLang="ko-KR" b="0" i="0" dirty="0">
                <a:solidFill>
                  <a:srgbClr val="373A3C"/>
                </a:solidFill>
                <a:effectLst/>
                <a:latin typeface="Open Sans" panose="020B0606030504020204" pitchFamily="34" charset="0"/>
              </a:rPr>
              <a:t>, </a:t>
            </a:r>
            <a:r>
              <a:rPr lang="ko-KR" altLang="en-US" b="0" i="0" dirty="0">
                <a:solidFill>
                  <a:srgbClr val="373A3C"/>
                </a:solidFill>
                <a:effectLst/>
                <a:latin typeface="Open Sans" panose="020B0606030504020204" pitchFamily="34" charset="0"/>
              </a:rPr>
              <a:t>암호화된 세이프가드 내에서만 구축할 수 있도록 하여 권한 없는 사용을 방지</a:t>
            </a:r>
            <a:endParaRPr lang="en-US" altLang="ko-KR" i="1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ko-KR" i="1" dirty="0"/>
              <a:t>* </a:t>
            </a:r>
            <a:r>
              <a:rPr lang="ko-KR" altLang="en-US" i="1" dirty="0"/>
              <a:t>단 서비스관련 범위와 의무 그리고 </a:t>
            </a:r>
            <a:r>
              <a:rPr lang="ko-KR" altLang="en-US" i="1" dirty="0" err="1"/>
              <a:t>위반시</a:t>
            </a:r>
            <a:r>
              <a:rPr lang="ko-KR" altLang="en-US" i="1" dirty="0"/>
              <a:t> 강력한 제재 조치  전제 </a:t>
            </a:r>
            <a:endParaRPr lang="en-US" altLang="ko-KR" i="1" dirty="0"/>
          </a:p>
        </p:txBody>
      </p:sp>
      <p:sp>
        <p:nvSpPr>
          <p:cNvPr id="10" name="왼쪽 화살표 설명선 9"/>
          <p:cNvSpPr/>
          <p:nvPr/>
        </p:nvSpPr>
        <p:spPr>
          <a:xfrm>
            <a:off x="10796140" y="1672039"/>
            <a:ext cx="1138138" cy="4927912"/>
          </a:xfrm>
          <a:prstGeom prst="leftArrowCallout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dirty="0" err="1"/>
              <a:t>빅데이터</a:t>
            </a:r>
            <a:r>
              <a:rPr lang="ko-KR" altLang="en-US" dirty="0"/>
              <a:t> 파생생태계 확대 및 산업파급효과</a:t>
            </a:r>
            <a:endParaRPr lang="en-US" altLang="ko-KR" dirty="0"/>
          </a:p>
          <a:p>
            <a:pPr algn="ctr"/>
            <a:r>
              <a:rPr lang="en-US" altLang="ko-KR" dirty="0"/>
              <a:t> </a:t>
            </a:r>
          </a:p>
          <a:p>
            <a:pPr algn="ctr"/>
            <a:r>
              <a:rPr lang="ko-KR" altLang="en-US" dirty="0"/>
              <a:t>안전신뢰 정보사회  </a:t>
            </a:r>
            <a:endParaRPr lang="en-US" altLang="ko-KR" dirty="0"/>
          </a:p>
          <a:p>
            <a:pPr algn="ctr"/>
            <a:r>
              <a:rPr lang="ko-KR" altLang="en-US" dirty="0"/>
              <a:t> </a:t>
            </a:r>
          </a:p>
        </p:txBody>
      </p:sp>
      <p:sp>
        <p:nvSpPr>
          <p:cNvPr id="12" name="제목 1"/>
          <p:cNvSpPr txBox="1">
            <a:spLocks/>
          </p:cNvSpPr>
          <p:nvPr/>
        </p:nvSpPr>
        <p:spPr>
          <a:xfrm>
            <a:off x="339798" y="67260"/>
            <a:ext cx="11558160" cy="875199"/>
          </a:xfrm>
          <a:prstGeom prst="rect">
            <a:avLst/>
          </a:prstGeom>
          <a:solidFill>
            <a:srgbClr val="0070C0"/>
          </a:solidFill>
        </p:spPr>
        <p:txBody>
          <a:bodyPr vert="horz" lIns="91440" tIns="45720" rIns="91440" bIns="45720" rtlCol="0" anchor="ctr">
            <a:normAutofit fontScale="92500" lnSpcReduction="10000"/>
          </a:bodyPr>
          <a:lstStyle>
            <a:lvl1pPr algn="l" defTabSz="914400" rtl="0" eaLnBrk="1" latinLnBrk="1" hangingPunct="1">
              <a:lnSpc>
                <a:spcPct val="85000"/>
              </a:lnSpc>
              <a:spcBef>
                <a:spcPct val="0"/>
              </a:spcBef>
              <a:buNone/>
              <a:defRPr sz="5400" kern="1200" spc="-120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altLang="ko-KR" sz="3600" b="1" kern="0" dirty="0">
                <a:solidFill>
                  <a:schemeClr val="bg1"/>
                </a:solidFill>
                <a:latin typeface="+mj-ea"/>
              </a:rPr>
              <a:t> </a:t>
            </a:r>
            <a:endParaRPr lang="en-US" altLang="ko-KR" sz="3600" b="1" kern="0" dirty="0" smtClean="0">
              <a:solidFill>
                <a:schemeClr val="bg1"/>
              </a:solidFill>
              <a:latin typeface="+mj-ea"/>
            </a:endParaRPr>
          </a:p>
          <a:p>
            <a:r>
              <a:rPr lang="en-US" altLang="ko-KR" sz="3600" b="1" kern="0" dirty="0" smtClean="0">
                <a:solidFill>
                  <a:schemeClr val="bg1"/>
                </a:solidFill>
                <a:latin typeface="+mj-ea"/>
              </a:rPr>
              <a:t>IV</a:t>
            </a:r>
            <a:r>
              <a:rPr lang="en-US" altLang="ko-KR" sz="3600" b="1" kern="0" dirty="0">
                <a:solidFill>
                  <a:schemeClr val="bg1"/>
                </a:solidFill>
                <a:latin typeface="+mj-ea"/>
              </a:rPr>
              <a:t>. </a:t>
            </a:r>
            <a:r>
              <a:rPr lang="ko-KR" altLang="en-US" sz="3600" b="1" kern="0" dirty="0" smtClean="0">
                <a:solidFill>
                  <a:schemeClr val="bg1"/>
                </a:solidFill>
                <a:latin typeface="+mj-ea"/>
              </a:rPr>
              <a:t>유통 산업 내  </a:t>
            </a:r>
            <a:r>
              <a:rPr lang="ko-KR" altLang="en-US" sz="3600" b="1" kern="0" dirty="0">
                <a:solidFill>
                  <a:schemeClr val="bg1"/>
                </a:solidFill>
                <a:latin typeface="+mj-ea"/>
              </a:rPr>
              <a:t>정부지원 정책제안  </a:t>
            </a:r>
            <a:endParaRPr lang="en-US" altLang="ko-KR" sz="3600" b="1" kern="0" dirty="0">
              <a:solidFill>
                <a:schemeClr val="bg1"/>
              </a:solidFill>
              <a:latin typeface="+mj-ea"/>
            </a:endParaRPr>
          </a:p>
          <a:p>
            <a:endParaRPr lang="ko-KR" altLang="en-US" sz="3600" dirty="0">
              <a:solidFill>
                <a:schemeClr val="bg1"/>
              </a:solidFill>
              <a:latin typeface="HY강B" panose="02030600000101010101" pitchFamily="18" charset="-127"/>
              <a:ea typeface="HY강B" panose="02030600000101010101" pitchFamily="18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92741506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개체 1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25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8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16" name="개체 1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25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3" name="Rectangle 2"/>
          <p:cNvSpPr>
            <a:spLocks noChangeArrowheads="1"/>
          </p:cNvSpPr>
          <p:nvPr/>
        </p:nvSpPr>
        <p:spPr bwMode="auto">
          <a:xfrm>
            <a:off x="393851" y="27380"/>
            <a:ext cx="6026185" cy="612000"/>
          </a:xfrm>
          <a:prstGeom prst="rect">
            <a:avLst/>
          </a:prstGeom>
          <a:solidFill>
            <a:srgbClr val="0070C0"/>
          </a:solidFill>
          <a:ln w="12700" algn="ctr">
            <a:noFill/>
            <a:miter lim="800000"/>
            <a:headEnd/>
            <a:tailEnd/>
          </a:ln>
        </p:spPr>
        <p:txBody>
          <a:bodyPr wrap="none" lIns="72000" tIns="72000" rIns="72000" bIns="72000" anchor="ctr"/>
          <a:lstStyle/>
          <a:p>
            <a:pPr fontAlgn="auto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rgbClr val="FFFFFF"/>
              </a:buClr>
              <a:defRPr/>
            </a:pPr>
            <a:r>
              <a:rPr lang="en-US" altLang="ko-KR" sz="2800" kern="0" dirty="0">
                <a:solidFill>
                  <a:srgbClr val="FFFFFF"/>
                </a:solidFill>
                <a:latin typeface="Arial"/>
                <a:ea typeface="HY견고딕" pitchFamily="18" charset="-127"/>
              </a:rPr>
              <a:t>2.</a:t>
            </a:r>
            <a:r>
              <a:rPr kumimoji="0" lang="en-US" altLang="ko-KR" sz="2800" kern="0" dirty="0">
                <a:solidFill>
                  <a:srgbClr val="FFFFFF"/>
                </a:solidFill>
                <a:latin typeface="Arial"/>
                <a:ea typeface="HY견고딕" pitchFamily="18" charset="-127"/>
              </a:rPr>
              <a:t> </a:t>
            </a:r>
            <a:r>
              <a:rPr kumimoji="0" lang="ko-KR" altLang="en-US" sz="2800" kern="0" dirty="0">
                <a:solidFill>
                  <a:srgbClr val="FFFFFF"/>
                </a:solidFill>
                <a:latin typeface="Arial"/>
                <a:ea typeface="HY견고딕" pitchFamily="18" charset="-127"/>
              </a:rPr>
              <a:t>연구 방법  </a:t>
            </a:r>
            <a:endParaRPr kumimoji="0" lang="en-US" altLang="ko-KR" sz="2800" kern="0" dirty="0">
              <a:solidFill>
                <a:srgbClr val="FFFFFF"/>
              </a:solidFill>
              <a:latin typeface="Arial"/>
              <a:ea typeface="HY견고딕" pitchFamily="18" charset="-127"/>
            </a:endParaRPr>
          </a:p>
        </p:txBody>
      </p:sp>
      <p:graphicFrame>
        <p:nvGraphicFramePr>
          <p:cNvPr id="4" name="다이어그램 3">
            <a:extLst>
              <a:ext uri="{FF2B5EF4-FFF2-40B4-BE49-F238E27FC236}">
                <a16:creationId xmlns:a16="http://schemas.microsoft.com/office/drawing/2014/main" id="{427F425A-6A01-AB98-683B-CC6A18C0111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34601918"/>
              </p:ext>
            </p:extLst>
          </p:nvPr>
        </p:nvGraphicFramePr>
        <p:xfrm>
          <a:off x="2032000" y="719666"/>
          <a:ext cx="8128000" cy="541866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sp>
        <p:nvSpPr>
          <p:cNvPr id="2" name="TextBox 1"/>
          <p:cNvSpPr txBox="1"/>
          <p:nvPr/>
        </p:nvSpPr>
        <p:spPr>
          <a:xfrm>
            <a:off x="562707" y="6138333"/>
            <a:ext cx="9873761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050" dirty="0" smtClean="0"/>
              <a:t>* </a:t>
            </a:r>
            <a:r>
              <a:rPr lang="ko-KR" altLang="en-US" sz="1050" dirty="0" smtClean="0"/>
              <a:t>본 논문</a:t>
            </a:r>
            <a:r>
              <a:rPr lang="ko-KR" altLang="en-US" sz="1050" dirty="0"/>
              <a:t>은</a:t>
            </a:r>
            <a:r>
              <a:rPr lang="ko-KR" altLang="en-US" sz="1050" dirty="0" smtClean="0"/>
              <a:t> </a:t>
            </a:r>
            <a:r>
              <a:rPr lang="ko-KR" altLang="en-US" sz="1050" dirty="0" err="1" smtClean="0"/>
              <a:t>김익성</a:t>
            </a:r>
            <a:r>
              <a:rPr lang="ko-KR" altLang="en-US" sz="1050" dirty="0" smtClean="0"/>
              <a:t> </a:t>
            </a:r>
            <a:r>
              <a:rPr lang="en-US" altLang="ko-KR" sz="1050" dirty="0" smtClean="0"/>
              <a:t>23/03/23 NBN TV </a:t>
            </a:r>
            <a:r>
              <a:rPr lang="ko-KR" altLang="en-US" sz="1050" dirty="0" smtClean="0"/>
              <a:t>글로벌 빅데이터포럼 발표자료를 보완</a:t>
            </a:r>
            <a:r>
              <a:rPr lang="en-US" altLang="ko-KR" sz="1050" dirty="0" smtClean="0"/>
              <a:t>, </a:t>
            </a:r>
            <a:r>
              <a:rPr lang="ko-KR" altLang="en-US" sz="1050" dirty="0" smtClean="0"/>
              <a:t>개선하여 새로 작성되었음</a:t>
            </a:r>
            <a:r>
              <a:rPr lang="en-US" altLang="ko-KR" sz="1050" dirty="0" smtClean="0"/>
              <a:t>. . </a:t>
            </a:r>
            <a:r>
              <a:rPr lang="ko-KR" altLang="en-US" sz="1050" dirty="0" smtClean="0"/>
              <a:t>   </a:t>
            </a:r>
            <a:endParaRPr lang="ko-KR" altLang="en-US" sz="1050" dirty="0"/>
          </a:p>
        </p:txBody>
      </p:sp>
    </p:spTree>
    <p:extLst>
      <p:ext uri="{BB962C8B-B14F-4D97-AF65-F5344CB8AC3E}">
        <p14:creationId xmlns:p14="http://schemas.microsoft.com/office/powerpoint/2010/main" val="474749676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/>
          <p:cNvSpPr txBox="1"/>
          <p:nvPr/>
        </p:nvSpPr>
        <p:spPr>
          <a:xfrm>
            <a:off x="339798" y="1254507"/>
            <a:ext cx="10093071" cy="461665"/>
          </a:xfrm>
          <a:prstGeom prst="rect">
            <a:avLst/>
          </a:prstGeom>
          <a:solidFill>
            <a:srgbClr val="002060"/>
          </a:solidFill>
          <a:ln>
            <a:solidFill>
              <a:srgbClr val="002060"/>
            </a:solidFill>
          </a:ln>
        </p:spPr>
        <p:txBody>
          <a:bodyPr wrap="square" rtlCol="0">
            <a:spAutoFit/>
          </a:bodyPr>
          <a:lstStyle/>
          <a:p>
            <a:r>
              <a:rPr lang="en-US" altLang="ko-KR" sz="2400" dirty="0">
                <a:solidFill>
                  <a:schemeClr val="bg1"/>
                </a:solidFill>
              </a:rPr>
              <a:t> </a:t>
            </a:r>
            <a:r>
              <a:rPr lang="ko-KR" altLang="en-US" sz="2400" b="1" dirty="0" err="1">
                <a:solidFill>
                  <a:schemeClr val="bg1"/>
                </a:solidFill>
              </a:rPr>
              <a:t>빅데이터</a:t>
            </a:r>
            <a:r>
              <a:rPr lang="ko-KR" altLang="en-US" sz="2400" b="1" dirty="0">
                <a:solidFill>
                  <a:schemeClr val="bg1"/>
                </a:solidFill>
              </a:rPr>
              <a:t> </a:t>
            </a:r>
            <a:r>
              <a:rPr lang="en-US" altLang="ko-KR" sz="2400" b="1" dirty="0">
                <a:solidFill>
                  <a:schemeClr val="bg1"/>
                </a:solidFill>
              </a:rPr>
              <a:t>&amp; AI </a:t>
            </a:r>
            <a:r>
              <a:rPr lang="ko-KR" altLang="en-US" sz="2400" b="1" dirty="0">
                <a:solidFill>
                  <a:schemeClr val="bg1"/>
                </a:solidFill>
              </a:rPr>
              <a:t>의 활용의 한계와  문제</a:t>
            </a:r>
            <a:r>
              <a:rPr lang="en-US" altLang="ko-KR" sz="2400" b="1" dirty="0">
                <a:solidFill>
                  <a:schemeClr val="bg1"/>
                </a:solidFill>
              </a:rPr>
              <a:t>&gt; </a:t>
            </a:r>
            <a:r>
              <a:rPr lang="ko-KR" altLang="en-US" sz="2400" b="1" dirty="0">
                <a:solidFill>
                  <a:schemeClr val="bg1"/>
                </a:solidFill>
              </a:rPr>
              <a:t>글로벌  규제의 필요성  </a:t>
            </a:r>
            <a:endParaRPr lang="ko-KR" altLang="en-US" dirty="0">
              <a:solidFill>
                <a:schemeClr val="bg1"/>
              </a:solidFill>
            </a:endParaRPr>
          </a:p>
        </p:txBody>
      </p:sp>
      <p:sp>
        <p:nvSpPr>
          <p:cNvPr id="13" name="제목 1"/>
          <p:cNvSpPr txBox="1">
            <a:spLocks/>
          </p:cNvSpPr>
          <p:nvPr/>
        </p:nvSpPr>
        <p:spPr>
          <a:xfrm>
            <a:off x="339798" y="100362"/>
            <a:ext cx="11558160" cy="1047718"/>
          </a:xfrm>
          <a:prstGeom prst="rect">
            <a:avLst/>
          </a:prstGeom>
          <a:solidFill>
            <a:srgbClr val="0070C0"/>
          </a:solidFill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1" hangingPunct="1">
              <a:lnSpc>
                <a:spcPct val="85000"/>
              </a:lnSpc>
              <a:spcBef>
                <a:spcPct val="0"/>
              </a:spcBef>
              <a:buNone/>
              <a:defRPr sz="5400" kern="1200" spc="-120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altLang="ko-KR" sz="3600" b="1" kern="0" dirty="0" smtClean="0">
                <a:solidFill>
                  <a:schemeClr val="bg1"/>
                </a:solidFill>
                <a:latin typeface="+mj-ea"/>
              </a:rPr>
              <a:t>IV</a:t>
            </a:r>
            <a:r>
              <a:rPr lang="en-US" altLang="ko-KR" sz="3600" b="1" kern="0" dirty="0">
                <a:solidFill>
                  <a:schemeClr val="bg1"/>
                </a:solidFill>
                <a:latin typeface="+mj-ea"/>
              </a:rPr>
              <a:t>. </a:t>
            </a:r>
            <a:r>
              <a:rPr lang="ko-KR" altLang="en-US" sz="3600" b="1" kern="0" dirty="0">
                <a:solidFill>
                  <a:schemeClr val="bg1"/>
                </a:solidFill>
                <a:latin typeface="+mj-ea"/>
              </a:rPr>
              <a:t>전략 및 정책시사점 </a:t>
            </a:r>
            <a:endParaRPr lang="en-US" altLang="ko-KR" sz="3600" b="1" kern="0" dirty="0">
              <a:solidFill>
                <a:schemeClr val="bg1"/>
              </a:solidFill>
              <a:latin typeface="+mj-ea"/>
            </a:endParaRPr>
          </a:p>
          <a:p>
            <a:endParaRPr lang="ko-KR" altLang="en-US" sz="3600" dirty="0">
              <a:solidFill>
                <a:schemeClr val="bg1"/>
              </a:solidFill>
              <a:latin typeface="HY강B" panose="02030600000101010101" pitchFamily="18" charset="-127"/>
              <a:ea typeface="HY강B" panose="02030600000101010101" pitchFamily="18" charset="-127"/>
            </a:endParaRPr>
          </a:p>
        </p:txBody>
      </p:sp>
      <p:graphicFrame>
        <p:nvGraphicFramePr>
          <p:cNvPr id="2" name="다이어그램 1"/>
          <p:cNvGraphicFramePr/>
          <p:nvPr>
            <p:extLst>
              <p:ext uri="{D42A27DB-BD31-4B8C-83A1-F6EECF244321}">
                <p14:modId xmlns:p14="http://schemas.microsoft.com/office/powerpoint/2010/main" val="2315074817"/>
              </p:ext>
            </p:extLst>
          </p:nvPr>
        </p:nvGraphicFramePr>
        <p:xfrm>
          <a:off x="4129831" y="1716172"/>
          <a:ext cx="7768127" cy="525249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7" name="오른쪽 화살표 설명선 6"/>
          <p:cNvSpPr/>
          <p:nvPr/>
        </p:nvSpPr>
        <p:spPr>
          <a:xfrm>
            <a:off x="435836" y="1982461"/>
            <a:ext cx="3948157" cy="4554909"/>
          </a:xfrm>
          <a:prstGeom prst="rightArrowCallout">
            <a:avLst/>
          </a:prstGeom>
          <a:solidFill>
            <a:srgbClr val="002060"/>
          </a:solidFill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 algn="ctr">
              <a:buFont typeface="Arial" panose="020B0604020202020204" pitchFamily="34" charset="0"/>
              <a:buChar char="•"/>
            </a:pPr>
            <a:r>
              <a:rPr lang="ko-KR" altLang="en-US" dirty="0" err="1"/>
              <a:t>빅데이터</a:t>
            </a:r>
            <a:r>
              <a:rPr lang="en-US" altLang="ko-KR" b="1" dirty="0">
                <a:solidFill>
                  <a:schemeClr val="tx1"/>
                </a:solidFill>
              </a:rPr>
              <a:t> </a:t>
            </a:r>
            <a:r>
              <a:rPr lang="en-US" altLang="ko-KR" b="1" dirty="0">
                <a:solidFill>
                  <a:schemeClr val="bg1"/>
                </a:solidFill>
              </a:rPr>
              <a:t>&amp; AI</a:t>
            </a:r>
            <a:r>
              <a:rPr lang="ko-KR" altLang="en-US" dirty="0">
                <a:solidFill>
                  <a:schemeClr val="bg1"/>
                </a:solidFill>
              </a:rPr>
              <a:t> </a:t>
            </a:r>
            <a:r>
              <a:rPr lang="ko-KR" altLang="en-US" dirty="0"/>
              <a:t>파생 생태계 </a:t>
            </a:r>
            <a:endParaRPr lang="en-US" altLang="ko-KR" dirty="0"/>
          </a:p>
          <a:p>
            <a:pPr marL="285750" indent="-285750" algn="ctr">
              <a:buFont typeface="Arial" panose="020B0604020202020204" pitchFamily="34" charset="0"/>
              <a:buChar char="•"/>
            </a:pPr>
            <a:endParaRPr lang="en-US" altLang="ko-KR" dirty="0"/>
          </a:p>
          <a:p>
            <a:pPr marL="285750" indent="-285750" algn="ctr">
              <a:buFont typeface="Arial" panose="020B0604020202020204" pitchFamily="34" charset="0"/>
              <a:buChar char="•"/>
            </a:pPr>
            <a:r>
              <a:rPr lang="ko-KR" altLang="en-US" dirty="0"/>
              <a:t>국민</a:t>
            </a:r>
            <a:r>
              <a:rPr lang="en-US" altLang="ko-KR" dirty="0"/>
              <a:t>/</a:t>
            </a:r>
            <a:r>
              <a:rPr lang="ko-KR" altLang="en-US" dirty="0"/>
              <a:t>산업  인프라</a:t>
            </a:r>
            <a:endParaRPr lang="en-US" altLang="ko-KR" dirty="0"/>
          </a:p>
          <a:p>
            <a:pPr marL="285750" indent="-285750" algn="ctr">
              <a:buFont typeface="Arial" panose="020B0604020202020204" pitchFamily="34" charset="0"/>
              <a:buChar char="•"/>
            </a:pPr>
            <a:endParaRPr lang="en-US" altLang="ko-KR" dirty="0"/>
          </a:p>
          <a:p>
            <a:pPr marL="285750" indent="-285750" algn="ctr">
              <a:buFont typeface="Arial" panose="020B0604020202020204" pitchFamily="34" charset="0"/>
              <a:buChar char="•"/>
            </a:pPr>
            <a:endParaRPr lang="en-US" altLang="ko-KR" dirty="0"/>
          </a:p>
          <a:p>
            <a:pPr marL="285750" indent="-285750" algn="ctr">
              <a:buFont typeface="Arial" panose="020B0604020202020204" pitchFamily="34" charset="0"/>
              <a:buChar char="•"/>
            </a:pPr>
            <a:r>
              <a:rPr lang="ko-KR" altLang="en-US" dirty="0"/>
              <a:t>정부의 능력과 지원 체계 </a:t>
            </a:r>
            <a:endParaRPr lang="en-US" altLang="ko-KR" dirty="0"/>
          </a:p>
          <a:p>
            <a:pPr marL="285750" indent="-285750" algn="ctr">
              <a:buFont typeface="Arial" panose="020B0604020202020204" pitchFamily="34" charset="0"/>
              <a:buChar char="•"/>
            </a:pPr>
            <a:endParaRPr lang="en-US" altLang="ko-KR" dirty="0"/>
          </a:p>
          <a:p>
            <a:pPr algn="ctr"/>
            <a:r>
              <a:rPr lang="en-US" altLang="ko-KR" dirty="0"/>
              <a:t> </a:t>
            </a:r>
          </a:p>
          <a:p>
            <a:pPr algn="ctr"/>
            <a:r>
              <a:rPr lang="ko-KR" altLang="en-US" dirty="0"/>
              <a:t>안전</a:t>
            </a:r>
            <a:r>
              <a:rPr lang="en-US" altLang="ko-KR" dirty="0"/>
              <a:t>/</a:t>
            </a:r>
          </a:p>
          <a:p>
            <a:pPr marL="285750" indent="-285750" algn="ctr">
              <a:buFont typeface="Arial" panose="020B0604020202020204" pitchFamily="34" charset="0"/>
              <a:buChar char="•"/>
            </a:pPr>
            <a:r>
              <a:rPr lang="ko-KR" altLang="en-US" dirty="0"/>
              <a:t>신뢰할만한  디지털</a:t>
            </a:r>
            <a:r>
              <a:rPr lang="en-US" altLang="ko-KR" dirty="0"/>
              <a:t> </a:t>
            </a:r>
            <a:r>
              <a:rPr lang="ko-KR" altLang="en-US" dirty="0"/>
              <a:t>정보사회  </a:t>
            </a:r>
            <a:endParaRPr lang="en-US" altLang="ko-KR" dirty="0"/>
          </a:p>
        </p:txBody>
      </p:sp>
      <p:sp>
        <p:nvSpPr>
          <p:cNvPr id="8" name="제목 1"/>
          <p:cNvSpPr txBox="1">
            <a:spLocks/>
          </p:cNvSpPr>
          <p:nvPr/>
        </p:nvSpPr>
        <p:spPr>
          <a:xfrm>
            <a:off x="339798" y="67260"/>
            <a:ext cx="11558160" cy="875199"/>
          </a:xfrm>
          <a:prstGeom prst="rect">
            <a:avLst/>
          </a:prstGeom>
          <a:solidFill>
            <a:srgbClr val="0070C0"/>
          </a:solidFill>
        </p:spPr>
        <p:txBody>
          <a:bodyPr vert="horz" lIns="91440" tIns="45720" rIns="91440" bIns="45720" rtlCol="0" anchor="ctr">
            <a:normAutofit fontScale="92500" lnSpcReduction="10000"/>
          </a:bodyPr>
          <a:lstStyle>
            <a:lvl1pPr algn="l" defTabSz="914400" rtl="0" eaLnBrk="1" latinLnBrk="1" hangingPunct="1">
              <a:lnSpc>
                <a:spcPct val="85000"/>
              </a:lnSpc>
              <a:spcBef>
                <a:spcPct val="0"/>
              </a:spcBef>
              <a:buNone/>
              <a:defRPr sz="5400" kern="1200" spc="-120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altLang="ko-KR" sz="3600" b="1" kern="0" dirty="0">
                <a:solidFill>
                  <a:schemeClr val="bg1"/>
                </a:solidFill>
                <a:latin typeface="+mj-ea"/>
              </a:rPr>
              <a:t> </a:t>
            </a:r>
            <a:endParaRPr lang="en-US" altLang="ko-KR" sz="3600" b="1" kern="0" dirty="0" smtClean="0">
              <a:solidFill>
                <a:schemeClr val="bg1"/>
              </a:solidFill>
              <a:latin typeface="+mj-ea"/>
            </a:endParaRPr>
          </a:p>
          <a:p>
            <a:r>
              <a:rPr lang="en-US" altLang="ko-KR" sz="3600" b="1" kern="0" dirty="0" smtClean="0">
                <a:solidFill>
                  <a:schemeClr val="bg1"/>
                </a:solidFill>
                <a:latin typeface="+mj-ea"/>
              </a:rPr>
              <a:t>IV</a:t>
            </a:r>
            <a:r>
              <a:rPr lang="en-US" altLang="ko-KR" sz="3600" b="1" kern="0" dirty="0">
                <a:solidFill>
                  <a:schemeClr val="bg1"/>
                </a:solidFill>
                <a:latin typeface="+mj-ea"/>
              </a:rPr>
              <a:t>. </a:t>
            </a:r>
            <a:r>
              <a:rPr lang="ko-KR" altLang="en-US" sz="3600" b="1" kern="0" dirty="0" smtClean="0">
                <a:solidFill>
                  <a:schemeClr val="bg1"/>
                </a:solidFill>
                <a:latin typeface="+mj-ea"/>
              </a:rPr>
              <a:t>유통 산업 내  </a:t>
            </a:r>
            <a:r>
              <a:rPr lang="ko-KR" altLang="en-US" sz="3600" b="1" kern="0" dirty="0">
                <a:solidFill>
                  <a:schemeClr val="bg1"/>
                </a:solidFill>
                <a:latin typeface="+mj-ea"/>
              </a:rPr>
              <a:t>정부지원 정책제안  </a:t>
            </a:r>
            <a:endParaRPr lang="en-US" altLang="ko-KR" sz="3600" b="1" kern="0" dirty="0">
              <a:solidFill>
                <a:schemeClr val="bg1"/>
              </a:solidFill>
              <a:latin typeface="+mj-ea"/>
            </a:endParaRPr>
          </a:p>
          <a:p>
            <a:endParaRPr lang="ko-KR" altLang="en-US" sz="3600" dirty="0">
              <a:solidFill>
                <a:schemeClr val="bg1"/>
              </a:solidFill>
              <a:latin typeface="HY강B" panose="02030600000101010101" pitchFamily="18" charset="-127"/>
              <a:ea typeface="HY강B" panose="02030600000101010101" pitchFamily="18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10315570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개체 1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25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31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16" name="개체 1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25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3" name="Rectangle 2"/>
          <p:cNvSpPr>
            <a:spLocks noChangeArrowheads="1"/>
          </p:cNvSpPr>
          <p:nvPr/>
        </p:nvSpPr>
        <p:spPr bwMode="auto">
          <a:xfrm>
            <a:off x="393851" y="27380"/>
            <a:ext cx="6026185" cy="612000"/>
          </a:xfrm>
          <a:prstGeom prst="rect">
            <a:avLst/>
          </a:prstGeom>
          <a:solidFill>
            <a:srgbClr val="0070C0"/>
          </a:solidFill>
          <a:ln w="12700" algn="ctr">
            <a:noFill/>
            <a:miter lim="800000"/>
            <a:headEnd/>
            <a:tailEnd/>
          </a:ln>
        </p:spPr>
        <p:txBody>
          <a:bodyPr wrap="none" lIns="72000" tIns="72000" rIns="72000" bIns="72000" anchor="ctr"/>
          <a:lstStyle/>
          <a:p>
            <a:pPr fontAlgn="auto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rgbClr val="FFFFFF"/>
              </a:buClr>
              <a:defRPr/>
            </a:pPr>
            <a:r>
              <a:rPr lang="en-US" altLang="ko-KR" sz="2800" kern="0" dirty="0">
                <a:solidFill>
                  <a:srgbClr val="FFFFFF"/>
                </a:solidFill>
                <a:latin typeface="Arial"/>
                <a:ea typeface="HY견고딕" pitchFamily="18" charset="-127"/>
              </a:rPr>
              <a:t>3.</a:t>
            </a:r>
            <a:r>
              <a:rPr kumimoji="0" lang="en-US" altLang="ko-KR" sz="2800" kern="0" dirty="0">
                <a:solidFill>
                  <a:srgbClr val="FFFFFF"/>
                </a:solidFill>
                <a:latin typeface="Arial"/>
                <a:ea typeface="HY견고딕" pitchFamily="18" charset="-127"/>
              </a:rPr>
              <a:t>  </a:t>
            </a:r>
            <a:r>
              <a:rPr lang="ko-KR" altLang="en-US" sz="2800" kern="0" dirty="0">
                <a:solidFill>
                  <a:srgbClr val="FFFFFF"/>
                </a:solidFill>
                <a:latin typeface="Arial"/>
                <a:ea typeface="HY견고딕" pitchFamily="18" charset="-127"/>
              </a:rPr>
              <a:t>선</a:t>
            </a:r>
            <a:r>
              <a:rPr kumimoji="0" lang="ko-KR" altLang="en-US" sz="2800" kern="0" dirty="0">
                <a:solidFill>
                  <a:srgbClr val="FFFFFF"/>
                </a:solidFill>
                <a:latin typeface="Arial"/>
                <a:ea typeface="HY견고딕" pitchFamily="18" charset="-127"/>
              </a:rPr>
              <a:t>행연구 </a:t>
            </a:r>
            <a:r>
              <a:rPr kumimoji="0" lang="en-US" altLang="ko-KR" sz="2800" kern="0" dirty="0">
                <a:solidFill>
                  <a:srgbClr val="FFFFFF"/>
                </a:solidFill>
                <a:latin typeface="Arial"/>
                <a:ea typeface="HY견고딕" pitchFamily="18" charset="-127"/>
              </a:rPr>
              <a:t>&amp;</a:t>
            </a:r>
            <a:r>
              <a:rPr kumimoji="0" lang="ko-KR" altLang="en-US" sz="2800" kern="0" dirty="0">
                <a:solidFill>
                  <a:srgbClr val="FFFFFF"/>
                </a:solidFill>
                <a:latin typeface="Arial"/>
                <a:ea typeface="HY견고딕" pitchFamily="18" charset="-127"/>
              </a:rPr>
              <a:t> 본연구의 차별성 </a:t>
            </a:r>
            <a:endParaRPr kumimoji="0" lang="en-US" altLang="ko-KR" sz="2800" kern="0" dirty="0">
              <a:solidFill>
                <a:srgbClr val="FFFFFF"/>
              </a:solidFill>
              <a:latin typeface="Arial"/>
              <a:ea typeface="HY견고딕" pitchFamily="18" charset="-127"/>
            </a:endParaRPr>
          </a:p>
        </p:txBody>
      </p:sp>
      <p:graphicFrame>
        <p:nvGraphicFramePr>
          <p:cNvPr id="5" name="표 4">
            <a:extLst>
              <a:ext uri="{FF2B5EF4-FFF2-40B4-BE49-F238E27FC236}">
                <a16:creationId xmlns:a16="http://schemas.microsoft.com/office/drawing/2014/main" id="{E6430AD5-C0E2-E4B1-8816-C8E2419029C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34489394"/>
              </p:ext>
            </p:extLst>
          </p:nvPr>
        </p:nvGraphicFramePr>
        <p:xfrm>
          <a:off x="229342" y="750636"/>
          <a:ext cx="11733315" cy="603139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9789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68384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626659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644588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942237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2038091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425355">
                <a:tc gridSpan="6">
                  <a:txBody>
                    <a:bodyPr/>
                    <a:lstStyle/>
                    <a:p>
                      <a:pPr latinLnBrk="1"/>
                      <a:r>
                        <a:rPr lang="ko-KR" altLang="en-US" sz="2400" dirty="0"/>
                        <a:t>주요 선행연구와  구분</a:t>
                      </a:r>
                      <a:r>
                        <a:rPr lang="en-US" altLang="ko-KR" sz="2400" dirty="0"/>
                        <a:t>/</a:t>
                      </a:r>
                      <a:r>
                        <a:rPr lang="ko-KR" altLang="en-US" sz="2400" dirty="0"/>
                        <a:t>방향  </a:t>
                      </a:r>
                      <a:r>
                        <a:rPr lang="en-US" altLang="ko-KR" sz="1200" dirty="0"/>
                        <a:t>* </a:t>
                      </a:r>
                      <a:r>
                        <a:rPr lang="ko-KR" altLang="en-US" sz="1200" dirty="0"/>
                        <a:t>국내 정책연구 위주 조사  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95496">
                <a:tc>
                  <a:txBody>
                    <a:bodyPr/>
                    <a:lstStyle/>
                    <a:p>
                      <a:r>
                        <a:rPr lang="ko-KR" altLang="en-US" dirty="0"/>
                        <a:t>구분</a:t>
                      </a:r>
                    </a:p>
                  </a:txBody>
                  <a:tcP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baseline="0" dirty="0"/>
                        <a:t> AI  </a:t>
                      </a:r>
                      <a:r>
                        <a:rPr lang="ko-KR" altLang="en-US" baseline="0" dirty="0"/>
                        <a:t>변화와</a:t>
                      </a:r>
                      <a:r>
                        <a:rPr lang="en-US" altLang="ko-KR" baseline="0" dirty="0"/>
                        <a:t> </a:t>
                      </a:r>
                      <a:r>
                        <a:rPr lang="ko-KR" altLang="en-US" baseline="0" dirty="0"/>
                        <a:t>시장 </a:t>
                      </a:r>
                      <a:endParaRPr lang="ko-KR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dirty="0"/>
                        <a:t>AI</a:t>
                      </a:r>
                      <a:r>
                        <a:rPr lang="en-US" altLang="ko-KR" baseline="0" dirty="0"/>
                        <a:t> R&amp;D </a:t>
                      </a:r>
                      <a:r>
                        <a:rPr lang="ko-KR" altLang="en-US" baseline="0" dirty="0"/>
                        <a:t>전략과 국가정책 </a:t>
                      </a:r>
                      <a:endParaRPr lang="ko-KR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dirty="0"/>
                        <a:t>업종별 활용 현황</a:t>
                      </a:r>
                      <a:r>
                        <a:rPr lang="en-US" altLang="ko-KR" dirty="0"/>
                        <a:t>/</a:t>
                      </a:r>
                      <a:r>
                        <a:rPr lang="ko-KR" altLang="en-US" dirty="0"/>
                        <a:t>사례 </a:t>
                      </a:r>
                      <a:endParaRPr lang="en-US" altLang="ko-KR" dirty="0"/>
                    </a:p>
                    <a:p>
                      <a:pPr latinLnBrk="1"/>
                      <a:endParaRPr lang="ko-KR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dirty="0"/>
                        <a:t>인재양성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dirty="0"/>
                        <a:t>윤리정책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934113">
                <a:tc>
                  <a:txBody>
                    <a:bodyPr/>
                    <a:lstStyle/>
                    <a:p>
                      <a:r>
                        <a:rPr lang="ko-KR" altLang="en-US" dirty="0"/>
                        <a:t>대표 </a:t>
                      </a:r>
                      <a:endParaRPr lang="en-US" altLang="ko-KR" dirty="0"/>
                    </a:p>
                    <a:p>
                      <a:r>
                        <a:rPr lang="ko-KR" altLang="en-US" dirty="0"/>
                        <a:t> 보고서 </a:t>
                      </a:r>
                      <a:r>
                        <a:rPr lang="en-US" altLang="ko-KR" dirty="0"/>
                        <a:t>/</a:t>
                      </a:r>
                      <a:r>
                        <a:rPr lang="ko-KR" altLang="en-US" dirty="0"/>
                        <a:t>논문 </a:t>
                      </a:r>
                    </a:p>
                  </a:txBody>
                  <a:tcP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marL="285750" marR="0" lvl="0" indent="-28575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ko-KR" altLang="en-US" sz="1800" b="0" i="0" u="sng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hlinkClick r:id="rId7"/>
                        </a:rPr>
                        <a:t>차세대 </a:t>
                      </a:r>
                      <a:r>
                        <a:rPr lang="en-US" altLang="ko-KR" sz="1800" b="0" i="0" u="sng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hlinkClick r:id="rId7"/>
                        </a:rPr>
                        <a:t>AI(</a:t>
                      </a:r>
                      <a:r>
                        <a:rPr lang="ko-KR" altLang="en-US" sz="1800" b="0" i="0" u="sng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hlinkClick r:id="rId7"/>
                        </a:rPr>
                        <a:t>인공지능</a:t>
                      </a:r>
                      <a:r>
                        <a:rPr lang="en-US" altLang="ko-KR" sz="1800" b="0" i="0" u="sng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hlinkClick r:id="rId7"/>
                        </a:rPr>
                        <a:t>) </a:t>
                      </a:r>
                      <a:r>
                        <a:rPr lang="ko-KR" altLang="en-US" sz="1800" b="0" i="0" u="sng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hlinkClick r:id="rId7"/>
                        </a:rPr>
                        <a:t>혁신 기술 </a:t>
                      </a:r>
                      <a:r>
                        <a:rPr lang="ko-KR" altLang="en-US" sz="1800" b="0" i="0" u="sng" strike="noStrike" kern="1200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hlinkClick r:id="rId7"/>
                        </a:rPr>
                        <a:t>트렌드</a:t>
                      </a:r>
                      <a:r>
                        <a:rPr lang="ko-KR" altLang="en-US" sz="1800" b="0" i="0" u="sng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hlinkClick r:id="rId7"/>
                        </a:rPr>
                        <a:t> 및 시장 전망</a:t>
                      </a:r>
                      <a:r>
                        <a:rPr lang="en-US" altLang="ko-KR" sz="1800" b="0" i="0" u="sng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hlinkClick r:id="rId7"/>
                        </a:rPr>
                        <a:t>, 2022</a:t>
                      </a:r>
                    </a:p>
                    <a:p>
                      <a:r>
                        <a:rPr lang="ko-KR" altLang="en-US" sz="1800" b="1" i="0" u="sng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  <a:hlinkClick r:id="rId8"/>
                        </a:rPr>
                        <a:t>김소희</a:t>
                      </a:r>
                      <a:r>
                        <a:rPr lang="en-US" altLang="ko-KR" sz="1800" b="1" i="0" u="sng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  <a:hlinkClick r:id="rId8"/>
                        </a:rPr>
                        <a:t>, AI</a:t>
                      </a:r>
                      <a:r>
                        <a:rPr lang="ko-KR" altLang="en-US" sz="1800" b="0" i="0" u="sng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  <a:hlinkClick r:id="rId8"/>
                        </a:rPr>
                        <a:t>로 인한 미래 사회</a:t>
                      </a:r>
                      <a:r>
                        <a:rPr lang="ko-KR" altLang="en-US" sz="1800" b="1" i="0" u="sng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  <a:hlinkClick r:id="rId8"/>
                        </a:rPr>
                        <a:t>변화</a:t>
                      </a:r>
                      <a:r>
                        <a:rPr lang="ko-KR" altLang="en-US" sz="1800" b="0" i="0" u="sng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  <a:hlinkClick r:id="rId8"/>
                        </a:rPr>
                        <a:t>에 대한 대학생의 인식에 영향을 미치는 요인 탐색</a:t>
                      </a:r>
                      <a:r>
                        <a:rPr lang="en-US" altLang="ko-KR" sz="1800" b="0" i="0" u="sng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,</a:t>
                      </a:r>
                      <a:r>
                        <a:rPr lang="ko-KR" altLang="en-US" sz="18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 </a:t>
                      </a:r>
                      <a:r>
                        <a:rPr lang="ko-KR" altLang="en-US" sz="1800" b="0" i="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  <a:hlinkClick r:id="rId9"/>
                        </a:rPr>
                        <a:t>한국교육학연구</a:t>
                      </a:r>
                      <a:r>
                        <a:rPr lang="ko-KR" altLang="en-US" sz="1800" b="0" i="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altLang="ko-KR" sz="1800" b="0" i="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8/4, 2022</a:t>
                      </a:r>
                      <a:endParaRPr lang="ko-KR" altLang="en-US" sz="1800" b="0" i="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285750" marR="0" lvl="0" indent="-28575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ko-KR" altLang="en-US" sz="1800" b="0" i="0" u="sng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  <a:hlinkClick r:id="rId7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ko-KR" altLang="en-US" sz="1800" b="0" i="0" u="sng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hlinkClick r:id="rId10"/>
                        </a:rPr>
                        <a:t>‘기업 </a:t>
                      </a:r>
                      <a:r>
                        <a:rPr lang="en-US" altLang="ko-KR" sz="1800" b="0" i="0" u="sng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hlinkClick r:id="rId10"/>
                        </a:rPr>
                        <a:t>AI</a:t>
                      </a:r>
                      <a:r>
                        <a:rPr lang="ko-KR" altLang="en-US" sz="1800" b="0" i="0" u="sng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hlinkClick r:id="rId10"/>
                        </a:rPr>
                        <a:t> </a:t>
                      </a:r>
                      <a:r>
                        <a:rPr lang="en-US" altLang="ko-KR" sz="1800" b="0" i="0" u="sng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hlinkClick r:id="rId10"/>
                        </a:rPr>
                        <a:t>index’</a:t>
                      </a:r>
                      <a:r>
                        <a:rPr lang="ko-KR" altLang="en-US" sz="1800" b="0" i="0" u="sng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hlinkClick r:id="rId10"/>
                        </a:rPr>
                        <a:t>수준 진단 및 중소기업 </a:t>
                      </a:r>
                      <a:r>
                        <a:rPr lang="en-US" altLang="ko-KR" sz="1800" b="0" i="0" u="sng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hlinkClick r:id="rId10"/>
                        </a:rPr>
                        <a:t>AI</a:t>
                      </a:r>
                      <a:r>
                        <a:rPr lang="ko-KR" altLang="en-US" sz="1800" b="0" i="0" u="sng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hlinkClick r:id="rId10"/>
                        </a:rPr>
                        <a:t> 수준 맞춤지원 연구</a:t>
                      </a:r>
                      <a:endParaRPr lang="ko-KR" altLang="en-US" sz="1800" b="0" i="0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ko-KR" altLang="en-US" sz="1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hlinkClick r:id="rId11"/>
                        </a:rPr>
                        <a:t>성선진</a:t>
                      </a:r>
                      <a:r>
                        <a:rPr lang="ko-KR" altLang="en-US" sz="1800" b="0" i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  <a:r>
                        <a:rPr lang="ko-KR" altLang="en-US" sz="1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hlinkClick r:id="rId12"/>
                        </a:rPr>
                        <a:t>중소벤처기업연구원</a:t>
                      </a:r>
                      <a:r>
                        <a:rPr lang="en-US" altLang="ko-KR" sz="1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,</a:t>
                      </a:r>
                      <a:r>
                        <a:rPr lang="ko-KR" altLang="en-US" sz="1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hlinkClick r:id="rId13"/>
                        </a:rPr>
                        <a:t>중소기업정책연구</a:t>
                      </a:r>
                      <a:r>
                        <a:rPr lang="ko-KR" altLang="en-US" sz="1800" b="0" i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  <a:r>
                        <a:rPr lang="en-US" altLang="ko-KR" sz="1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hlinkClick r:id="rId14"/>
                        </a:rPr>
                        <a:t>Vol.6 No.3</a:t>
                      </a:r>
                      <a:r>
                        <a:rPr lang="ko-KR" altLang="en-US" sz="1800" b="0" i="0" u="sng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hlinkClick r:id="rId15"/>
                        </a:rPr>
                        <a:t>중소 제조기업의 경쟁력 강화를 위한 제조</a:t>
                      </a:r>
                      <a:r>
                        <a:rPr lang="en-US" altLang="ko-KR" sz="1800" b="0" i="0" u="sng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hlinkClick r:id="rId15"/>
                        </a:rPr>
                        <a:t>AI</a:t>
                      </a:r>
                      <a:r>
                        <a:rPr lang="ko-KR" altLang="en-US" sz="1800" b="0" i="0" u="sng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hlinkClick r:id="rId15"/>
                        </a:rPr>
                        <a:t> 핵심 정책과제 도출에 관한 연구</a:t>
                      </a:r>
                      <a:r>
                        <a:rPr lang="en-US" altLang="ko-KR" sz="1800" b="0" i="0" u="sng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, 2021</a:t>
                      </a:r>
                      <a:endParaRPr lang="ko-KR" altLang="en-US" sz="1800" b="0" i="0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ko-KR" altLang="en-US" sz="1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hlinkClick r:id="rId16"/>
                        </a:rPr>
                        <a:t>김일중</a:t>
                      </a:r>
                      <a:r>
                        <a:rPr lang="ko-KR" altLang="en-US" sz="1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외 </a:t>
                      </a:r>
                      <a:r>
                        <a:rPr lang="en-US" altLang="ko-KR" sz="1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9</a:t>
                      </a:r>
                      <a:r>
                        <a:rPr lang="ko-KR" altLang="en-US" sz="1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인</a:t>
                      </a:r>
                      <a:r>
                        <a:rPr lang="en-US" altLang="ko-KR" sz="1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, </a:t>
                      </a:r>
                      <a:r>
                        <a:rPr lang="ko-KR" altLang="en-US" sz="1800" b="0" i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  <a:r>
                        <a:rPr lang="ko-KR" altLang="en-US" sz="1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hlinkClick r:id="rId17"/>
                        </a:rPr>
                        <a:t>한국품질경영학회</a:t>
                      </a:r>
                      <a:r>
                        <a:rPr lang="ko-KR" altLang="en-US" sz="1800" b="0" i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  <a:r>
                        <a:rPr lang="en-US" altLang="ko-KR" sz="1800" b="0" i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022</a:t>
                      </a:r>
                      <a:r>
                        <a:rPr lang="ko-KR" altLang="en-US" sz="1800" b="0" i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  <a:r>
                        <a:rPr lang="ko-KR" altLang="en-US" sz="1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hlinkClick r:id="rId18"/>
                        </a:rPr>
                        <a:t>품질경영학회지</a:t>
                      </a:r>
                      <a:r>
                        <a:rPr lang="ko-KR" altLang="en-US" sz="1800" b="0" i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  <a:r>
                        <a:rPr lang="en-US" altLang="ko-KR" sz="1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hlinkClick r:id="rId19"/>
                        </a:rPr>
                        <a:t>Vol.50 No.4</a:t>
                      </a:r>
                      <a:r>
                        <a:rPr lang="en-US" altLang="ko-KR" sz="1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, 2022</a:t>
                      </a:r>
                      <a:endParaRPr lang="ko-KR" altLang="en-US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ko-KR" altLang="en-US" sz="1800" b="0" i="0" u="none" kern="1200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hlinkClick r:id="rId20"/>
                        </a:rPr>
                        <a:t>장필성외</a:t>
                      </a:r>
                      <a:r>
                        <a:rPr lang="ko-KR" altLang="en-US" sz="1800" b="0" i="0" u="non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hlinkClick r:id="rId20"/>
                        </a:rPr>
                        <a:t> </a:t>
                      </a:r>
                      <a:r>
                        <a:rPr lang="en-US" altLang="ko-KR" sz="1800" b="0" i="0" u="non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hlinkClick r:id="rId20"/>
                        </a:rPr>
                        <a:t>6</a:t>
                      </a:r>
                      <a:r>
                        <a:rPr lang="ko-KR" altLang="en-US" sz="1800" b="0" i="0" u="non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hlinkClick r:id="rId20"/>
                        </a:rPr>
                        <a:t>인</a:t>
                      </a:r>
                      <a:r>
                        <a:rPr lang="en-US" altLang="ko-KR" sz="1800" b="0" i="0" u="non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hlinkClick r:id="rId20"/>
                        </a:rPr>
                        <a:t>, </a:t>
                      </a:r>
                      <a:r>
                        <a:rPr lang="ko-KR" altLang="en-US" sz="1800" b="0" i="0" u="sng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  <a:hlinkClick r:id="rId20"/>
                        </a:rPr>
                        <a:t>데이터 기반의 기업 </a:t>
                      </a:r>
                      <a:r>
                        <a:rPr lang="en-US" altLang="ko-KR" sz="1800" b="0" i="0" u="sng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  <a:hlinkClick r:id="rId20"/>
                        </a:rPr>
                        <a:t>R&amp;D </a:t>
                      </a:r>
                      <a:r>
                        <a:rPr lang="ko-KR" altLang="en-US" sz="1800" b="0" i="0" u="sng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  <a:hlinkClick r:id="rId20"/>
                        </a:rPr>
                        <a:t>선정평가모형 구축 및 도입방안 연구 </a:t>
                      </a:r>
                      <a:r>
                        <a:rPr lang="en-US" altLang="ko-KR" sz="1800" b="0" i="0" u="sng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  <a:hlinkClick r:id="rId20"/>
                        </a:rPr>
                        <a:t>:</a:t>
                      </a:r>
                      <a:r>
                        <a:rPr lang="ko-KR" altLang="en-US" sz="1800" b="0" i="0" u="sng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  <a:hlinkClick r:id="rId20"/>
                        </a:rPr>
                        <a:t>인공지능 방법론의 도입 및 활용 방안을 중심으로</a:t>
                      </a:r>
                      <a:r>
                        <a:rPr lang="en-US" altLang="ko-KR" sz="1800" b="0" i="0" u="sng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,</a:t>
                      </a:r>
                      <a:r>
                        <a:rPr lang="ko-KR" altLang="en-US" sz="18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  <a:r>
                        <a:rPr lang="ko-KR" altLang="en-US" sz="1800" b="0" i="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  <a:hlinkClick r:id="rId21"/>
                        </a:rPr>
                        <a:t>과학기술정책연구원</a:t>
                      </a:r>
                      <a:r>
                        <a:rPr lang="ko-KR" altLang="en-US" sz="18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 </a:t>
                      </a:r>
                      <a:r>
                        <a:rPr lang="ko-KR" altLang="en-US" sz="1800" b="0" i="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  <a:hlinkClick r:id="rId22"/>
                        </a:rPr>
                        <a:t>정책연구</a:t>
                      </a:r>
                      <a:r>
                        <a:rPr lang="ko-KR" altLang="en-US" sz="18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  <a:r>
                        <a:rPr lang="en-US" altLang="ko-KR" sz="1800" b="0" i="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  <a:hlinkClick r:id="rId23"/>
                        </a:rPr>
                        <a:t>Vol.- No.-</a:t>
                      </a:r>
                      <a:r>
                        <a:rPr lang="en-US" altLang="ko-KR" sz="1800" b="0" i="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, 2019 </a:t>
                      </a:r>
                      <a:endParaRPr lang="ko-KR" altLang="en-US" sz="1800" b="0" i="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285750" marR="0" lvl="0" indent="-28575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ko-KR" altLang="en-US" dirty="0">
                          <a:solidFill>
                            <a:schemeClr val="tx1"/>
                          </a:solidFill>
                        </a:rPr>
                        <a:t>정명희 외 </a:t>
                      </a:r>
                      <a:r>
                        <a:rPr lang="en-US" altLang="ko-KR" dirty="0">
                          <a:solidFill>
                            <a:schemeClr val="tx1"/>
                          </a:solidFill>
                        </a:rPr>
                        <a:t>1</a:t>
                      </a:r>
                      <a:r>
                        <a:rPr lang="ko-KR" altLang="en-US" dirty="0">
                          <a:solidFill>
                            <a:schemeClr val="tx1"/>
                          </a:solidFill>
                        </a:rPr>
                        <a:t>인</a:t>
                      </a:r>
                      <a:r>
                        <a:rPr lang="en-US" altLang="ko-KR" dirty="0">
                          <a:solidFill>
                            <a:schemeClr val="tx1"/>
                          </a:solidFill>
                        </a:rPr>
                        <a:t>, </a:t>
                      </a:r>
                      <a:r>
                        <a:rPr lang="ko-KR" altLang="en-US" dirty="0">
                          <a:solidFill>
                            <a:schemeClr val="tx1"/>
                          </a:solidFill>
                        </a:rPr>
                        <a:t> 신약개발에서의 </a:t>
                      </a:r>
                      <a:r>
                        <a:rPr lang="en-US" altLang="ko-KR" dirty="0">
                          <a:solidFill>
                            <a:schemeClr val="tx1"/>
                          </a:solidFill>
                        </a:rPr>
                        <a:t>AI </a:t>
                      </a:r>
                      <a:r>
                        <a:rPr lang="ko-KR" altLang="en-US" dirty="0">
                          <a:solidFill>
                            <a:schemeClr val="tx1"/>
                          </a:solidFill>
                        </a:rPr>
                        <a:t>기술 활용 현황과 미래</a:t>
                      </a:r>
                      <a:r>
                        <a:rPr lang="en-US" altLang="ko-KR" dirty="0">
                          <a:solidFill>
                            <a:schemeClr val="tx1"/>
                          </a:solidFill>
                        </a:rPr>
                        <a:t>, </a:t>
                      </a:r>
                      <a:r>
                        <a:rPr lang="ko-KR" altLang="en-US" dirty="0" err="1">
                          <a:solidFill>
                            <a:schemeClr val="tx1"/>
                          </a:solidFill>
                        </a:rPr>
                        <a:t>한국정보통신학회논문지</a:t>
                      </a:r>
                      <a:r>
                        <a:rPr lang="ko-KR" altLang="en-US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US" altLang="ko-KR" dirty="0">
                          <a:solidFill>
                            <a:schemeClr val="tx1"/>
                          </a:solidFill>
                        </a:rPr>
                        <a:t>Vol. 25, No. 12: 1797~1808, Dec. 2021</a:t>
                      </a:r>
                      <a:endParaRPr lang="ko-KR" altLang="en-US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 latinLnBrk="1">
                        <a:buFont typeface="Arial" panose="020B0604020202020204" pitchFamily="34" charset="0"/>
                        <a:buChar char="•"/>
                      </a:pPr>
                      <a:r>
                        <a:rPr lang="ko-KR" altLang="en-US" sz="1800" b="0" i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  <a:r>
                        <a:rPr lang="en-US" altLang="ko-KR" sz="1800" b="0" i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Element AI,</a:t>
                      </a:r>
                      <a:r>
                        <a:rPr lang="ko-KR" altLang="en-US" sz="1800" b="0" i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글로벌 </a:t>
                      </a:r>
                      <a:r>
                        <a:rPr lang="en-US" altLang="ko-KR" sz="1800" b="0" i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I </a:t>
                      </a:r>
                      <a:r>
                        <a:rPr lang="ko-KR" altLang="en-US" sz="1800" b="0" i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인재 보고서</a:t>
                      </a:r>
                      <a:r>
                        <a:rPr lang="en-US" altLang="ko-KR" sz="1800" b="0" i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, 2022</a:t>
                      </a:r>
                    </a:p>
                    <a:p>
                      <a:pPr marL="285750" marR="0" lvl="0" indent="-28575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ko-KR" altLang="en-US" sz="1800" b="1" u="sng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  <a:hlinkClick r:id="rId24"/>
                        </a:rPr>
                        <a:t>이철주</a:t>
                      </a:r>
                      <a:r>
                        <a:rPr lang="en-US" altLang="ko-KR" sz="1800" b="1" u="sng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  <a:hlinkClick r:id="rId24"/>
                        </a:rPr>
                        <a:t>, </a:t>
                      </a:r>
                      <a:r>
                        <a:rPr lang="ko-KR" altLang="en-US" sz="1800" b="1" u="sng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  <a:hlinkClick r:id="rId24"/>
                        </a:rPr>
                        <a:t>인공지능시대 교육정책의 방향과 핵심과제 인문사회 </a:t>
                      </a:r>
                      <a:r>
                        <a:rPr lang="en-US" altLang="ko-KR" sz="1800" b="1" u="sng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  <a:hlinkClick r:id="rId24"/>
                        </a:rPr>
                        <a:t>21, 2022 </a:t>
                      </a:r>
                      <a:r>
                        <a:rPr lang="ko-KR" altLang="en-US" sz="1800" b="1" u="sng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  <a:hlinkClick r:id="rId24"/>
                        </a:rPr>
                        <a:t>교육부</a:t>
                      </a:r>
                      <a:r>
                        <a:rPr lang="en-US" altLang="ko-KR" sz="1800" b="1" u="sng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  <a:hlinkClick r:id="rId24"/>
                        </a:rPr>
                        <a:t>,</a:t>
                      </a:r>
                      <a:endParaRPr lang="en-US" altLang="ko-KR" sz="1800" b="1" u="sng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285750" marR="0" lvl="0" indent="-28575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ko-KR" altLang="en-US" sz="1800" b="0" i="0" u="sng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배상훈외</a:t>
                      </a:r>
                      <a:r>
                        <a:rPr lang="ko-KR" altLang="en-US" sz="1800" b="0" i="0" u="sng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altLang="ko-KR" sz="1800" b="0" i="0" u="sng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</a:t>
                      </a:r>
                      <a:r>
                        <a:rPr lang="ko-KR" altLang="en-US" sz="1800" b="0" i="0" u="sng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인 </a:t>
                      </a:r>
                      <a:r>
                        <a:rPr lang="en-US" altLang="ko-KR" sz="1800" b="0" i="0" u="sng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,</a:t>
                      </a:r>
                      <a:r>
                        <a:rPr lang="ko-KR" altLang="en-US" sz="1800" b="0" i="0" u="sng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  <a:hlinkClick r:id="rId25"/>
                        </a:rPr>
                        <a:t> 국가차원 인공지능 </a:t>
                      </a:r>
                      <a:r>
                        <a:rPr lang="ko-KR" altLang="en-US" sz="1800" b="1" i="0" u="sng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  <a:hlinkClick r:id="rId25"/>
                        </a:rPr>
                        <a:t>인재</a:t>
                      </a:r>
                      <a:r>
                        <a:rPr lang="ko-KR" altLang="en-US" sz="1800" b="0" i="0" u="sng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  <a:hlinkClick r:id="rId25"/>
                        </a:rPr>
                        <a:t>양성 생태계와 발전전략</a:t>
                      </a:r>
                      <a:r>
                        <a:rPr lang="en-US" altLang="ko-KR" sz="1800" b="0" i="0" u="sng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, </a:t>
                      </a:r>
                      <a:r>
                        <a:rPr lang="ko-KR" altLang="en-US" sz="1800" b="0" i="0" u="sng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교육부</a:t>
                      </a:r>
                      <a:r>
                        <a:rPr lang="en-US" altLang="ko-KR" sz="1800" b="0" i="0" u="sng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, 2021</a:t>
                      </a:r>
                      <a:endParaRPr lang="ko-KR" altLang="en-US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 latinLnBrk="1">
                        <a:buFont typeface="Arial" panose="020B0604020202020204" pitchFamily="34" charset="0"/>
                        <a:buChar char="•"/>
                      </a:pPr>
                      <a:r>
                        <a:rPr lang="ko-KR" altLang="en-US" dirty="0" err="1">
                          <a:solidFill>
                            <a:schemeClr val="tx1"/>
                          </a:solidFill>
                        </a:rPr>
                        <a:t>이우권</a:t>
                      </a:r>
                      <a:r>
                        <a:rPr lang="en-US" altLang="ko-KR" dirty="0">
                          <a:solidFill>
                            <a:schemeClr val="tx1"/>
                          </a:solidFill>
                        </a:rPr>
                        <a:t>, </a:t>
                      </a:r>
                      <a:r>
                        <a:rPr lang="ko-KR" altLang="en-US" sz="1800" b="0" i="0" u="sng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hlinkClick r:id="rId26"/>
                        </a:rPr>
                        <a:t>인공지능의 윤리적 사용을 위한 정책대안에 관한 연구</a:t>
                      </a:r>
                      <a:r>
                        <a:rPr lang="en-US" altLang="ko-KR" sz="1800" b="0" i="0" u="sng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,</a:t>
                      </a:r>
                      <a:r>
                        <a:rPr lang="ko-KR" altLang="en-US" sz="1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hlinkClick r:id="rId27"/>
                        </a:rPr>
                        <a:t> 한국정책연구원</a:t>
                      </a:r>
                      <a:r>
                        <a:rPr lang="en-US" altLang="ko-KR" sz="1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,</a:t>
                      </a:r>
                      <a:r>
                        <a:rPr lang="ko-KR" altLang="en-US" sz="1800" b="0" i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  <a:r>
                        <a:rPr lang="ko-KR" altLang="en-US" sz="1800" b="0" i="0" u="sng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hlinkClick r:id="rId28"/>
                        </a:rPr>
                        <a:t>한국정책논집</a:t>
                      </a:r>
                      <a:r>
                        <a:rPr lang="ko-KR" altLang="en-US" sz="1800" b="0" i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  <a:r>
                        <a:rPr lang="en-US" altLang="ko-KR" sz="1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hlinkClick r:id="rId29"/>
                        </a:rPr>
                        <a:t>Vol.20 No.1</a:t>
                      </a:r>
                      <a:r>
                        <a:rPr lang="en-US" altLang="ko-KR" sz="1800" b="0" i="0" u="sng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, 2020</a:t>
                      </a:r>
                    </a:p>
                    <a:p>
                      <a:pPr marL="285750" indent="-285750" latinLnBrk="1">
                        <a:buFont typeface="Arial" panose="020B0604020202020204" pitchFamily="34" charset="0"/>
                        <a:buChar char="•"/>
                      </a:pPr>
                      <a:r>
                        <a:rPr lang="ko-KR" altLang="en-US" sz="18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과학기술정보통신부</a:t>
                      </a:r>
                      <a:r>
                        <a:rPr lang="en-US" altLang="ko-KR" sz="18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/</a:t>
                      </a:r>
                      <a:r>
                        <a:rPr lang="ko-KR" altLang="en-US" sz="18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정보통신정책연구원</a:t>
                      </a:r>
                      <a:r>
                        <a:rPr lang="en-US" altLang="ko-KR" sz="18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, AI </a:t>
                      </a:r>
                      <a:r>
                        <a:rPr lang="ko-KR" altLang="en-US" sz="18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윤리기준</a:t>
                      </a:r>
                      <a:r>
                        <a:rPr lang="en-US" altLang="ko-KR" sz="18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, </a:t>
                      </a:r>
                      <a:r>
                        <a:rPr lang="ko-KR" altLang="en-US" sz="18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  <a:r>
                        <a:rPr lang="en-US" altLang="ko-KR" sz="18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020</a:t>
                      </a:r>
                    </a:p>
                    <a:p>
                      <a:pPr marL="285750" indent="-285750" latinLnBrk="1">
                        <a:buFont typeface="Arial" panose="020B0604020202020204" pitchFamily="34" charset="0"/>
                        <a:buChar char="•"/>
                      </a:pPr>
                      <a:r>
                        <a:rPr lang="ko-KR" altLang="en-US" sz="1800" b="0" i="0" kern="1200" baseline="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카카오기업의</a:t>
                      </a:r>
                      <a:r>
                        <a:rPr lang="en-US" altLang="ko-KR" sz="1800" b="0" i="0" kern="1200" baseline="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AI</a:t>
                      </a:r>
                      <a:r>
                        <a:rPr lang="ko-KR" altLang="en-US" sz="18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윤리원칙</a:t>
                      </a:r>
                      <a:r>
                        <a:rPr lang="en-US" altLang="ko-KR" sz="18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, 2021</a:t>
                      </a:r>
                      <a:endParaRPr lang="ko-KR" altLang="en-US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64332036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개체 1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25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5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16" name="개체 1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25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3" name="Rectangle 2"/>
          <p:cNvSpPr>
            <a:spLocks noChangeArrowheads="1"/>
          </p:cNvSpPr>
          <p:nvPr/>
        </p:nvSpPr>
        <p:spPr bwMode="auto">
          <a:xfrm>
            <a:off x="393851" y="27380"/>
            <a:ext cx="6026185" cy="612000"/>
          </a:xfrm>
          <a:prstGeom prst="rect">
            <a:avLst/>
          </a:prstGeom>
          <a:solidFill>
            <a:srgbClr val="0070C0"/>
          </a:solidFill>
          <a:ln w="12700" algn="ctr">
            <a:noFill/>
            <a:miter lim="800000"/>
            <a:headEnd/>
            <a:tailEnd/>
          </a:ln>
        </p:spPr>
        <p:txBody>
          <a:bodyPr wrap="none" lIns="72000" tIns="72000" rIns="72000" bIns="72000" anchor="ctr"/>
          <a:lstStyle/>
          <a:p>
            <a:pPr fontAlgn="auto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rgbClr val="FFFFFF"/>
              </a:buClr>
              <a:defRPr/>
            </a:pPr>
            <a:r>
              <a:rPr lang="en-US" altLang="ko-KR" sz="2800" kern="0" dirty="0">
                <a:solidFill>
                  <a:srgbClr val="FFFFFF"/>
                </a:solidFill>
                <a:latin typeface="Arial"/>
                <a:ea typeface="HY견고딕" pitchFamily="18" charset="-127"/>
              </a:rPr>
              <a:t>3.</a:t>
            </a:r>
            <a:r>
              <a:rPr kumimoji="0" lang="en-US" altLang="ko-KR" sz="2800" kern="0" dirty="0">
                <a:solidFill>
                  <a:srgbClr val="FFFFFF"/>
                </a:solidFill>
                <a:latin typeface="Arial"/>
                <a:ea typeface="HY견고딕" pitchFamily="18" charset="-127"/>
              </a:rPr>
              <a:t>  </a:t>
            </a:r>
            <a:r>
              <a:rPr lang="ko-KR" altLang="en-US" sz="2800" kern="0" dirty="0">
                <a:solidFill>
                  <a:srgbClr val="FFFFFF"/>
                </a:solidFill>
                <a:latin typeface="Arial"/>
                <a:ea typeface="HY견고딕" pitchFamily="18" charset="-127"/>
              </a:rPr>
              <a:t>선</a:t>
            </a:r>
            <a:r>
              <a:rPr kumimoji="0" lang="ko-KR" altLang="en-US" sz="2800" kern="0" dirty="0">
                <a:solidFill>
                  <a:srgbClr val="FFFFFF"/>
                </a:solidFill>
                <a:latin typeface="Arial"/>
                <a:ea typeface="HY견고딕" pitchFamily="18" charset="-127"/>
              </a:rPr>
              <a:t>행연구 </a:t>
            </a:r>
            <a:r>
              <a:rPr kumimoji="0" lang="en-US" altLang="ko-KR" sz="2800" kern="0" dirty="0">
                <a:solidFill>
                  <a:srgbClr val="FFFFFF"/>
                </a:solidFill>
                <a:latin typeface="Arial"/>
                <a:ea typeface="HY견고딕" pitchFamily="18" charset="-127"/>
              </a:rPr>
              <a:t>&amp;</a:t>
            </a:r>
            <a:r>
              <a:rPr kumimoji="0" lang="ko-KR" altLang="en-US" sz="2800" kern="0" dirty="0">
                <a:solidFill>
                  <a:srgbClr val="FFFFFF"/>
                </a:solidFill>
                <a:latin typeface="Arial"/>
                <a:ea typeface="HY견고딕" pitchFamily="18" charset="-127"/>
              </a:rPr>
              <a:t> 본연구의 차별성 </a:t>
            </a:r>
            <a:endParaRPr kumimoji="0" lang="en-US" altLang="ko-KR" sz="2800" kern="0" dirty="0">
              <a:solidFill>
                <a:srgbClr val="FFFFFF"/>
              </a:solidFill>
              <a:latin typeface="Arial"/>
              <a:ea typeface="HY견고딕" pitchFamily="18" charset="-127"/>
            </a:endParaRPr>
          </a:p>
        </p:txBody>
      </p:sp>
      <p:graphicFrame>
        <p:nvGraphicFramePr>
          <p:cNvPr id="3" name="다이어그램 2">
            <a:extLst>
              <a:ext uri="{FF2B5EF4-FFF2-40B4-BE49-F238E27FC236}">
                <a16:creationId xmlns:a16="http://schemas.microsoft.com/office/drawing/2014/main" id="{A9344A4C-48EE-A765-47D7-3D8EDE6A1C2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583001190"/>
              </p:ext>
            </p:extLst>
          </p:nvPr>
        </p:nvGraphicFramePr>
        <p:xfrm>
          <a:off x="3897376" y="1135843"/>
          <a:ext cx="8128000" cy="541866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sp>
        <p:nvSpPr>
          <p:cNvPr id="4" name="TextBox 3">
            <a:extLst>
              <a:ext uri="{FF2B5EF4-FFF2-40B4-BE49-F238E27FC236}">
                <a16:creationId xmlns:a16="http://schemas.microsoft.com/office/drawing/2014/main" id="{F6F8C064-717E-0D44-A53C-8FDF6FDC4D9A}"/>
              </a:ext>
            </a:extLst>
          </p:cNvPr>
          <p:cNvSpPr txBox="1"/>
          <p:nvPr/>
        </p:nvSpPr>
        <p:spPr>
          <a:xfrm>
            <a:off x="1086042" y="1444519"/>
            <a:ext cx="2320901" cy="4801314"/>
          </a:xfrm>
          <a:prstGeom prst="rect">
            <a:avLst/>
          </a:prstGeom>
          <a:solidFill>
            <a:srgbClr val="FFC000"/>
          </a:solidFill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l"/>
            </a:pPr>
            <a:r>
              <a:rPr lang="ko-KR" altLang="en-US" dirty="0"/>
              <a:t>기존</a:t>
            </a:r>
            <a:r>
              <a:rPr lang="en-US" altLang="ko-KR" dirty="0"/>
              <a:t> </a:t>
            </a:r>
            <a:r>
              <a:rPr lang="ko-KR" altLang="en-US" dirty="0"/>
              <a:t>국내외 </a:t>
            </a:r>
            <a:r>
              <a:rPr lang="ko-KR" altLang="en-US" dirty="0" err="1"/>
              <a:t>학회지</a:t>
            </a:r>
            <a:r>
              <a:rPr lang="ko-KR" altLang="en-US" dirty="0"/>
              <a:t> 내 유통산업</a:t>
            </a:r>
            <a:r>
              <a:rPr lang="en-US" altLang="ko-KR" dirty="0"/>
              <a:t>/</a:t>
            </a:r>
            <a:r>
              <a:rPr lang="ko-KR" altLang="en-US" dirty="0"/>
              <a:t>기업내 인공지능의 활용관련 논문은 </a:t>
            </a:r>
            <a:r>
              <a:rPr lang="ko-KR" altLang="en-US" dirty="0" err="1"/>
              <a:t>전무한것으로</a:t>
            </a:r>
            <a:r>
              <a:rPr lang="ko-KR" altLang="en-US" dirty="0"/>
              <a:t> 조사</a:t>
            </a:r>
            <a:endParaRPr lang="en-US" altLang="ko-KR" dirty="0"/>
          </a:p>
          <a:p>
            <a:pPr marL="285750" indent="-285750">
              <a:buFont typeface="Wingdings" panose="05000000000000000000" pitchFamily="2" charset="2"/>
              <a:buChar char="l"/>
            </a:pPr>
            <a:endParaRPr lang="en-US" altLang="ko-KR" dirty="0"/>
          </a:p>
          <a:p>
            <a:pPr marL="285750" indent="-285750">
              <a:buFont typeface="Wingdings" panose="05000000000000000000" pitchFamily="2" charset="2"/>
              <a:buChar char="l"/>
            </a:pPr>
            <a:r>
              <a:rPr lang="ko-KR" altLang="en-US" dirty="0"/>
              <a:t> 산업에 대한 포괄적 정책지원에 대한 연구보고서는 있으나</a:t>
            </a:r>
            <a:endParaRPr lang="en-US" altLang="ko-KR" dirty="0"/>
          </a:p>
          <a:p>
            <a:pPr marL="285750" indent="-285750">
              <a:buFont typeface="Wingdings" panose="05000000000000000000" pitchFamily="2" charset="2"/>
              <a:buChar char="l"/>
            </a:pPr>
            <a:endParaRPr lang="en-US" altLang="ko-KR" dirty="0"/>
          </a:p>
          <a:p>
            <a:pPr marL="285750" indent="-285750">
              <a:buFont typeface="Wingdings" panose="05000000000000000000" pitchFamily="2" charset="2"/>
              <a:buChar char="l"/>
            </a:pPr>
            <a:r>
              <a:rPr lang="ko-KR" altLang="en-US" dirty="0"/>
              <a:t> 유통기업에 대한 정부의 지원 정책도 </a:t>
            </a:r>
            <a:r>
              <a:rPr lang="ko-KR" altLang="en-US" dirty="0" err="1"/>
              <a:t>전무한것으로</a:t>
            </a:r>
            <a:r>
              <a:rPr lang="ko-KR" altLang="en-US" dirty="0"/>
              <a:t> 파악 </a:t>
            </a:r>
            <a:endParaRPr lang="en-US" altLang="ko-KR" dirty="0"/>
          </a:p>
          <a:p>
            <a:endParaRPr lang="en-US" altLang="ko-KR" dirty="0"/>
          </a:p>
        </p:txBody>
      </p:sp>
    </p:spTree>
    <p:extLst>
      <p:ext uri="{BB962C8B-B14F-4D97-AF65-F5344CB8AC3E}">
        <p14:creationId xmlns:p14="http://schemas.microsoft.com/office/powerpoint/2010/main" val="169274008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날짜 개체 틀 2">
            <a:extLst>
              <a:ext uri="{FF2B5EF4-FFF2-40B4-BE49-F238E27FC236}">
                <a16:creationId xmlns:a16="http://schemas.microsoft.com/office/drawing/2014/main" id="{8BEC0EEF-E580-1F75-2490-8A8B2F4D11C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FC9B95B-9606-41FD-9410-F2B308BBF263}" type="datetime1">
              <a:rPr lang="en-US" altLang="ko-KR" smtClean="0"/>
              <a:t>6/22/2023</a:t>
            </a:fld>
            <a:endParaRPr lang="en-US" dirty="0"/>
          </a:p>
        </p:txBody>
      </p:sp>
      <p:sp>
        <p:nvSpPr>
          <p:cNvPr id="6" name="TextBox 5"/>
          <p:cNvSpPr txBox="1"/>
          <p:nvPr/>
        </p:nvSpPr>
        <p:spPr>
          <a:xfrm>
            <a:off x="233118" y="1281920"/>
            <a:ext cx="4373880" cy="461665"/>
          </a:xfrm>
          <a:prstGeom prst="rect">
            <a:avLst/>
          </a:prstGeom>
          <a:solidFill>
            <a:srgbClr val="002060"/>
          </a:solidFill>
        </p:spPr>
        <p:txBody>
          <a:bodyPr wrap="square" rtlCol="0">
            <a:spAutoFit/>
          </a:bodyPr>
          <a:lstStyle/>
          <a:p>
            <a:r>
              <a:rPr lang="ko-KR" altLang="en-US" sz="2400" dirty="0" err="1">
                <a:solidFill>
                  <a:schemeClr val="bg1"/>
                </a:solidFill>
              </a:rPr>
              <a:t>빅데이터</a:t>
            </a:r>
            <a:r>
              <a:rPr lang="ko-KR" altLang="en-US" sz="2400" dirty="0">
                <a:solidFill>
                  <a:schemeClr val="bg1"/>
                </a:solidFill>
              </a:rPr>
              <a:t> </a:t>
            </a:r>
            <a:r>
              <a:rPr lang="en-US" altLang="ko-KR" sz="2400" dirty="0">
                <a:solidFill>
                  <a:schemeClr val="bg1"/>
                </a:solidFill>
              </a:rPr>
              <a:t>&amp; </a:t>
            </a:r>
            <a:r>
              <a:rPr lang="ko-KR" altLang="en-US" sz="2400" dirty="0">
                <a:solidFill>
                  <a:schemeClr val="bg1"/>
                </a:solidFill>
              </a:rPr>
              <a:t> </a:t>
            </a:r>
            <a:r>
              <a:rPr lang="en-US" altLang="ko-KR" sz="2400" dirty="0">
                <a:solidFill>
                  <a:schemeClr val="bg1"/>
                </a:solidFill>
              </a:rPr>
              <a:t>AI  </a:t>
            </a:r>
            <a:r>
              <a:rPr lang="ko-KR" altLang="en-US" sz="2400" dirty="0">
                <a:solidFill>
                  <a:schemeClr val="bg1"/>
                </a:solidFill>
              </a:rPr>
              <a:t>생태현황</a:t>
            </a:r>
            <a:r>
              <a:rPr lang="en-US" altLang="ko-KR" sz="2400" dirty="0">
                <a:solidFill>
                  <a:schemeClr val="bg1"/>
                </a:solidFill>
              </a:rPr>
              <a:t> </a:t>
            </a:r>
            <a:r>
              <a:rPr lang="ko-KR" altLang="en-US" sz="2400" dirty="0">
                <a:solidFill>
                  <a:schemeClr val="bg1"/>
                </a:solidFill>
              </a:rPr>
              <a:t> </a:t>
            </a:r>
            <a:endParaRPr lang="ko-KR" altLang="en-US" dirty="0">
              <a:solidFill>
                <a:schemeClr val="bg1"/>
              </a:solidFill>
            </a:endParaRPr>
          </a:p>
        </p:txBody>
      </p:sp>
      <p:pic>
        <p:nvPicPr>
          <p:cNvPr id="8" name="그림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39798" y="2090126"/>
            <a:ext cx="7709342" cy="4344643"/>
          </a:xfrm>
          <a:prstGeom prst="rect">
            <a:avLst/>
          </a:prstGeom>
        </p:spPr>
      </p:pic>
      <p:sp>
        <p:nvSpPr>
          <p:cNvPr id="9" name="직사각형 8"/>
          <p:cNvSpPr/>
          <p:nvPr/>
        </p:nvSpPr>
        <p:spPr>
          <a:xfrm>
            <a:off x="7800782" y="1264292"/>
            <a:ext cx="4269298" cy="5478423"/>
          </a:xfrm>
          <a:prstGeom prst="rect">
            <a:avLst/>
          </a:prstGeom>
          <a:solidFill>
            <a:srgbClr val="002060"/>
          </a:solidFill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l"/>
            </a:pPr>
            <a:r>
              <a:rPr lang="ko-KR" altLang="en-US" sz="2000" b="1" dirty="0"/>
              <a:t> 인공지능 기술 표준화 </a:t>
            </a:r>
            <a:r>
              <a:rPr lang="ko-KR" altLang="en-US" sz="2000" b="1" dirty="0" err="1"/>
              <a:t>로드맵</a:t>
            </a:r>
            <a:r>
              <a:rPr lang="en-US" altLang="ko-KR" sz="2000" b="1" dirty="0"/>
              <a:t>(2022-2027)</a:t>
            </a:r>
          </a:p>
          <a:p>
            <a:pPr marL="285750" indent="-285750">
              <a:buFont typeface="Wingdings" panose="05000000000000000000" pitchFamily="2" charset="2"/>
              <a:buChar char="l"/>
            </a:pPr>
            <a:r>
              <a:rPr lang="en-US" altLang="ko-KR" sz="2000" b="1" dirty="0"/>
              <a:t>2023</a:t>
            </a:r>
            <a:r>
              <a:rPr lang="ko-KR" altLang="en-US" sz="2000" b="1" dirty="0"/>
              <a:t>년 </a:t>
            </a:r>
            <a:r>
              <a:rPr lang="ko-KR" altLang="en-US" sz="2000" b="1" dirty="0" err="1"/>
              <a:t>빅데이터</a:t>
            </a:r>
            <a:r>
              <a:rPr lang="en-US" altLang="ko-KR" sz="2000" b="1" dirty="0"/>
              <a:t>&amp; </a:t>
            </a:r>
            <a:r>
              <a:rPr lang="ko-KR" altLang="en-US" sz="2000" b="1" dirty="0"/>
              <a:t>인공지능</a:t>
            </a:r>
            <a:r>
              <a:rPr lang="en-US" altLang="ko-KR" sz="2000" b="1" dirty="0"/>
              <a:t>(AI) </a:t>
            </a:r>
            <a:r>
              <a:rPr lang="ko-KR" altLang="en-US" sz="2000" b="1" dirty="0"/>
              <a:t>기술개발 연구테마</a:t>
            </a:r>
            <a:endParaRPr lang="en-US" altLang="ko-KR" sz="2000" b="1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ko-KR" altLang="en-US" dirty="0"/>
              <a:t>데이터센터 </a:t>
            </a:r>
            <a:r>
              <a:rPr lang="en-US" altLang="ko-KR" dirty="0"/>
              <a:t>ICT </a:t>
            </a:r>
            <a:r>
              <a:rPr lang="ko-KR" altLang="en-US" dirty="0"/>
              <a:t>인프라 통합관리 플랫폼 개발</a:t>
            </a:r>
            <a:endParaRPr lang="en-US" altLang="ko-KR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ko-KR" altLang="en-US" dirty="0"/>
              <a:t>분산된 데이터에 대한 논리적 데이터 통합과 복합분석을 지원하는 데이터 패브릭 기술 개발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ko-KR" altLang="en-US" u="sng" dirty="0"/>
              <a:t>목적 맞춤형 합성데이터 생성 및 평가기술 개발</a:t>
            </a:r>
            <a:endParaRPr lang="en-US" altLang="ko-KR" u="sng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altLang="ko-KR" dirty="0"/>
          </a:p>
          <a:p>
            <a:pPr marL="285750" indent="-285750">
              <a:buFont typeface="Wingdings" panose="05000000000000000000" pitchFamily="2" charset="2"/>
              <a:buChar char="v"/>
            </a:pPr>
            <a:r>
              <a:rPr lang="ko-KR" altLang="en-US" dirty="0"/>
              <a:t>대화형 </a:t>
            </a:r>
            <a:r>
              <a:rPr lang="en-US" altLang="ko-KR" dirty="0"/>
              <a:t>AI(</a:t>
            </a:r>
            <a:r>
              <a:rPr lang="ko-KR" altLang="en-US" dirty="0" err="1"/>
              <a:t>챗봇</a:t>
            </a:r>
            <a:r>
              <a:rPr lang="en-US" altLang="ko-KR" dirty="0"/>
              <a:t>), </a:t>
            </a:r>
            <a:r>
              <a:rPr lang="ko-KR" altLang="en-US" dirty="0"/>
              <a:t>검색 기반 서비스</a:t>
            </a:r>
            <a:r>
              <a:rPr lang="en-US" altLang="ko-KR" dirty="0"/>
              <a:t>: </a:t>
            </a:r>
            <a:r>
              <a:rPr lang="ko-KR" altLang="en-US" dirty="0" err="1"/>
              <a:t>튜닙</a:t>
            </a:r>
            <a:r>
              <a:rPr lang="en-US" altLang="ko-KR" dirty="0"/>
              <a:t>, ‘</a:t>
            </a:r>
            <a:r>
              <a:rPr lang="ko-KR" altLang="en-US" dirty="0"/>
              <a:t>블루니’</a:t>
            </a:r>
            <a:r>
              <a:rPr lang="en-US" altLang="ko-KR" dirty="0"/>
              <a:t>, </a:t>
            </a:r>
            <a:r>
              <a:rPr lang="ko-KR" altLang="en-US" dirty="0" err="1"/>
              <a:t>반려견</a:t>
            </a:r>
            <a:r>
              <a:rPr lang="ko-KR" altLang="en-US" dirty="0"/>
              <a:t> </a:t>
            </a:r>
            <a:r>
              <a:rPr lang="ko-KR" altLang="en-US" dirty="0" err="1"/>
              <a:t>챗봇</a:t>
            </a:r>
            <a:r>
              <a:rPr lang="ko-KR" altLang="en-US" dirty="0"/>
              <a:t> ‘</a:t>
            </a:r>
            <a:r>
              <a:rPr lang="ko-KR" altLang="en-US" dirty="0" err="1"/>
              <a:t>코코</a:t>
            </a:r>
            <a:r>
              <a:rPr lang="en-US" altLang="ko-KR" dirty="0"/>
              <a:t>, </a:t>
            </a:r>
            <a:r>
              <a:rPr lang="ko-KR" altLang="en-US" dirty="0" err="1"/>
              <a:t>마스</a:t>
            </a:r>
            <a:r>
              <a:rPr lang="ko-KR" altLang="en-US" dirty="0"/>
              <a:t>’</a:t>
            </a:r>
            <a:endParaRPr lang="en-US" altLang="ko-KR" dirty="0"/>
          </a:p>
          <a:p>
            <a:pPr marL="285750" indent="-285750">
              <a:buFont typeface="Wingdings" panose="05000000000000000000" pitchFamily="2" charset="2"/>
              <a:buChar char="v"/>
            </a:pPr>
            <a:r>
              <a:rPr lang="ko-KR" altLang="en-US" dirty="0" err="1"/>
              <a:t>뤼튼테크놀로지스</a:t>
            </a:r>
            <a:r>
              <a:rPr lang="en-US" altLang="ko-KR" dirty="0"/>
              <a:t>,  </a:t>
            </a:r>
            <a:r>
              <a:rPr lang="ko-KR" altLang="en-US" dirty="0"/>
              <a:t>한국형 생성 </a:t>
            </a:r>
            <a:r>
              <a:rPr lang="en-US" altLang="ko-KR" dirty="0"/>
              <a:t>AI </a:t>
            </a:r>
            <a:r>
              <a:rPr lang="ko-KR" altLang="en-US" dirty="0" err="1"/>
              <a:t>컨텐스</a:t>
            </a:r>
            <a:r>
              <a:rPr lang="en-US" altLang="ko-KR" dirty="0"/>
              <a:t> </a:t>
            </a:r>
            <a:r>
              <a:rPr lang="ko-KR" altLang="en-US" dirty="0"/>
              <a:t>서비스        </a:t>
            </a:r>
            <a:endParaRPr lang="en-US" altLang="ko-KR" dirty="0"/>
          </a:p>
          <a:p>
            <a:pPr marL="285750" indent="-285750">
              <a:buFont typeface="Wingdings" panose="05000000000000000000" pitchFamily="2" charset="2"/>
              <a:buChar char="v"/>
            </a:pPr>
            <a:r>
              <a:rPr lang="ko-KR" altLang="en-US" dirty="0" err="1"/>
              <a:t>포자랩스</a:t>
            </a:r>
            <a:r>
              <a:rPr lang="en-US" altLang="ko-KR" dirty="0"/>
              <a:t>(</a:t>
            </a:r>
            <a:r>
              <a:rPr lang="en-US" altLang="ko-KR" dirty="0" err="1"/>
              <a:t>POZAlabs</a:t>
            </a:r>
            <a:r>
              <a:rPr lang="en-US" altLang="ko-KR" dirty="0"/>
              <a:t>),  AI</a:t>
            </a:r>
            <a:r>
              <a:rPr lang="ko-KR" altLang="en-US" dirty="0"/>
              <a:t>로 </a:t>
            </a:r>
            <a:r>
              <a:rPr lang="ko-KR" altLang="en-US" dirty="0" err="1"/>
              <a:t>음원</a:t>
            </a:r>
            <a:r>
              <a:rPr lang="ko-KR" altLang="en-US" dirty="0"/>
              <a:t> 제작 등 다양</a:t>
            </a:r>
            <a:r>
              <a:rPr lang="en-US" altLang="ko-KR" dirty="0">
                <a:solidFill>
                  <a:srgbClr val="353535"/>
                </a:solidFill>
                <a:latin typeface="Verdana" panose="020B0604030504040204" pitchFamily="34" charset="0"/>
              </a:rPr>
              <a:t> </a:t>
            </a:r>
          </a:p>
          <a:p>
            <a:endParaRPr lang="ko-KR" altLang="en-US" dirty="0"/>
          </a:p>
        </p:txBody>
      </p:sp>
      <mc:AlternateContent xmlns:mc="http://schemas.openxmlformats.org/markup-compatibility/2006" xmlns:p14="http://schemas.microsoft.com/office/powerpoint/2010/main">
        <mc:Choice Requires="p14">
          <p:contentPart p14:bwMode="auto" r:id="rId4">
            <p14:nvContentPartPr>
              <p14:cNvPr id="4" name="잉크 3">
                <a:extLst>
                  <a:ext uri="{FF2B5EF4-FFF2-40B4-BE49-F238E27FC236}">
                    <a16:creationId xmlns:a16="http://schemas.microsoft.com/office/drawing/2014/main" id="{B3C6E06C-CDC8-CB83-2D17-D72438ABDEC8}"/>
                  </a:ext>
                </a:extLst>
              </p14:cNvPr>
              <p14:cNvContentPartPr/>
              <p14:nvPr/>
            </p14:nvContentPartPr>
            <p14:xfrm>
              <a:off x="5594782" y="2648553"/>
              <a:ext cx="1161720" cy="1251720"/>
            </p14:xfrm>
          </p:contentPart>
        </mc:Choice>
        <mc:Fallback xmlns="">
          <p:pic>
            <p:nvPicPr>
              <p:cNvPr id="4" name="잉크 3">
                <a:extLst>
                  <a:ext uri="{FF2B5EF4-FFF2-40B4-BE49-F238E27FC236}">
                    <a16:creationId xmlns:a16="http://schemas.microsoft.com/office/drawing/2014/main" id="{B3C6E06C-CDC8-CB83-2D17-D72438ABDEC8}"/>
                  </a:ext>
                </a:extLst>
              </p:cNvPr>
              <p:cNvPicPr/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5541142" y="2540553"/>
                <a:ext cx="1269360" cy="1467360"/>
              </a:xfrm>
              <a:prstGeom prst="rect">
                <a:avLst/>
              </a:prstGeom>
            </p:spPr>
          </p:pic>
        </mc:Fallback>
      </mc:AlternateContent>
      <p:sp>
        <p:nvSpPr>
          <p:cNvPr id="2" name="제목 1">
            <a:extLst>
              <a:ext uri="{FF2B5EF4-FFF2-40B4-BE49-F238E27FC236}">
                <a16:creationId xmlns:a16="http://schemas.microsoft.com/office/drawing/2014/main" id="{509F48BA-DC9B-486D-759E-7909BED70BC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9798" y="100362"/>
            <a:ext cx="11558160" cy="1047718"/>
          </a:xfrm>
          <a:solidFill>
            <a:srgbClr val="0070C0"/>
          </a:solidFill>
        </p:spPr>
        <p:txBody>
          <a:bodyPr>
            <a:normAutofit fontScale="90000"/>
          </a:bodyPr>
          <a:lstStyle/>
          <a:p>
            <a:r>
              <a:rPr lang="en-US" altLang="ko-KR" sz="3600" b="1" kern="0" dirty="0">
                <a:latin typeface="+mj-ea"/>
              </a:rPr>
              <a:t> </a:t>
            </a:r>
            <a:br>
              <a:rPr lang="en-US" altLang="ko-KR" sz="3600" b="1" kern="0" dirty="0">
                <a:latin typeface="+mj-ea"/>
              </a:rPr>
            </a:br>
            <a:r>
              <a:rPr lang="en-US" altLang="ko-KR" sz="3600" b="1" kern="0" dirty="0">
                <a:latin typeface="+mj-ea"/>
              </a:rPr>
              <a:t> </a:t>
            </a:r>
            <a:r>
              <a:rPr kumimoji="0" lang="en-US" altLang="ko-KR" sz="3600" b="1" kern="0" dirty="0">
                <a:solidFill>
                  <a:schemeClr val="bg1"/>
                </a:solidFill>
                <a:latin typeface="+mj-ea"/>
                <a:ea typeface="+mj-ea"/>
              </a:rPr>
              <a:t>II. </a:t>
            </a:r>
            <a:r>
              <a:rPr lang="ko-KR" altLang="en-US" sz="3600" b="1" dirty="0">
                <a:solidFill>
                  <a:schemeClr val="bg1"/>
                </a:solidFill>
                <a:latin typeface="+mj-ea"/>
                <a:ea typeface="+mj-ea"/>
              </a:rPr>
              <a:t>빅데이터</a:t>
            </a:r>
            <a:r>
              <a:rPr lang="en-US" altLang="ko-KR" sz="3600" b="1" dirty="0">
                <a:solidFill>
                  <a:schemeClr val="bg1"/>
                </a:solidFill>
                <a:latin typeface="+mj-ea"/>
                <a:ea typeface="+mj-ea"/>
              </a:rPr>
              <a:t> &amp; AI</a:t>
            </a:r>
            <a:r>
              <a:rPr lang="ko-KR" altLang="en-US" sz="3600" b="1" dirty="0">
                <a:solidFill>
                  <a:schemeClr val="bg1"/>
                </a:solidFill>
                <a:latin typeface="+mj-ea"/>
                <a:ea typeface="+mj-ea"/>
              </a:rPr>
              <a:t>의 의미와 산업사회의 변화</a:t>
            </a:r>
            <a:r>
              <a:rPr lang="en-US" altLang="ko-KR" sz="3100" b="1" dirty="0">
                <a:solidFill>
                  <a:schemeClr val="bg1"/>
                </a:solidFill>
                <a:latin typeface="+mj-ea"/>
              </a:rPr>
              <a:t/>
            </a:r>
            <a:br>
              <a:rPr lang="en-US" altLang="ko-KR" sz="3100" b="1" dirty="0">
                <a:solidFill>
                  <a:schemeClr val="bg1"/>
                </a:solidFill>
                <a:latin typeface="+mj-ea"/>
              </a:rPr>
            </a:br>
            <a:endParaRPr lang="ko-KR" altLang="en-US" sz="3100" b="1" dirty="0">
              <a:solidFill>
                <a:schemeClr val="bg1"/>
              </a:solidFill>
              <a:latin typeface="HY강B" panose="02030600000101010101" pitchFamily="18" charset="-127"/>
              <a:ea typeface="HY강B" panose="02030600000101010101" pitchFamily="18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22196534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날짜 개체 틀 2">
            <a:extLst>
              <a:ext uri="{FF2B5EF4-FFF2-40B4-BE49-F238E27FC236}">
                <a16:creationId xmlns:a16="http://schemas.microsoft.com/office/drawing/2014/main" id="{8BEC0EEF-E580-1F75-2490-8A8B2F4D11C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85800" y="6337931"/>
            <a:ext cx="4114800" cy="228600"/>
          </a:xfrm>
        </p:spPr>
        <p:txBody>
          <a:bodyPr/>
          <a:lstStyle/>
          <a:p>
            <a:fld id="{CFC9B95B-9606-41FD-9410-F2B308BBF263}" type="datetime1">
              <a:rPr lang="en-US" altLang="ko-KR" smtClean="0"/>
              <a:t>6/22/2023</a:t>
            </a:fld>
            <a:endParaRPr lang="en-US" dirty="0"/>
          </a:p>
        </p:txBody>
      </p:sp>
      <p:sp>
        <p:nvSpPr>
          <p:cNvPr id="6" name="TextBox 5"/>
          <p:cNvSpPr txBox="1"/>
          <p:nvPr/>
        </p:nvSpPr>
        <p:spPr>
          <a:xfrm>
            <a:off x="282872" y="1846512"/>
            <a:ext cx="4517728" cy="461665"/>
          </a:xfrm>
          <a:prstGeom prst="rect">
            <a:avLst/>
          </a:prstGeom>
          <a:solidFill>
            <a:srgbClr val="002060"/>
          </a:solidFill>
        </p:spPr>
        <p:txBody>
          <a:bodyPr wrap="square" rtlCol="0">
            <a:spAutoFit/>
          </a:bodyPr>
          <a:lstStyle/>
          <a:p>
            <a:r>
              <a:rPr lang="ko-KR" altLang="en-US" sz="2400" dirty="0">
                <a:solidFill>
                  <a:schemeClr val="bg1"/>
                </a:solidFill>
              </a:rPr>
              <a:t> </a:t>
            </a:r>
            <a:r>
              <a:rPr lang="en-US" altLang="ko-KR" sz="2400" dirty="0">
                <a:solidFill>
                  <a:schemeClr val="bg1"/>
                </a:solidFill>
              </a:rPr>
              <a:t>AI</a:t>
            </a:r>
            <a:r>
              <a:rPr lang="ko-KR" altLang="en-US" sz="2400" dirty="0">
                <a:solidFill>
                  <a:schemeClr val="bg1"/>
                </a:solidFill>
              </a:rPr>
              <a:t> 원천 </a:t>
            </a:r>
            <a:r>
              <a:rPr lang="ko-KR" altLang="en-US" sz="2400" dirty="0" err="1">
                <a:solidFill>
                  <a:schemeClr val="bg1"/>
                </a:solidFill>
              </a:rPr>
              <a:t>빅데이터시장</a:t>
            </a:r>
            <a:r>
              <a:rPr lang="ko-KR" altLang="en-US" sz="2400" dirty="0">
                <a:solidFill>
                  <a:schemeClr val="bg1"/>
                </a:solidFill>
              </a:rPr>
              <a:t> 규모  </a:t>
            </a:r>
            <a:endParaRPr lang="ko-KR" altLang="en-US" dirty="0">
              <a:solidFill>
                <a:schemeClr val="bg1"/>
              </a:solidFill>
            </a:endParaRPr>
          </a:p>
        </p:txBody>
      </p:sp>
      <p:pic>
        <p:nvPicPr>
          <p:cNvPr id="11" name="그림 10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911670" y="2308177"/>
            <a:ext cx="5448443" cy="3314787"/>
          </a:xfrm>
          <a:prstGeom prst="rect">
            <a:avLst/>
          </a:prstGeom>
        </p:spPr>
      </p:pic>
      <p:sp>
        <p:nvSpPr>
          <p:cNvPr id="15" name="TextBox 14"/>
          <p:cNvSpPr txBox="1"/>
          <p:nvPr/>
        </p:nvSpPr>
        <p:spPr>
          <a:xfrm>
            <a:off x="7238599" y="1533538"/>
            <a:ext cx="4659359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dirty="0"/>
              <a:t>IDC </a:t>
            </a:r>
            <a:r>
              <a:rPr lang="en-US" altLang="ko-KR" dirty="0" err="1"/>
              <a:t>korea</a:t>
            </a:r>
            <a:r>
              <a:rPr lang="en-US" altLang="ko-KR" dirty="0"/>
              <a:t>: </a:t>
            </a:r>
            <a:r>
              <a:rPr lang="ko-KR" altLang="en-US" dirty="0"/>
              <a:t>한국  </a:t>
            </a:r>
            <a:r>
              <a:rPr lang="ko-KR" altLang="en-US" dirty="0" err="1"/>
              <a:t>빅데이터</a:t>
            </a:r>
            <a:r>
              <a:rPr lang="ko-KR" altLang="en-US" dirty="0"/>
              <a:t> 시장 규모 </a:t>
            </a:r>
            <a:r>
              <a:rPr lang="en-US" altLang="ko-KR" dirty="0"/>
              <a:t>2023</a:t>
            </a:r>
            <a:r>
              <a:rPr lang="ko-KR" altLang="en-US" dirty="0"/>
              <a:t>년 </a:t>
            </a:r>
            <a:r>
              <a:rPr lang="en-US" altLang="ko-KR" dirty="0"/>
              <a:t> 2</a:t>
            </a:r>
            <a:r>
              <a:rPr lang="ko-KR" altLang="en-US" dirty="0"/>
              <a:t>조</a:t>
            </a:r>
            <a:r>
              <a:rPr lang="en-US" altLang="ko-KR" dirty="0"/>
              <a:t>6</a:t>
            </a:r>
            <a:r>
              <a:rPr lang="ko-KR" altLang="en-US" dirty="0"/>
              <a:t>천억 매년</a:t>
            </a:r>
            <a:r>
              <a:rPr lang="en-US" altLang="ko-KR" dirty="0"/>
              <a:t> 9% </a:t>
            </a:r>
            <a:r>
              <a:rPr lang="ko-KR" altLang="en-US" dirty="0"/>
              <a:t>성장 추세 </a:t>
            </a:r>
            <a:r>
              <a:rPr lang="en-US" altLang="ko-KR" dirty="0"/>
              <a:t>(26</a:t>
            </a:r>
            <a:r>
              <a:rPr lang="ko-KR" altLang="en-US" dirty="0"/>
              <a:t>년 </a:t>
            </a:r>
            <a:r>
              <a:rPr lang="en-US" altLang="ko-KR" dirty="0"/>
              <a:t>3</a:t>
            </a:r>
            <a:r>
              <a:rPr lang="ko-KR" altLang="en-US" dirty="0"/>
              <a:t>조 </a:t>
            </a:r>
            <a:r>
              <a:rPr lang="en-US" altLang="ko-KR" dirty="0"/>
              <a:t>2</a:t>
            </a:r>
            <a:r>
              <a:rPr lang="ko-KR" altLang="en-US" dirty="0"/>
              <a:t>천억</a:t>
            </a:r>
            <a:r>
              <a:rPr lang="en-US" altLang="ko-KR" dirty="0"/>
              <a:t>)</a:t>
            </a:r>
          </a:p>
          <a:p>
            <a:endParaRPr lang="ko-KR" altLang="en-US" dirty="0"/>
          </a:p>
        </p:txBody>
      </p:sp>
      <p:graphicFrame>
        <p:nvGraphicFramePr>
          <p:cNvPr id="16" name="표 15"/>
          <p:cNvGraphicFramePr>
            <a:graphicFrameLocks noGrp="1"/>
          </p:cNvGraphicFramePr>
          <p:nvPr/>
        </p:nvGraphicFramePr>
        <p:xfrm>
          <a:off x="210002" y="2593971"/>
          <a:ext cx="6465120" cy="27432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1628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61628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866304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366256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579120"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dirty="0"/>
                        <a:t>시정조사기관 </a:t>
                      </a:r>
                    </a:p>
                  </a:txBody>
                  <a:tcPr>
                    <a:solidFill>
                      <a:srgbClr val="0070C0"/>
                    </a:solidFill>
                  </a:tcPr>
                </a:tc>
                <a:tc gridSpan="2">
                  <a:txBody>
                    <a:bodyPr/>
                    <a:lstStyle/>
                    <a:p>
                      <a:pPr latinLnBrk="1"/>
                      <a:r>
                        <a:rPr lang="ko-KR" altLang="en-US" dirty="0"/>
                        <a:t>세계 </a:t>
                      </a:r>
                      <a:r>
                        <a:rPr lang="ko-KR" altLang="en-US" dirty="0" err="1"/>
                        <a:t>빅데이터</a:t>
                      </a:r>
                      <a:endParaRPr lang="en-US" altLang="ko-KR" dirty="0"/>
                    </a:p>
                    <a:p>
                      <a:pPr latinLnBrk="1"/>
                      <a:r>
                        <a:rPr lang="ko-KR" altLang="en-US" dirty="0"/>
                        <a:t>시장  규모 </a:t>
                      </a:r>
                    </a:p>
                  </a:txBody>
                  <a:tcPr>
                    <a:solidFill>
                      <a:srgbClr val="0070C0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dirty="0"/>
                        <a:t>연평균 성장률 예측</a:t>
                      </a:r>
                      <a:r>
                        <a:rPr lang="en-US" altLang="ko-KR" dirty="0"/>
                        <a:t>(CAGR)</a:t>
                      </a:r>
                      <a:endParaRPr lang="ko-KR" altLang="en-US" dirty="0"/>
                    </a:p>
                  </a:txBody>
                  <a:tcPr>
                    <a:solidFill>
                      <a:srgbClr val="0070C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dirty="0"/>
                        <a:t>Markets and Markets</a:t>
                      </a:r>
                      <a:endParaRPr lang="ko-KR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dirty="0"/>
                        <a:t>2020</a:t>
                      </a:r>
                      <a:r>
                        <a:rPr lang="ko-KR" altLang="en-US" dirty="0"/>
                        <a:t>년 </a:t>
                      </a:r>
                      <a:r>
                        <a:rPr lang="en-US" altLang="ko-KR" dirty="0"/>
                        <a:t>1389</a:t>
                      </a:r>
                      <a:r>
                        <a:rPr lang="ko-KR" altLang="en-US" dirty="0"/>
                        <a:t>억 달러</a:t>
                      </a:r>
                      <a:r>
                        <a:rPr lang="en-US" altLang="ko-KR" dirty="0"/>
                        <a:t>(</a:t>
                      </a:r>
                      <a:r>
                        <a:rPr lang="ko-KR" altLang="en-US" dirty="0"/>
                        <a:t>약 </a:t>
                      </a:r>
                      <a:r>
                        <a:rPr lang="en-US" altLang="ko-KR" dirty="0"/>
                        <a:t>153</a:t>
                      </a:r>
                      <a:r>
                        <a:rPr lang="ko-KR" altLang="en-US" dirty="0"/>
                        <a:t>조 원</a:t>
                      </a:r>
                      <a:r>
                        <a:rPr lang="en-US" altLang="ko-KR" dirty="0"/>
                        <a:t>)</a:t>
                      </a:r>
                      <a:endParaRPr lang="ko-KR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dirty="0"/>
                        <a:t>2025</a:t>
                      </a:r>
                      <a:r>
                        <a:rPr lang="ko-KR" altLang="en-US" dirty="0"/>
                        <a:t>년 </a:t>
                      </a:r>
                      <a:r>
                        <a:rPr lang="en-US" altLang="ko-KR" dirty="0"/>
                        <a:t>2294</a:t>
                      </a:r>
                      <a:r>
                        <a:rPr lang="ko-KR" altLang="en-US" dirty="0"/>
                        <a:t>억 달러</a:t>
                      </a:r>
                      <a:r>
                        <a:rPr lang="en-US" altLang="ko-KR" dirty="0"/>
                        <a:t>(</a:t>
                      </a:r>
                      <a:r>
                        <a:rPr lang="ko-KR" altLang="en-US" dirty="0"/>
                        <a:t>약 </a:t>
                      </a:r>
                      <a:r>
                        <a:rPr lang="en-US" altLang="ko-KR" dirty="0"/>
                        <a:t>253</a:t>
                      </a:r>
                      <a:r>
                        <a:rPr lang="ko-KR" altLang="en-US" dirty="0"/>
                        <a:t>조 원</a:t>
                      </a:r>
                      <a:r>
                        <a:rPr lang="en-US" altLang="ko-KR" dirty="0"/>
                        <a:t>)</a:t>
                      </a:r>
                      <a:endParaRPr lang="ko-KR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dirty="0"/>
                        <a:t> </a:t>
                      </a:r>
                      <a:r>
                        <a:rPr lang="en-US" altLang="ko-KR" dirty="0"/>
                        <a:t>10.6%</a:t>
                      </a:r>
                    </a:p>
                    <a:p>
                      <a:pPr latinLnBrk="1"/>
                      <a:endParaRPr lang="ko-KR" alt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dirty="0"/>
                        <a:t>Fortune Business Insight</a:t>
                      </a:r>
                      <a:endParaRPr lang="ko-KR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dirty="0"/>
                        <a:t>2019</a:t>
                      </a:r>
                      <a:r>
                        <a:rPr lang="ko-KR" altLang="en-US" dirty="0"/>
                        <a:t>년 </a:t>
                      </a:r>
                      <a:r>
                        <a:rPr lang="en-US" altLang="ko-KR" dirty="0"/>
                        <a:t>413</a:t>
                      </a:r>
                      <a:r>
                        <a:rPr lang="ko-KR" altLang="en-US" dirty="0"/>
                        <a:t>억 </a:t>
                      </a:r>
                      <a:r>
                        <a:rPr lang="en-US" altLang="ko-KR" dirty="0"/>
                        <a:t>3000</a:t>
                      </a:r>
                      <a:r>
                        <a:rPr lang="ko-KR" altLang="en-US" dirty="0"/>
                        <a:t>만 달러</a:t>
                      </a:r>
                      <a:r>
                        <a:rPr lang="en-US" altLang="ko-KR" dirty="0"/>
                        <a:t>(</a:t>
                      </a:r>
                      <a:r>
                        <a:rPr lang="ko-KR" altLang="en-US" dirty="0"/>
                        <a:t>약 </a:t>
                      </a:r>
                      <a:r>
                        <a:rPr lang="en-US" altLang="ko-KR" dirty="0"/>
                        <a:t>45</a:t>
                      </a:r>
                      <a:r>
                        <a:rPr lang="ko-KR" altLang="en-US" dirty="0"/>
                        <a:t>조 원</a:t>
                      </a:r>
                      <a:r>
                        <a:rPr lang="en-US" altLang="ko-KR" dirty="0"/>
                        <a:t>)</a:t>
                      </a:r>
                      <a:endParaRPr lang="ko-KR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dirty="0"/>
                        <a:t>2027</a:t>
                      </a:r>
                      <a:r>
                        <a:rPr lang="ko-KR" altLang="en-US" dirty="0"/>
                        <a:t>년 </a:t>
                      </a:r>
                      <a:r>
                        <a:rPr lang="en-US" altLang="ko-KR" dirty="0"/>
                        <a:t>1160</a:t>
                      </a:r>
                      <a:r>
                        <a:rPr lang="ko-KR" altLang="en-US" dirty="0"/>
                        <a:t>억 </a:t>
                      </a:r>
                      <a:r>
                        <a:rPr lang="en-US" altLang="ko-KR" dirty="0"/>
                        <a:t>7000</a:t>
                      </a:r>
                      <a:r>
                        <a:rPr lang="ko-KR" altLang="en-US" dirty="0"/>
                        <a:t>만 달러</a:t>
                      </a:r>
                      <a:r>
                        <a:rPr lang="en-US" altLang="ko-KR" dirty="0"/>
                        <a:t>(</a:t>
                      </a:r>
                      <a:r>
                        <a:rPr lang="ko-KR" altLang="en-US" dirty="0"/>
                        <a:t>약 </a:t>
                      </a:r>
                      <a:r>
                        <a:rPr lang="en-US" altLang="ko-KR" dirty="0"/>
                        <a:t>128</a:t>
                      </a:r>
                      <a:r>
                        <a:rPr lang="ko-KR" altLang="en-US" dirty="0"/>
                        <a:t>조 원</a:t>
                      </a:r>
                      <a:r>
                        <a:rPr lang="en-US" altLang="ko-KR" dirty="0"/>
                        <a:t>)</a:t>
                      </a:r>
                      <a:endParaRPr lang="ko-KR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dirty="0"/>
                        <a:t>14.0%</a:t>
                      </a:r>
                      <a:endParaRPr lang="ko-KR" alt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8" name="직사각형 7"/>
          <p:cNvSpPr/>
          <p:nvPr/>
        </p:nvSpPr>
        <p:spPr>
          <a:xfrm>
            <a:off x="210002" y="5251902"/>
            <a:ext cx="9591483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en-US" altLang="ko-KR" dirty="0">
              <a:solidFill>
                <a:srgbClr val="000000"/>
              </a:solidFill>
              <a:latin typeface="se-nanumbarungothic"/>
            </a:endParaRPr>
          </a:p>
          <a:p>
            <a:pPr marL="285750" indent="-285750">
              <a:buFont typeface="Wingdings" panose="05000000000000000000" pitchFamily="2" charset="2"/>
              <a:buChar char="l"/>
            </a:pPr>
            <a:r>
              <a:rPr lang="ko-KR" altLang="en-US" dirty="0" err="1">
                <a:solidFill>
                  <a:srgbClr val="000000"/>
                </a:solidFill>
                <a:latin typeface="se-nanumbarungothic"/>
              </a:rPr>
              <a:t>과기정통부</a:t>
            </a:r>
            <a:r>
              <a:rPr lang="ko-KR" altLang="en-US" dirty="0">
                <a:solidFill>
                  <a:srgbClr val="000000"/>
                </a:solidFill>
                <a:latin typeface="se-nanumbarungothic"/>
              </a:rPr>
              <a:t> </a:t>
            </a:r>
            <a:r>
              <a:rPr lang="en-US" altLang="ko-KR" dirty="0">
                <a:solidFill>
                  <a:srgbClr val="000000"/>
                </a:solidFill>
                <a:latin typeface="se-nanumbarungothic"/>
              </a:rPr>
              <a:t>2021 </a:t>
            </a:r>
          </a:p>
          <a:p>
            <a:r>
              <a:rPr lang="ko-KR" altLang="en-US" dirty="0">
                <a:solidFill>
                  <a:srgbClr val="000000"/>
                </a:solidFill>
                <a:latin typeface="se-nanumbarungothic"/>
              </a:rPr>
              <a:t>국내 </a:t>
            </a:r>
            <a:r>
              <a:rPr lang="ko-KR" altLang="en-US" dirty="0" err="1">
                <a:solidFill>
                  <a:srgbClr val="000000"/>
                </a:solidFill>
                <a:latin typeface="se-nanumbarungothic"/>
              </a:rPr>
              <a:t>빅데이터</a:t>
            </a:r>
            <a:r>
              <a:rPr lang="ko-KR" altLang="en-US" dirty="0">
                <a:solidFill>
                  <a:srgbClr val="000000"/>
                </a:solidFill>
                <a:latin typeface="se-nanumbarungothic"/>
              </a:rPr>
              <a:t> 산업 시장규모 </a:t>
            </a:r>
            <a:r>
              <a:rPr lang="en-US" altLang="ko-KR" dirty="0">
                <a:solidFill>
                  <a:srgbClr val="000000"/>
                </a:solidFill>
                <a:latin typeface="se-nanumbarungothic"/>
              </a:rPr>
              <a:t>20</a:t>
            </a:r>
            <a:r>
              <a:rPr lang="ko-KR" altLang="en-US" dirty="0">
                <a:solidFill>
                  <a:srgbClr val="000000"/>
                </a:solidFill>
                <a:latin typeface="se-nanumbarungothic"/>
              </a:rPr>
              <a:t>조 </a:t>
            </a:r>
            <a:r>
              <a:rPr lang="en-US" altLang="ko-KR" dirty="0">
                <a:solidFill>
                  <a:srgbClr val="000000"/>
                </a:solidFill>
                <a:latin typeface="se-nanumbarungothic"/>
              </a:rPr>
              <a:t>24</a:t>
            </a:r>
            <a:r>
              <a:rPr lang="ko-KR" altLang="en-US" dirty="0">
                <a:solidFill>
                  <a:srgbClr val="000000"/>
                </a:solidFill>
                <a:latin typeface="se-nanumbarungothic"/>
              </a:rPr>
              <a:t>억 수준</a:t>
            </a:r>
            <a:r>
              <a:rPr lang="en-US" altLang="ko-KR" b="1" dirty="0">
                <a:solidFill>
                  <a:srgbClr val="000000"/>
                </a:solidFill>
                <a:latin typeface="se-nanumbarungothic"/>
              </a:rPr>
              <a:t>/</a:t>
            </a:r>
            <a:r>
              <a:rPr lang="ko-KR" altLang="en-US" b="1" dirty="0">
                <a:solidFill>
                  <a:srgbClr val="000000"/>
                </a:solidFill>
                <a:latin typeface="se-nanumbarungothic"/>
              </a:rPr>
              <a:t>미국의 </a:t>
            </a:r>
            <a:r>
              <a:rPr lang="en-US" altLang="ko-KR" b="1" dirty="0">
                <a:solidFill>
                  <a:srgbClr val="000000"/>
                </a:solidFill>
                <a:latin typeface="se-nanumbarungothic"/>
              </a:rPr>
              <a:t>7% EU</a:t>
            </a:r>
            <a:r>
              <a:rPr lang="ko-KR" altLang="en-US" b="1" dirty="0">
                <a:solidFill>
                  <a:srgbClr val="000000"/>
                </a:solidFill>
                <a:latin typeface="se-nanumbarungothic"/>
              </a:rPr>
              <a:t>의 </a:t>
            </a:r>
            <a:r>
              <a:rPr lang="en-US" altLang="ko-KR" b="1" dirty="0">
                <a:solidFill>
                  <a:srgbClr val="000000"/>
                </a:solidFill>
                <a:latin typeface="se-nanumbarungothic"/>
              </a:rPr>
              <a:t>16.4% </a:t>
            </a:r>
          </a:p>
          <a:p>
            <a:r>
              <a:rPr lang="ko-KR" altLang="en-US" b="1" dirty="0">
                <a:solidFill>
                  <a:srgbClr val="000000"/>
                </a:solidFill>
                <a:latin typeface="se-nanumbarungothic"/>
              </a:rPr>
              <a:t>국내 기업의 </a:t>
            </a:r>
            <a:r>
              <a:rPr lang="ko-KR" altLang="en-US" b="1" dirty="0" err="1">
                <a:solidFill>
                  <a:srgbClr val="000000"/>
                </a:solidFill>
                <a:latin typeface="se-nanumbarungothic"/>
              </a:rPr>
              <a:t>빅데이터</a:t>
            </a:r>
            <a:r>
              <a:rPr lang="ko-KR" altLang="en-US" b="1" dirty="0">
                <a:solidFill>
                  <a:srgbClr val="000000"/>
                </a:solidFill>
                <a:latin typeface="se-nanumbarungothic"/>
              </a:rPr>
              <a:t> </a:t>
            </a:r>
            <a:r>
              <a:rPr lang="ko-KR" altLang="en-US" b="1" dirty="0" err="1">
                <a:solidFill>
                  <a:srgbClr val="000000"/>
                </a:solidFill>
                <a:latin typeface="se-nanumbarungothic"/>
              </a:rPr>
              <a:t>도입율</a:t>
            </a:r>
            <a:r>
              <a:rPr lang="ko-KR" altLang="en-US" b="1" dirty="0">
                <a:solidFill>
                  <a:srgbClr val="000000"/>
                </a:solidFill>
                <a:latin typeface="se-nanumbarungothic"/>
              </a:rPr>
              <a:t> </a:t>
            </a:r>
            <a:r>
              <a:rPr lang="en-US" altLang="ko-KR" b="1" dirty="0">
                <a:solidFill>
                  <a:srgbClr val="000000"/>
                </a:solidFill>
                <a:latin typeface="se-nanumbarungothic"/>
              </a:rPr>
              <a:t>15.9%</a:t>
            </a:r>
          </a:p>
        </p:txBody>
      </p:sp>
      <p:sp>
        <p:nvSpPr>
          <p:cNvPr id="12" name="제목 1">
            <a:extLst>
              <a:ext uri="{FF2B5EF4-FFF2-40B4-BE49-F238E27FC236}">
                <a16:creationId xmlns:a16="http://schemas.microsoft.com/office/drawing/2014/main" id="{509F48BA-DC9B-486D-759E-7909BED70BC0}"/>
              </a:ext>
            </a:extLst>
          </p:cNvPr>
          <p:cNvSpPr txBox="1">
            <a:spLocks/>
          </p:cNvSpPr>
          <p:nvPr/>
        </p:nvSpPr>
        <p:spPr>
          <a:xfrm>
            <a:off x="339798" y="100362"/>
            <a:ext cx="11558160" cy="1047718"/>
          </a:xfrm>
          <a:prstGeom prst="rect">
            <a:avLst/>
          </a:prstGeom>
          <a:solidFill>
            <a:srgbClr val="0070C0"/>
          </a:solidFill>
        </p:spPr>
        <p:txBody>
          <a:bodyPr vert="horz" lIns="91440" tIns="45720" rIns="91440" bIns="45720" rtlCol="0" anchor="ctr">
            <a:normAutofit fontScale="82500" lnSpcReduction="20000"/>
          </a:bodyPr>
          <a:lstStyle>
            <a:lvl1pPr algn="l" defTabSz="914400" rtl="0" eaLnBrk="1" latinLnBrk="1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altLang="ko-KR" sz="3600" b="1" kern="0" smtClean="0">
                <a:latin typeface="+mj-ea"/>
              </a:rPr>
              <a:t> </a:t>
            </a:r>
            <a:br>
              <a:rPr lang="en-US" altLang="ko-KR" sz="3600" b="1" kern="0" smtClean="0">
                <a:latin typeface="+mj-ea"/>
              </a:rPr>
            </a:br>
            <a:r>
              <a:rPr lang="en-US" altLang="ko-KR" sz="3600" b="1" kern="0" smtClean="0">
                <a:latin typeface="+mj-ea"/>
              </a:rPr>
              <a:t> </a:t>
            </a:r>
            <a:r>
              <a:rPr lang="en-US" altLang="ko-KR" sz="3600" b="1" kern="0" smtClean="0">
                <a:solidFill>
                  <a:schemeClr val="bg1"/>
                </a:solidFill>
                <a:latin typeface="+mj-ea"/>
              </a:rPr>
              <a:t>II. </a:t>
            </a:r>
            <a:r>
              <a:rPr lang="ko-KR" altLang="en-US" sz="3600" b="1" smtClean="0">
                <a:solidFill>
                  <a:schemeClr val="bg1"/>
                </a:solidFill>
                <a:latin typeface="+mj-ea"/>
              </a:rPr>
              <a:t>빅데이터</a:t>
            </a:r>
            <a:r>
              <a:rPr lang="en-US" altLang="ko-KR" sz="3600" b="1" smtClean="0">
                <a:solidFill>
                  <a:schemeClr val="bg1"/>
                </a:solidFill>
                <a:latin typeface="+mj-ea"/>
              </a:rPr>
              <a:t> &amp; AI</a:t>
            </a:r>
            <a:r>
              <a:rPr lang="ko-KR" altLang="en-US" sz="3600" b="1" smtClean="0">
                <a:solidFill>
                  <a:schemeClr val="bg1"/>
                </a:solidFill>
                <a:latin typeface="+mj-ea"/>
              </a:rPr>
              <a:t>의 의미와 산업사회의 변화</a:t>
            </a:r>
            <a:r>
              <a:rPr lang="en-US" altLang="ko-KR" sz="3100" b="1" smtClean="0">
                <a:solidFill>
                  <a:schemeClr val="bg1"/>
                </a:solidFill>
                <a:latin typeface="+mj-ea"/>
              </a:rPr>
              <a:t/>
            </a:r>
            <a:br>
              <a:rPr lang="en-US" altLang="ko-KR" sz="3100" b="1" smtClean="0">
                <a:solidFill>
                  <a:schemeClr val="bg1"/>
                </a:solidFill>
                <a:latin typeface="+mj-ea"/>
              </a:rPr>
            </a:br>
            <a:endParaRPr lang="ko-KR" altLang="en-US" sz="3100" b="1" dirty="0">
              <a:solidFill>
                <a:schemeClr val="bg1"/>
              </a:solidFill>
              <a:latin typeface="HY강B" panose="02030600000101010101" pitchFamily="18" charset="-127"/>
              <a:ea typeface="HY강B" panose="02030600000101010101" pitchFamily="18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7123744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날짜 개체 틀 2">
            <a:extLst>
              <a:ext uri="{FF2B5EF4-FFF2-40B4-BE49-F238E27FC236}">
                <a16:creationId xmlns:a16="http://schemas.microsoft.com/office/drawing/2014/main" id="{8BEC0EEF-E580-1F75-2490-8A8B2F4D11C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FC9B95B-9606-41FD-9410-F2B308BBF263}" type="datetime1">
              <a:rPr lang="en-US" altLang="ko-KR" smtClean="0"/>
              <a:t>6/22/2023</a:t>
            </a:fld>
            <a:endParaRPr lang="en-US" dirty="0"/>
          </a:p>
        </p:txBody>
      </p:sp>
      <p:graphicFrame>
        <p:nvGraphicFramePr>
          <p:cNvPr id="7" name="다이어그램 6">
            <a:extLst>
              <a:ext uri="{FF2B5EF4-FFF2-40B4-BE49-F238E27FC236}">
                <a16:creationId xmlns:a16="http://schemas.microsoft.com/office/drawing/2014/main" id="{C86DC269-0122-35D6-BFCC-7F7704B96E8F}"/>
              </a:ext>
            </a:extLst>
          </p:cNvPr>
          <p:cNvGraphicFramePr/>
          <p:nvPr/>
        </p:nvGraphicFramePr>
        <p:xfrm>
          <a:off x="1834196" y="1332909"/>
          <a:ext cx="9820202" cy="541866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6" name="TextBox 5"/>
          <p:cNvSpPr txBox="1"/>
          <p:nvPr/>
        </p:nvSpPr>
        <p:spPr>
          <a:xfrm>
            <a:off x="685800" y="1302706"/>
            <a:ext cx="3159690" cy="461665"/>
          </a:xfrm>
          <a:prstGeom prst="rect">
            <a:avLst/>
          </a:prstGeom>
          <a:solidFill>
            <a:srgbClr val="002060"/>
          </a:solidFill>
        </p:spPr>
        <p:txBody>
          <a:bodyPr wrap="square" rtlCol="0">
            <a:spAutoFit/>
          </a:bodyPr>
          <a:lstStyle/>
          <a:p>
            <a:r>
              <a:rPr lang="ko-KR" altLang="en-US" sz="2400" dirty="0" err="1">
                <a:solidFill>
                  <a:schemeClr val="bg1"/>
                </a:solidFill>
              </a:rPr>
              <a:t>빅데이터</a:t>
            </a:r>
            <a:r>
              <a:rPr lang="ko-KR" altLang="en-US" sz="2400" dirty="0">
                <a:solidFill>
                  <a:schemeClr val="bg1"/>
                </a:solidFill>
              </a:rPr>
              <a:t> 신개념  </a:t>
            </a:r>
            <a:r>
              <a:rPr lang="en-US" altLang="ko-KR" sz="2400" dirty="0">
                <a:solidFill>
                  <a:schemeClr val="bg1"/>
                </a:solidFill>
              </a:rPr>
              <a:t> </a:t>
            </a:r>
            <a:r>
              <a:rPr lang="ko-KR" altLang="en-US" dirty="0">
                <a:solidFill>
                  <a:schemeClr val="bg1"/>
                </a:solidFill>
              </a:rPr>
              <a:t> </a:t>
            </a:r>
          </a:p>
        </p:txBody>
      </p:sp>
      <p:sp>
        <p:nvSpPr>
          <p:cNvPr id="9" name="왼쪽으로 구부러진 화살표 8"/>
          <p:cNvSpPr/>
          <p:nvPr/>
        </p:nvSpPr>
        <p:spPr>
          <a:xfrm>
            <a:off x="9611260" y="2195721"/>
            <a:ext cx="2335034" cy="3169085"/>
          </a:xfrm>
          <a:prstGeom prst="curvedLeftArrow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ko-KR" altLang="en-US">
              <a:solidFill>
                <a:schemeClr val="tx1"/>
              </a:solidFill>
            </a:endParaRPr>
          </a:p>
        </p:txBody>
      </p:sp>
      <p:sp>
        <p:nvSpPr>
          <p:cNvPr id="10" name="오른쪽으로 구부러진 화살표 9"/>
          <p:cNvSpPr/>
          <p:nvPr/>
        </p:nvSpPr>
        <p:spPr>
          <a:xfrm>
            <a:off x="1027134" y="2066795"/>
            <a:ext cx="2430050" cy="3068876"/>
          </a:xfrm>
          <a:prstGeom prst="curvedRightArrow">
            <a:avLst/>
          </a:prstGeom>
          <a:solidFill>
            <a:schemeClr val="accent3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solidFill>
                <a:schemeClr val="tx1"/>
              </a:solidFill>
            </a:endParaRPr>
          </a:p>
        </p:txBody>
      </p:sp>
      <p:sp>
        <p:nvSpPr>
          <p:cNvPr id="8" name="제목 1">
            <a:extLst>
              <a:ext uri="{FF2B5EF4-FFF2-40B4-BE49-F238E27FC236}">
                <a16:creationId xmlns:a16="http://schemas.microsoft.com/office/drawing/2014/main" id="{1B475103-4528-9566-13C3-7C6A192F5EA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9798" y="100362"/>
            <a:ext cx="11558160" cy="1047718"/>
          </a:xfrm>
          <a:solidFill>
            <a:srgbClr val="0070C0"/>
          </a:solidFill>
        </p:spPr>
        <p:txBody>
          <a:bodyPr>
            <a:normAutofit fontScale="90000"/>
          </a:bodyPr>
          <a:lstStyle/>
          <a:p>
            <a:r>
              <a:rPr lang="en-US" altLang="ko-KR" sz="3600" b="1" kern="0" dirty="0">
                <a:latin typeface="+mj-ea"/>
              </a:rPr>
              <a:t> </a:t>
            </a:r>
            <a:br>
              <a:rPr lang="en-US" altLang="ko-KR" sz="3600" b="1" kern="0" dirty="0">
                <a:latin typeface="+mj-ea"/>
              </a:rPr>
            </a:br>
            <a:r>
              <a:rPr lang="en-US" altLang="ko-KR" sz="3600" b="1" kern="0" dirty="0">
                <a:latin typeface="+mj-ea"/>
              </a:rPr>
              <a:t> </a:t>
            </a:r>
            <a:r>
              <a:rPr kumimoji="0" lang="en-US" altLang="ko-KR" sz="3600" b="1" kern="0" dirty="0">
                <a:solidFill>
                  <a:schemeClr val="bg1"/>
                </a:solidFill>
                <a:latin typeface="+mj-ea"/>
                <a:ea typeface="+mj-ea"/>
              </a:rPr>
              <a:t>II. </a:t>
            </a:r>
            <a:r>
              <a:rPr lang="ko-KR" altLang="en-US" sz="3600" b="1" dirty="0">
                <a:solidFill>
                  <a:schemeClr val="bg1"/>
                </a:solidFill>
                <a:latin typeface="+mj-ea"/>
                <a:ea typeface="+mj-ea"/>
              </a:rPr>
              <a:t>빅데이터</a:t>
            </a:r>
            <a:r>
              <a:rPr lang="en-US" altLang="ko-KR" sz="3600" b="1" dirty="0">
                <a:solidFill>
                  <a:schemeClr val="bg1"/>
                </a:solidFill>
                <a:latin typeface="+mj-ea"/>
                <a:ea typeface="+mj-ea"/>
              </a:rPr>
              <a:t> &amp; AI</a:t>
            </a:r>
            <a:r>
              <a:rPr lang="ko-KR" altLang="en-US" sz="3600" b="1" dirty="0">
                <a:solidFill>
                  <a:schemeClr val="bg1"/>
                </a:solidFill>
                <a:latin typeface="+mj-ea"/>
                <a:ea typeface="+mj-ea"/>
              </a:rPr>
              <a:t>의 의미와 산업사회의 변화</a:t>
            </a:r>
            <a:r>
              <a:rPr lang="en-US" altLang="ko-KR" sz="3100" b="1" dirty="0">
                <a:solidFill>
                  <a:schemeClr val="bg1"/>
                </a:solidFill>
                <a:latin typeface="+mj-ea"/>
              </a:rPr>
              <a:t/>
            </a:r>
            <a:br>
              <a:rPr lang="en-US" altLang="ko-KR" sz="3100" b="1" dirty="0">
                <a:solidFill>
                  <a:schemeClr val="bg1"/>
                </a:solidFill>
                <a:latin typeface="+mj-ea"/>
              </a:rPr>
            </a:br>
            <a:endParaRPr lang="ko-KR" altLang="en-US" sz="3100" b="1" dirty="0">
              <a:solidFill>
                <a:schemeClr val="bg1"/>
              </a:solidFill>
              <a:latin typeface="HY강B" panose="02030600000101010101" pitchFamily="18" charset="-127"/>
              <a:ea typeface="HY강B" panose="02030600000101010101" pitchFamily="18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06901495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8iHTo7aPUiiY4A0xxPiI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wO0.3sNbUm.w3ASfApHN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ACFhrEjX0Se3JzfGnQgm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hPEj2SZLUK8RYU1cp1WH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Rx0PNd.00m79MkyKQDD.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테마">
  <a:themeElements>
    <a:clrScheme name="Office 2007-2010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맑은 고딕" panose="20000000000000000000"/>
        <a:ea typeface=""/>
        <a:cs typeface=""/>
        <a:font script="Jpan" typeface="Yu Gothic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맑은 고딕" panose="20000000000000000000"/>
        <a:ea typeface=""/>
        <a:cs typeface=""/>
        <a:font script="Jpan" typeface="Yu Gothic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/>
        </a:ln>
        <a:ln w="12700" cap="flat" cmpd="sng" algn="ctr">
          <a:solidFill>
            <a:schemeClr val="phClr"/>
          </a:solidFill>
          <a:prstDash val="solid"/>
          <a:miter/>
        </a:ln>
        <a:ln w="19050" cap="flat" cmpd="sng" algn="ctr">
          <a:solidFill>
            <a:schemeClr val="phClr"/>
          </a:solidFill>
          <a:prstDash val="solid"/>
          <a:miter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2.xml><?xml version="1.0" encoding="utf-8"?>
<a:theme xmlns:a="http://schemas.openxmlformats.org/drawingml/2006/main" name="디자인 사용자 지정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맑은 고딕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맑은 고딕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맑은 고딕" panose="20000000000000000000"/>
        <a:ea typeface=""/>
        <a:cs typeface=""/>
        <a:font script="Jpan" typeface="Yu Gothic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맑은 고딕" panose="20000000000000000000"/>
        <a:ea typeface=""/>
        <a:cs typeface=""/>
        <a:font script="Jpan" typeface="Yu Gothic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/>
        </a:ln>
        <a:ln w="12700" cap="flat" cmpd="sng" algn="ctr">
          <a:solidFill>
            <a:schemeClr val="phClr"/>
          </a:solidFill>
          <a:prstDash val="solid"/>
          <a:miter/>
        </a:ln>
        <a:ln w="19050" cap="flat" cmpd="sng" algn="ctr">
          <a:solidFill>
            <a:schemeClr val="phClr"/>
          </a:solidFill>
          <a:prstDash val="solid"/>
          <a:miter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맑은 고딕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맑은 고딕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문서" ma:contentTypeID="0x010100A95AFC13617BE948AF6734FC1AE0BBD8" ma:contentTypeVersion="2" ma:contentTypeDescription="새 문서를 만듭니다." ma:contentTypeScope="" ma:versionID="cffb073cebea5126d16f4847cb8b593c">
  <xsd:schema xmlns:xsd="http://www.w3.org/2001/XMLSchema" xmlns:xs="http://www.w3.org/2001/XMLSchema" xmlns:p="http://schemas.microsoft.com/office/2006/metadata/properties" xmlns:ns3="8af8078d-444c-499c-aa7d-7b3c0cec8aea" targetNamespace="http://schemas.microsoft.com/office/2006/metadata/properties" ma:root="true" ma:fieldsID="6e5ae18ec64b14d771631452a39dc017" ns3:_="">
    <xsd:import namespace="8af8078d-444c-499c-aa7d-7b3c0cec8aea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af8078d-444c-499c-aa7d-7b3c0cec8ae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콘텐츠 형식"/>
        <xsd:element ref="dc:title" minOccurs="0" maxOccurs="1" ma:index="4" ma:displayName="제목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52BDEB4A-2295-46F0-B35D-42803B791F8C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169AE1C1-7A42-491F-8351-5B5FFE1894BD}">
  <ds:schemaRefs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schemas.microsoft.com/office/infopath/2007/PartnerControls"/>
    <ds:schemaRef ds:uri="http://purl.org/dc/elements/1.1/"/>
    <ds:schemaRef ds:uri="http://schemas.microsoft.com/office/2006/metadata/properties"/>
    <ds:schemaRef ds:uri="8af8078d-444c-499c-aa7d-7b3c0cec8aea"/>
    <ds:schemaRef ds:uri="http://www.w3.org/XML/1998/namespace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435C1D74-3A52-4899-A50F-EC861A21538D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8af8078d-444c-499c-aa7d-7b3c0cec8ae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12687</TotalTime>
  <Words>3655</Words>
  <Application>Microsoft Office PowerPoint</Application>
  <PresentationFormat>와이드스크린</PresentationFormat>
  <Paragraphs>890</Paragraphs>
  <Slides>40</Slides>
  <Notes>37</Notes>
  <HiddenSlides>0</HiddenSlides>
  <MMClips>0</MMClips>
  <ScaleCrop>false</ScaleCrop>
  <HeadingPairs>
    <vt:vector size="8" baseType="variant">
      <vt:variant>
        <vt:lpstr>사용한 글꼴</vt:lpstr>
      </vt:variant>
      <vt:variant>
        <vt:i4>31</vt:i4>
      </vt:variant>
      <vt:variant>
        <vt:lpstr>테마</vt:lpstr>
      </vt:variant>
      <vt:variant>
        <vt:i4>2</vt:i4>
      </vt:variant>
      <vt:variant>
        <vt:lpstr>포함된 OLE 서버</vt:lpstr>
      </vt:variant>
      <vt:variant>
        <vt:i4>1</vt:i4>
      </vt:variant>
      <vt:variant>
        <vt:lpstr>슬라이드 제목</vt:lpstr>
      </vt:variant>
      <vt:variant>
        <vt:i4>40</vt:i4>
      </vt:variant>
    </vt:vector>
  </HeadingPairs>
  <TitlesOfParts>
    <vt:vector size="74" baseType="lpstr">
      <vt:lpstr>Aharoni</vt:lpstr>
      <vt:lpstr>AppleSDGothicNeo-Light</vt:lpstr>
      <vt:lpstr>-apple-system</vt:lpstr>
      <vt:lpstr>Arial Unicode MS</vt:lpstr>
      <vt:lpstr>dotum</vt:lpstr>
      <vt:lpstr>HY강B</vt:lpstr>
      <vt:lpstr>HY견고딕</vt:lpstr>
      <vt:lpstr>HY신문명조</vt:lpstr>
      <vt:lpstr>HY헤드라인M</vt:lpstr>
      <vt:lpstr>inherit</vt:lpstr>
      <vt:lpstr>MD아트체</vt:lpstr>
      <vt:lpstr>Nanum Barun Gothic</vt:lpstr>
      <vt:lpstr>Nanum Gothic</vt:lpstr>
      <vt:lpstr>NanumGothic</vt:lpstr>
      <vt:lpstr>Noto Sans KR</vt:lpstr>
      <vt:lpstr>Open Sans</vt:lpstr>
      <vt:lpstr>Roboto</vt:lpstr>
      <vt:lpstr>se-nanumbarungothic</vt:lpstr>
      <vt:lpstr>Spoqa Han Sans Neo</vt:lpstr>
      <vt:lpstr>가는각진제목체</vt:lpstr>
      <vt:lpstr>굴림</vt:lpstr>
      <vt:lpstr>나눔고딕</vt:lpstr>
      <vt:lpstr>Dotum</vt:lpstr>
      <vt:lpstr>맑은 고딕</vt:lpstr>
      <vt:lpstr>휴먼모음T</vt:lpstr>
      <vt:lpstr>휴먼엑스포</vt:lpstr>
      <vt:lpstr>휴먼옛체</vt:lpstr>
      <vt:lpstr>Arial</vt:lpstr>
      <vt:lpstr>Calibri</vt:lpstr>
      <vt:lpstr>Verdana</vt:lpstr>
      <vt:lpstr>Wingdings</vt:lpstr>
      <vt:lpstr>Office 테마</vt:lpstr>
      <vt:lpstr>디자인 사용자 지정</vt:lpstr>
      <vt:lpstr>think-cell Slide</vt:lpstr>
      <vt:lpstr> 유통산업 내 AI 활용 전략과 정책시사점  Strategies and Policy Implications for Utilizing Artificial Intelligence in the Korean Distribution Industry </vt:lpstr>
      <vt:lpstr>  목       차( 1~ 40)</vt:lpstr>
      <vt:lpstr>PowerPoint 프레젠테이션</vt:lpstr>
      <vt:lpstr>PowerPoint 프레젠테이션</vt:lpstr>
      <vt:lpstr>PowerPoint 프레젠테이션</vt:lpstr>
      <vt:lpstr>PowerPoint 프레젠테이션</vt:lpstr>
      <vt:lpstr>   II. 빅데이터 &amp; AI의 의미와 산업사회의 변화 </vt:lpstr>
      <vt:lpstr>PowerPoint 프레젠테이션</vt:lpstr>
      <vt:lpstr>   II. 빅데이터 &amp; AI의 의미와 산업사회의 변화 </vt:lpstr>
      <vt:lpstr>PowerPoint 프레젠테이션</vt:lpstr>
      <vt:lpstr>   II. 빅데이터 &amp; AI의 의미와 산업사회의 변화 </vt:lpstr>
      <vt:lpstr>PowerPoint 프레젠테이션</vt:lpstr>
      <vt:lpstr>   II. 빅데이터 &amp; AI의 의미와 산업사회의 변화 </vt:lpstr>
      <vt:lpstr>   II. 빅데이터 &amp; AI의 의미와 산업사회의 변화 </vt:lpstr>
      <vt:lpstr>   II. 빅데이터 &amp; AI의 의미와 산업사회의 변화 </vt:lpstr>
      <vt:lpstr>PowerPoint 프레젠테이션</vt:lpstr>
      <vt:lpstr>   II. 빅데이터 &amp; AI의 의미와 산업사회의 변화 </vt:lpstr>
      <vt:lpstr>   II. 빅데이터 &amp; AI의 의미와 산업사회의 변화 </vt:lpstr>
      <vt:lpstr> 빅데이터 &amp; AI의 활용: 인간의 모든 과거 행위&gt; 창조도 가능?   </vt:lpstr>
      <vt:lpstr>PowerPoint 프레젠테이션</vt:lpstr>
      <vt:lpstr>PowerPoint 프레젠테이션</vt:lpstr>
      <vt:lpstr>PowerPoint 프레젠테이션</vt:lpstr>
      <vt:lpstr>PowerPoint 프레젠테이션</vt:lpstr>
      <vt:lpstr>III. 빅데이터 &amp; AI의 유통산업 내 활용사례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IV. 전략 및 정책시사점  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리테일 4.0 시대 ­- 이커머스 시장 트렌드 </dc:title>
  <dc:creator>Windows 사용자</dc:creator>
  <cp:lastModifiedBy>DWU</cp:lastModifiedBy>
  <cp:revision>176</cp:revision>
  <cp:lastPrinted>2023-05-28T06:11:53Z</cp:lastPrinted>
  <dcterms:created xsi:type="dcterms:W3CDTF">2018-08-26T23:03:01Z</dcterms:created>
  <dcterms:modified xsi:type="dcterms:W3CDTF">2023-06-22T03:10:14Z</dcterms:modified>
  <cp:version>1000.0000.01</cp:version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95AFC13617BE948AF6734FC1AE0BBD8</vt:lpwstr>
  </property>
</Properties>
</file>